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8"/>
  </p:notesMasterIdLst>
  <p:sldIdLst>
    <p:sldId id="521" r:id="rId2"/>
    <p:sldId id="525" r:id="rId3"/>
    <p:sldId id="520" r:id="rId4"/>
    <p:sldId id="526" r:id="rId5"/>
    <p:sldId id="524" r:id="rId6"/>
    <p:sldId id="518" r:id="rId7"/>
    <p:sldId id="500" r:id="rId8"/>
    <p:sldId id="514" r:id="rId9"/>
    <p:sldId id="522" r:id="rId10"/>
    <p:sldId id="512" r:id="rId11"/>
    <p:sldId id="515" r:id="rId12"/>
    <p:sldId id="508" r:id="rId13"/>
    <p:sldId id="513" r:id="rId14"/>
    <p:sldId id="516" r:id="rId15"/>
    <p:sldId id="517" r:id="rId16"/>
    <p:sldId id="506" r:id="rId17"/>
    <p:sldId id="499" r:id="rId18"/>
    <p:sldId id="497" r:id="rId19"/>
    <p:sldId id="495" r:id="rId20"/>
    <p:sldId id="496" r:id="rId21"/>
    <p:sldId id="498" r:id="rId22"/>
    <p:sldId id="459" r:id="rId23"/>
    <p:sldId id="461" r:id="rId24"/>
    <p:sldId id="465" r:id="rId25"/>
    <p:sldId id="463" r:id="rId26"/>
    <p:sldId id="464" r:id="rId27"/>
    <p:sldId id="493" r:id="rId28"/>
    <p:sldId id="494" r:id="rId29"/>
    <p:sldId id="434" r:id="rId30"/>
    <p:sldId id="432" r:id="rId31"/>
    <p:sldId id="433" r:id="rId32"/>
    <p:sldId id="412" r:id="rId33"/>
    <p:sldId id="419" r:id="rId34"/>
    <p:sldId id="482" r:id="rId35"/>
    <p:sldId id="483" r:id="rId36"/>
    <p:sldId id="484" r:id="rId37"/>
    <p:sldId id="486" r:id="rId38"/>
    <p:sldId id="487" r:id="rId39"/>
    <p:sldId id="488" r:id="rId40"/>
    <p:sldId id="489" r:id="rId41"/>
    <p:sldId id="490" r:id="rId42"/>
    <p:sldId id="491" r:id="rId43"/>
    <p:sldId id="505" r:id="rId44"/>
    <p:sldId id="492" r:id="rId45"/>
    <p:sldId id="402" r:id="rId46"/>
    <p:sldId id="501" r:id="rId47"/>
    <p:sldId id="502" r:id="rId48"/>
    <p:sldId id="404" r:id="rId49"/>
    <p:sldId id="403" r:id="rId50"/>
    <p:sldId id="453" r:id="rId51"/>
    <p:sldId id="454" r:id="rId52"/>
    <p:sldId id="455" r:id="rId53"/>
    <p:sldId id="456" r:id="rId54"/>
    <p:sldId id="443" r:id="rId55"/>
    <p:sldId id="445" r:id="rId56"/>
    <p:sldId id="405" r:id="rId57"/>
    <p:sldId id="447" r:id="rId58"/>
    <p:sldId id="448" r:id="rId59"/>
    <p:sldId id="449" r:id="rId60"/>
    <p:sldId id="450" r:id="rId61"/>
    <p:sldId id="479" r:id="rId62"/>
    <p:sldId id="480" r:id="rId63"/>
    <p:sldId id="406" r:id="rId64"/>
    <p:sldId id="457" r:id="rId65"/>
    <p:sldId id="473" r:id="rId66"/>
    <p:sldId id="474" r:id="rId67"/>
    <p:sldId id="475" r:id="rId68"/>
    <p:sldId id="476" r:id="rId69"/>
    <p:sldId id="504" r:id="rId70"/>
    <p:sldId id="477" r:id="rId71"/>
    <p:sldId id="408" r:id="rId72"/>
    <p:sldId id="458" r:id="rId73"/>
    <p:sldId id="407" r:id="rId74"/>
    <p:sldId id="470" r:id="rId75"/>
    <p:sldId id="471" r:id="rId76"/>
    <p:sldId id="481" r:id="rId77"/>
    <p:sldId id="478" r:id="rId78"/>
    <p:sldId id="401" r:id="rId79"/>
    <p:sldId id="409" r:id="rId80"/>
    <p:sldId id="410" r:id="rId81"/>
    <p:sldId id="418" r:id="rId82"/>
    <p:sldId id="451" r:id="rId83"/>
    <p:sldId id="466" r:id="rId84"/>
    <p:sldId id="468" r:id="rId85"/>
    <p:sldId id="469" r:id="rId86"/>
    <p:sldId id="503" r:id="rId87"/>
  </p:sldIdLst>
  <p:sldSz cx="9144000" cy="6858000" type="screen4x3"/>
  <p:notesSz cx="6794500" cy="9931400"/>
  <p:custDataLst>
    <p:tags r:id="rId89"/>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0">
          <p15:clr>
            <a:srgbClr val="A4A3A4"/>
          </p15:clr>
        </p15:guide>
        <p15:guide id="2" pos="2880">
          <p15:clr>
            <a:srgbClr val="A4A3A4"/>
          </p15:clr>
        </p15:guide>
      </p15:sldGuideLst>
    </p:ext>
    <p:ext uri="{2D200454-40CA-4A62-9FC3-DE9A4176ACB9}">
      <p15:notesGuideLst xmlns:p15="http://schemas.microsoft.com/office/powerpoint/2012/main">
        <p15:guide id="1" orient="horz" pos="3128">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64C8"/>
    <a:srgbClr val="EAEA7E"/>
    <a:srgbClr val="EAD87E"/>
    <a:srgbClr val="EAB77E"/>
    <a:srgbClr val="EA987E"/>
    <a:srgbClr val="C9E561"/>
    <a:srgbClr val="B7ECF3"/>
    <a:srgbClr val="3EDE32"/>
    <a:srgbClr val="77E86E"/>
    <a:srgbClr val="AAF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DA43C8-544C-43C8-B7EC-BDEEF2A8748B}" v="24" dt="2024-02-11T12:24:06.23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561" autoAdjust="0"/>
    <p:restoredTop sz="96238" autoAdjust="0"/>
  </p:normalViewPr>
  <p:slideViewPr>
    <p:cSldViewPr showGuides="1">
      <p:cViewPr varScale="1">
        <p:scale>
          <a:sx n="128" d="100"/>
          <a:sy n="128" d="100"/>
        </p:scale>
        <p:origin x="2088" y="176"/>
      </p:cViewPr>
      <p:guideLst>
        <p:guide orient="horz" pos="2840"/>
        <p:guide pos="288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50" d="100"/>
        <a:sy n="150" d="100"/>
      </p:scale>
      <p:origin x="0" y="-11628"/>
    </p:cViewPr>
  </p:sorterViewPr>
  <p:notesViewPr>
    <p:cSldViewPr showGuides="1">
      <p:cViewPr varScale="1">
        <p:scale>
          <a:sx n="94" d="100"/>
          <a:sy n="94" d="100"/>
        </p:scale>
        <p:origin x="-3582" y="-108"/>
      </p:cViewPr>
      <p:guideLst>
        <p:guide orient="horz" pos="3128"/>
        <p:guide pos="2140"/>
      </p:guideLst>
    </p:cSldViewPr>
  </p:notesViewPr>
  <p:gridSpacing cx="72000" cy="720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ags" Target="tags/tag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presProps" Target="presProps.xml"/><Relationship Id="rId95" Type="http://schemas.microsoft.com/office/2015/10/relationships/revisionInfo" Target="revisionInfo.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notesMaster" Target="notesMasters/notesMaster1.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heme" Target="theme/theme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ur bonsen georg" userId="5444515566c7376a" providerId="LiveId" clId="{18CD7E6B-2C8E-405B-A237-843B9FC9D457}"/>
    <pc:docChg chg="undo redo custSel addSld delSld modSld sldOrd">
      <pc:chgData name="zur bonsen georg" userId="5444515566c7376a" providerId="LiveId" clId="{18CD7E6B-2C8E-405B-A237-843B9FC9D457}" dt="2022-04-24T19:41:43.795" v="12845" actId="114"/>
      <pc:docMkLst>
        <pc:docMk/>
      </pc:docMkLst>
      <pc:sldChg chg="addSp delSp modSp mod">
        <pc:chgData name="zur bonsen georg" userId="5444515566c7376a" providerId="LiveId" clId="{18CD7E6B-2C8E-405B-A237-843B9FC9D457}" dt="2022-04-09T10:07:08.913" v="1397" actId="14100"/>
        <pc:sldMkLst>
          <pc:docMk/>
          <pc:sldMk cId="3131759380" sldId="398"/>
        </pc:sldMkLst>
        <pc:spChg chg="del">
          <ac:chgData name="zur bonsen georg" userId="5444515566c7376a" providerId="LiveId" clId="{18CD7E6B-2C8E-405B-A237-843B9FC9D457}" dt="2022-04-09T09:36:57.065" v="132" actId="478"/>
          <ac:spMkLst>
            <pc:docMk/>
            <pc:sldMk cId="3131759380" sldId="398"/>
            <ac:spMk id="3" creationId="{77BCABCA-1510-4BD2-A643-878B335C93CC}"/>
          </ac:spMkLst>
        </pc:spChg>
        <pc:spChg chg="mod">
          <ac:chgData name="zur bonsen georg" userId="5444515566c7376a" providerId="LiveId" clId="{18CD7E6B-2C8E-405B-A237-843B9FC9D457}" dt="2022-04-09T09:55:02.792" v="931" actId="1035"/>
          <ac:spMkLst>
            <pc:docMk/>
            <pc:sldMk cId="3131759380" sldId="398"/>
            <ac:spMk id="12" creationId="{964A7BF0-E985-451A-B8FE-A83AB8E1F9A3}"/>
          </ac:spMkLst>
        </pc:spChg>
        <pc:spChg chg="mod">
          <ac:chgData name="zur bonsen georg" userId="5444515566c7376a" providerId="LiveId" clId="{18CD7E6B-2C8E-405B-A237-843B9FC9D457}" dt="2022-04-09T09:38:48.679" v="280" actId="1036"/>
          <ac:spMkLst>
            <pc:docMk/>
            <pc:sldMk cId="3131759380" sldId="398"/>
            <ac:spMk id="14" creationId="{B8B58D71-141A-4F3C-AD06-0DF78C6C134E}"/>
          </ac:spMkLst>
        </pc:spChg>
        <pc:spChg chg="add del mod ord">
          <ac:chgData name="zur bonsen georg" userId="5444515566c7376a" providerId="LiveId" clId="{18CD7E6B-2C8E-405B-A237-843B9FC9D457}" dt="2022-04-09T09:55:23.066" v="950" actId="478"/>
          <ac:spMkLst>
            <pc:docMk/>
            <pc:sldMk cId="3131759380" sldId="398"/>
            <ac:spMk id="17" creationId="{44109132-1032-4575-8E5F-0213440435D4}"/>
          </ac:spMkLst>
        </pc:spChg>
        <pc:spChg chg="mod">
          <ac:chgData name="zur bonsen georg" userId="5444515566c7376a" providerId="LiveId" clId="{18CD7E6B-2C8E-405B-A237-843B9FC9D457}" dt="2022-04-09T10:05:12.887" v="1317" actId="20577"/>
          <ac:spMkLst>
            <pc:docMk/>
            <pc:sldMk cId="3131759380" sldId="398"/>
            <ac:spMk id="18" creationId="{F67FD3A2-ABB9-45DE-BA9C-303163671948}"/>
          </ac:spMkLst>
        </pc:spChg>
        <pc:spChg chg="del mod">
          <ac:chgData name="zur bonsen georg" userId="5444515566c7376a" providerId="LiveId" clId="{18CD7E6B-2C8E-405B-A237-843B9FC9D457}" dt="2022-04-09T09:47:00.606" v="504" actId="478"/>
          <ac:spMkLst>
            <pc:docMk/>
            <pc:sldMk cId="3131759380" sldId="398"/>
            <ac:spMk id="36" creationId="{DEEF7DD9-0F09-4832-9A45-3EFFC0D358BE}"/>
          </ac:spMkLst>
        </pc:spChg>
        <pc:spChg chg="del">
          <ac:chgData name="zur bonsen georg" userId="5444515566c7376a" providerId="LiveId" clId="{18CD7E6B-2C8E-405B-A237-843B9FC9D457}" dt="2022-04-09T09:38:19.100" v="253" actId="478"/>
          <ac:spMkLst>
            <pc:docMk/>
            <pc:sldMk cId="3131759380" sldId="398"/>
            <ac:spMk id="38" creationId="{5F9731D7-7908-483E-93FC-67CE2AF5385D}"/>
          </ac:spMkLst>
        </pc:spChg>
        <pc:spChg chg="mod">
          <ac:chgData name="zur bonsen georg" userId="5444515566c7376a" providerId="LiveId" clId="{18CD7E6B-2C8E-405B-A237-843B9FC9D457}" dt="2022-04-09T09:38:48.679" v="280" actId="1036"/>
          <ac:spMkLst>
            <pc:docMk/>
            <pc:sldMk cId="3131759380" sldId="398"/>
            <ac:spMk id="40" creationId="{CC735710-683A-4F58-92BB-C0302AF04B30}"/>
          </ac:spMkLst>
        </pc:spChg>
        <pc:spChg chg="mod">
          <ac:chgData name="zur bonsen georg" userId="5444515566c7376a" providerId="LiveId" clId="{18CD7E6B-2C8E-405B-A237-843B9FC9D457}" dt="2022-04-09T09:38:48.679" v="280" actId="1036"/>
          <ac:spMkLst>
            <pc:docMk/>
            <pc:sldMk cId="3131759380" sldId="398"/>
            <ac:spMk id="42" creationId="{12AA0730-F57C-448A-AD1F-EC87DC27F205}"/>
          </ac:spMkLst>
        </pc:spChg>
        <pc:spChg chg="mod">
          <ac:chgData name="zur bonsen georg" userId="5444515566c7376a" providerId="LiveId" clId="{18CD7E6B-2C8E-405B-A237-843B9FC9D457}" dt="2022-04-09T09:59:33.498" v="1184" actId="1038"/>
          <ac:spMkLst>
            <pc:docMk/>
            <pc:sldMk cId="3131759380" sldId="398"/>
            <ac:spMk id="48" creationId="{F2CA6AF3-0270-45E8-8070-ADF967272428}"/>
          </ac:spMkLst>
        </pc:spChg>
        <pc:spChg chg="mod">
          <ac:chgData name="zur bonsen georg" userId="5444515566c7376a" providerId="LiveId" clId="{18CD7E6B-2C8E-405B-A237-843B9FC9D457}" dt="2022-04-09T09:59:33.498" v="1184" actId="1038"/>
          <ac:spMkLst>
            <pc:docMk/>
            <pc:sldMk cId="3131759380" sldId="398"/>
            <ac:spMk id="49" creationId="{F2D4CBD8-89AC-4913-A233-BF4A45765F84}"/>
          </ac:spMkLst>
        </pc:spChg>
        <pc:spChg chg="mod">
          <ac:chgData name="zur bonsen georg" userId="5444515566c7376a" providerId="LiveId" clId="{18CD7E6B-2C8E-405B-A237-843B9FC9D457}" dt="2022-04-09T09:59:33.498" v="1184" actId="1038"/>
          <ac:spMkLst>
            <pc:docMk/>
            <pc:sldMk cId="3131759380" sldId="398"/>
            <ac:spMk id="50" creationId="{6231599F-DC1A-406C-8664-B6EDBF11697B}"/>
          </ac:spMkLst>
        </pc:spChg>
        <pc:spChg chg="mod">
          <ac:chgData name="zur bonsen georg" userId="5444515566c7376a" providerId="LiveId" clId="{18CD7E6B-2C8E-405B-A237-843B9FC9D457}" dt="2022-04-09T09:57:06.525" v="1061" actId="20577"/>
          <ac:spMkLst>
            <pc:docMk/>
            <pc:sldMk cId="3131759380" sldId="398"/>
            <ac:spMk id="57" creationId="{BBE41B35-2F80-42A7-A270-BB33E695D11C}"/>
          </ac:spMkLst>
        </pc:spChg>
        <pc:spChg chg="mod">
          <ac:chgData name="zur bonsen georg" userId="5444515566c7376a" providerId="LiveId" clId="{18CD7E6B-2C8E-405B-A237-843B9FC9D457}" dt="2022-04-09T10:00:36.535" v="1290" actId="20577"/>
          <ac:spMkLst>
            <pc:docMk/>
            <pc:sldMk cId="3131759380" sldId="398"/>
            <ac:spMk id="58" creationId="{795074BF-E5A1-48F0-ABD9-6681637262FA}"/>
          </ac:spMkLst>
        </pc:spChg>
        <pc:spChg chg="mod">
          <ac:chgData name="zur bonsen georg" userId="5444515566c7376a" providerId="LiveId" clId="{18CD7E6B-2C8E-405B-A237-843B9FC9D457}" dt="2022-04-09T09:59:33.498" v="1184" actId="1038"/>
          <ac:spMkLst>
            <pc:docMk/>
            <pc:sldMk cId="3131759380" sldId="398"/>
            <ac:spMk id="62" creationId="{47A6AC1E-3493-4245-A6D6-6C596AD17620}"/>
          </ac:spMkLst>
        </pc:spChg>
        <pc:spChg chg="mod">
          <ac:chgData name="zur bonsen georg" userId="5444515566c7376a" providerId="LiveId" clId="{18CD7E6B-2C8E-405B-A237-843B9FC9D457}" dt="2022-04-09T09:55:02.792" v="931" actId="1035"/>
          <ac:spMkLst>
            <pc:docMk/>
            <pc:sldMk cId="3131759380" sldId="398"/>
            <ac:spMk id="64" creationId="{14999E4D-C16E-4AFE-AB25-9041CE49133C}"/>
          </ac:spMkLst>
        </pc:spChg>
        <pc:spChg chg="del mod">
          <ac:chgData name="zur bonsen georg" userId="5444515566c7376a" providerId="LiveId" clId="{18CD7E6B-2C8E-405B-A237-843B9FC9D457}" dt="2022-04-09T09:48:31.075" v="630" actId="478"/>
          <ac:spMkLst>
            <pc:docMk/>
            <pc:sldMk cId="3131759380" sldId="398"/>
            <ac:spMk id="66" creationId="{B786CCE6-6D0B-446F-B834-465FBAD7B347}"/>
          </ac:spMkLst>
        </pc:spChg>
        <pc:spChg chg="mod">
          <ac:chgData name="zur bonsen georg" userId="5444515566c7376a" providerId="LiveId" clId="{18CD7E6B-2C8E-405B-A237-843B9FC9D457}" dt="2022-04-09T09:59:33.498" v="1184" actId="1038"/>
          <ac:spMkLst>
            <pc:docMk/>
            <pc:sldMk cId="3131759380" sldId="398"/>
            <ac:spMk id="67" creationId="{EFA8FD6F-8AAD-41B9-B976-D10FBC45A9AB}"/>
          </ac:spMkLst>
        </pc:spChg>
        <pc:spChg chg="mod">
          <ac:chgData name="zur bonsen georg" userId="5444515566c7376a" providerId="LiveId" clId="{18CD7E6B-2C8E-405B-A237-843B9FC9D457}" dt="2022-04-09T09:47:54.668" v="627" actId="20577"/>
          <ac:spMkLst>
            <pc:docMk/>
            <pc:sldMk cId="3131759380" sldId="398"/>
            <ac:spMk id="70" creationId="{66F6B636-CC14-45EC-A21B-17EB762B80F6}"/>
          </ac:spMkLst>
        </pc:spChg>
        <pc:spChg chg="add del mod">
          <ac:chgData name="zur bonsen georg" userId="5444515566c7376a" providerId="LiveId" clId="{18CD7E6B-2C8E-405B-A237-843B9FC9D457}" dt="2022-04-09T09:47:49.961" v="621" actId="478"/>
          <ac:spMkLst>
            <pc:docMk/>
            <pc:sldMk cId="3131759380" sldId="398"/>
            <ac:spMk id="73" creationId="{4540AB99-AC0A-43C8-A246-15B35C3EA486}"/>
          </ac:spMkLst>
        </pc:spChg>
        <pc:spChg chg="add mod">
          <ac:chgData name="zur bonsen georg" userId="5444515566c7376a" providerId="LiveId" clId="{18CD7E6B-2C8E-405B-A237-843B9FC9D457}" dt="2022-04-09T10:03:59.913" v="1294" actId="1035"/>
          <ac:spMkLst>
            <pc:docMk/>
            <pc:sldMk cId="3131759380" sldId="398"/>
            <ac:spMk id="74" creationId="{3213BAC2-0569-43DD-87D2-81F95D95DECE}"/>
          </ac:spMkLst>
        </pc:spChg>
        <pc:spChg chg="add mod">
          <ac:chgData name="zur bonsen georg" userId="5444515566c7376a" providerId="LiveId" clId="{18CD7E6B-2C8E-405B-A237-843B9FC9D457}" dt="2022-04-09T10:03:59.913" v="1294" actId="1035"/>
          <ac:spMkLst>
            <pc:docMk/>
            <pc:sldMk cId="3131759380" sldId="398"/>
            <ac:spMk id="75" creationId="{35BD99F5-4322-48C1-8BFF-57FE539B2F21}"/>
          </ac:spMkLst>
        </pc:spChg>
        <pc:spChg chg="add mod">
          <ac:chgData name="zur bonsen georg" userId="5444515566c7376a" providerId="LiveId" clId="{18CD7E6B-2C8E-405B-A237-843B9FC9D457}" dt="2022-04-09T09:55:02.792" v="931" actId="1035"/>
          <ac:spMkLst>
            <pc:docMk/>
            <pc:sldMk cId="3131759380" sldId="398"/>
            <ac:spMk id="76" creationId="{179BDC43-722A-4B80-8071-BEB016032439}"/>
          </ac:spMkLst>
        </pc:spChg>
        <pc:spChg chg="add del mod">
          <ac:chgData name="zur bonsen georg" userId="5444515566c7376a" providerId="LiveId" clId="{18CD7E6B-2C8E-405B-A237-843B9FC9D457}" dt="2022-04-09T09:59:03.756" v="1175" actId="478"/>
          <ac:spMkLst>
            <pc:docMk/>
            <pc:sldMk cId="3131759380" sldId="398"/>
            <ac:spMk id="77" creationId="{F99807DE-49EA-4459-ACA6-6F2389FE5B5C}"/>
          </ac:spMkLst>
        </pc:spChg>
        <pc:spChg chg="add del mod">
          <ac:chgData name="zur bonsen georg" userId="5444515566c7376a" providerId="LiveId" clId="{18CD7E6B-2C8E-405B-A237-843B9FC9D457}" dt="2022-04-09T09:51:09.513" v="699" actId="478"/>
          <ac:spMkLst>
            <pc:docMk/>
            <pc:sldMk cId="3131759380" sldId="398"/>
            <ac:spMk id="79" creationId="{CFEF7475-E36C-4993-B27E-C282730D43FB}"/>
          </ac:spMkLst>
        </pc:spChg>
        <pc:spChg chg="add del mod">
          <ac:chgData name="zur bonsen georg" userId="5444515566c7376a" providerId="LiveId" clId="{18CD7E6B-2C8E-405B-A237-843B9FC9D457}" dt="2022-04-09T09:55:38.621" v="959" actId="478"/>
          <ac:spMkLst>
            <pc:docMk/>
            <pc:sldMk cId="3131759380" sldId="398"/>
            <ac:spMk id="80" creationId="{4929BE7C-F824-4232-9640-E8267975ED2A}"/>
          </ac:spMkLst>
        </pc:spChg>
        <pc:spChg chg="add del mod">
          <ac:chgData name="zur bonsen georg" userId="5444515566c7376a" providerId="LiveId" clId="{18CD7E6B-2C8E-405B-A237-843B9FC9D457}" dt="2022-04-09T09:55:24.402" v="951" actId="478"/>
          <ac:spMkLst>
            <pc:docMk/>
            <pc:sldMk cId="3131759380" sldId="398"/>
            <ac:spMk id="81" creationId="{36131E61-9176-48A7-B173-B11E58DCD685}"/>
          </ac:spMkLst>
        </pc:spChg>
        <pc:spChg chg="add del mod">
          <ac:chgData name="zur bonsen georg" userId="5444515566c7376a" providerId="LiveId" clId="{18CD7E6B-2C8E-405B-A237-843B9FC9D457}" dt="2022-04-09T09:54:11.659" v="837" actId="478"/>
          <ac:spMkLst>
            <pc:docMk/>
            <pc:sldMk cId="3131759380" sldId="398"/>
            <ac:spMk id="83" creationId="{F1B2C096-59CE-4CD1-96FD-92D2699BD8B8}"/>
          </ac:spMkLst>
        </pc:spChg>
        <pc:spChg chg="mod">
          <ac:chgData name="zur bonsen georg" userId="5444515566c7376a" providerId="LiveId" clId="{18CD7E6B-2C8E-405B-A237-843B9FC9D457}" dt="2022-04-09T09:56:48.267" v="1059" actId="20577"/>
          <ac:spMkLst>
            <pc:docMk/>
            <pc:sldMk cId="3131759380" sldId="398"/>
            <ac:spMk id="86" creationId="{509A4ED7-ED07-4563-A5AF-25BE527102A3}"/>
          </ac:spMkLst>
        </pc:spChg>
        <pc:spChg chg="add mod">
          <ac:chgData name="zur bonsen georg" userId="5444515566c7376a" providerId="LiveId" clId="{18CD7E6B-2C8E-405B-A237-843B9FC9D457}" dt="2022-04-09T09:54:19.701" v="840" actId="571"/>
          <ac:spMkLst>
            <pc:docMk/>
            <pc:sldMk cId="3131759380" sldId="398"/>
            <ac:spMk id="87" creationId="{D6C158D8-191B-442E-B975-7E39AFAF8EE8}"/>
          </ac:spMkLst>
        </pc:spChg>
        <pc:spChg chg="add mod">
          <ac:chgData name="zur bonsen georg" userId="5444515566c7376a" providerId="LiveId" clId="{18CD7E6B-2C8E-405B-A237-843B9FC9D457}" dt="2022-04-09T09:54:23.329" v="842" actId="1076"/>
          <ac:spMkLst>
            <pc:docMk/>
            <pc:sldMk cId="3131759380" sldId="398"/>
            <ac:spMk id="89" creationId="{30EC3988-54C0-443F-964D-93436DB074AB}"/>
          </ac:spMkLst>
        </pc:spChg>
        <pc:spChg chg="add mod">
          <ac:chgData name="zur bonsen georg" userId="5444515566c7376a" providerId="LiveId" clId="{18CD7E6B-2C8E-405B-A237-843B9FC9D457}" dt="2022-04-09T09:55:15.019" v="946" actId="20577"/>
          <ac:spMkLst>
            <pc:docMk/>
            <pc:sldMk cId="3131759380" sldId="398"/>
            <ac:spMk id="90" creationId="{57FA14E1-BCCF-4806-9607-1724CD30A02E}"/>
          </ac:spMkLst>
        </pc:spChg>
        <pc:spChg chg="mod">
          <ac:chgData name="zur bonsen georg" userId="5444515566c7376a" providerId="LiveId" clId="{18CD7E6B-2C8E-405B-A237-843B9FC9D457}" dt="2022-04-09T09:55:02.792" v="931" actId="1035"/>
          <ac:spMkLst>
            <pc:docMk/>
            <pc:sldMk cId="3131759380" sldId="398"/>
            <ac:spMk id="91" creationId="{05EDC96F-CE68-418F-BBCF-61A443B2D183}"/>
          </ac:spMkLst>
        </pc:spChg>
        <pc:spChg chg="mod">
          <ac:chgData name="zur bonsen georg" userId="5444515566c7376a" providerId="LiveId" clId="{18CD7E6B-2C8E-405B-A237-843B9FC9D457}" dt="2022-04-09T09:56:49.762" v="1060" actId="20577"/>
          <ac:spMkLst>
            <pc:docMk/>
            <pc:sldMk cId="3131759380" sldId="398"/>
            <ac:spMk id="95" creationId="{E8D47682-1B6C-4548-BD82-4741067392EF}"/>
          </ac:spMkLst>
        </pc:spChg>
        <pc:spChg chg="add mod">
          <ac:chgData name="zur bonsen georg" userId="5444515566c7376a" providerId="LiveId" clId="{18CD7E6B-2C8E-405B-A237-843B9FC9D457}" dt="2022-04-09T09:55:29.021" v="956" actId="1035"/>
          <ac:spMkLst>
            <pc:docMk/>
            <pc:sldMk cId="3131759380" sldId="398"/>
            <ac:spMk id="96" creationId="{6ED8B32E-7F9A-42A7-A257-CD55D8B60743}"/>
          </ac:spMkLst>
        </pc:spChg>
        <pc:spChg chg="del mod">
          <ac:chgData name="zur bonsen georg" userId="5444515566c7376a" providerId="LiveId" clId="{18CD7E6B-2C8E-405B-A237-843B9FC9D457}" dt="2022-04-09T09:48:31.075" v="630" actId="478"/>
          <ac:spMkLst>
            <pc:docMk/>
            <pc:sldMk cId="3131759380" sldId="398"/>
            <ac:spMk id="97" creationId="{113D853E-F0C9-4B95-9535-B15CAC43C002}"/>
          </ac:spMkLst>
        </pc:spChg>
        <pc:spChg chg="mod">
          <ac:chgData name="zur bonsen georg" userId="5444515566c7376a" providerId="LiveId" clId="{18CD7E6B-2C8E-405B-A237-843B9FC9D457}" dt="2022-04-09T10:05:18.089" v="1319" actId="20577"/>
          <ac:spMkLst>
            <pc:docMk/>
            <pc:sldMk cId="3131759380" sldId="398"/>
            <ac:spMk id="103" creationId="{3994F20E-1809-45DA-A2DA-EAD0FF06EDBF}"/>
          </ac:spMkLst>
        </pc:spChg>
        <pc:spChg chg="add mod">
          <ac:chgData name="zur bonsen georg" userId="5444515566c7376a" providerId="LiveId" clId="{18CD7E6B-2C8E-405B-A237-843B9FC9D457}" dt="2022-04-09T09:56:19.817" v="1032" actId="20577"/>
          <ac:spMkLst>
            <pc:docMk/>
            <pc:sldMk cId="3131759380" sldId="398"/>
            <ac:spMk id="104" creationId="{B26B1955-2BB5-4D62-92EE-E5D71FC7C011}"/>
          </ac:spMkLst>
        </pc:spChg>
        <pc:spChg chg="del mod">
          <ac:chgData name="zur bonsen georg" userId="5444515566c7376a" providerId="LiveId" clId="{18CD7E6B-2C8E-405B-A237-843B9FC9D457}" dt="2022-04-09T09:51:40.512" v="706" actId="478"/>
          <ac:spMkLst>
            <pc:docMk/>
            <pc:sldMk cId="3131759380" sldId="398"/>
            <ac:spMk id="106" creationId="{4A4A10EE-B093-4F35-ABE2-97335DEC0167}"/>
          </ac:spMkLst>
        </pc:spChg>
        <pc:spChg chg="mod">
          <ac:chgData name="zur bonsen georg" userId="5444515566c7376a" providerId="LiveId" clId="{18CD7E6B-2C8E-405B-A237-843B9FC9D457}" dt="2022-04-09T10:07:08.913" v="1397" actId="14100"/>
          <ac:spMkLst>
            <pc:docMk/>
            <pc:sldMk cId="3131759380" sldId="398"/>
            <ac:spMk id="116" creationId="{2CEA51A4-B416-484B-ADF6-96AE4B8A2AD9}"/>
          </ac:spMkLst>
        </pc:spChg>
        <pc:spChg chg="mod">
          <ac:chgData name="zur bonsen georg" userId="5444515566c7376a" providerId="LiveId" clId="{18CD7E6B-2C8E-405B-A237-843B9FC9D457}" dt="2022-04-09T10:06:13.813" v="1396" actId="20577"/>
          <ac:spMkLst>
            <pc:docMk/>
            <pc:sldMk cId="3131759380" sldId="398"/>
            <ac:spMk id="124" creationId="{CAEEF56D-B13E-47D0-8AC5-ADD85D8E0C46}"/>
          </ac:spMkLst>
        </pc:spChg>
        <pc:spChg chg="mod">
          <ac:chgData name="zur bonsen georg" userId="5444515566c7376a" providerId="LiveId" clId="{18CD7E6B-2C8E-405B-A237-843B9FC9D457}" dt="2022-04-09T09:38:48.679" v="280" actId="1036"/>
          <ac:spMkLst>
            <pc:docMk/>
            <pc:sldMk cId="3131759380" sldId="398"/>
            <ac:spMk id="126" creationId="{BED03999-2D4C-49F8-8982-CDD5CA20CF2D}"/>
          </ac:spMkLst>
        </pc:spChg>
        <pc:spChg chg="mod">
          <ac:chgData name="zur bonsen georg" userId="5444515566c7376a" providerId="LiveId" clId="{18CD7E6B-2C8E-405B-A237-843B9FC9D457}" dt="2022-04-09T09:38:48.679" v="280" actId="1036"/>
          <ac:spMkLst>
            <pc:docMk/>
            <pc:sldMk cId="3131759380" sldId="398"/>
            <ac:spMk id="127" creationId="{8D93D78E-EF03-4099-9AF8-07AE51F90407}"/>
          </ac:spMkLst>
        </pc:spChg>
        <pc:cxnChg chg="mod">
          <ac:chgData name="zur bonsen georg" userId="5444515566c7376a" providerId="LiveId" clId="{18CD7E6B-2C8E-405B-A237-843B9FC9D457}" dt="2022-04-09T09:59:33.498" v="1184" actId="1038"/>
          <ac:cxnSpMkLst>
            <pc:docMk/>
            <pc:sldMk cId="3131759380" sldId="398"/>
            <ac:cxnSpMk id="5" creationId="{D128DDCA-BEE4-4929-91C5-1EF6D4E8219B}"/>
          </ac:cxnSpMkLst>
        </pc:cxnChg>
        <pc:cxnChg chg="del">
          <ac:chgData name="zur bonsen georg" userId="5444515566c7376a" providerId="LiveId" clId="{18CD7E6B-2C8E-405B-A237-843B9FC9D457}" dt="2022-04-09T09:36:57.065" v="132" actId="478"/>
          <ac:cxnSpMkLst>
            <pc:docMk/>
            <pc:sldMk cId="3131759380" sldId="398"/>
            <ac:cxnSpMk id="7" creationId="{8C8BBDC3-092C-4E0E-9106-5FE84B6C724A}"/>
          </ac:cxnSpMkLst>
        </pc:cxnChg>
        <pc:cxnChg chg="mod">
          <ac:chgData name="zur bonsen georg" userId="5444515566c7376a" providerId="LiveId" clId="{18CD7E6B-2C8E-405B-A237-843B9FC9D457}" dt="2022-04-09T09:59:33.498" v="1184" actId="1038"/>
          <ac:cxnSpMkLst>
            <pc:docMk/>
            <pc:sldMk cId="3131759380" sldId="398"/>
            <ac:cxnSpMk id="54" creationId="{123A190C-8FFD-4B17-8527-52B19C52876B}"/>
          </ac:cxnSpMkLst>
        </pc:cxnChg>
        <pc:cxnChg chg="del mod">
          <ac:chgData name="zur bonsen georg" userId="5444515566c7376a" providerId="LiveId" clId="{18CD7E6B-2C8E-405B-A237-843B9FC9D457}" dt="2022-04-09T09:48:32.761" v="631" actId="478"/>
          <ac:cxnSpMkLst>
            <pc:docMk/>
            <pc:sldMk cId="3131759380" sldId="398"/>
            <ac:cxnSpMk id="56" creationId="{92A96DF3-50C6-4807-8D71-C7C9C8AB600E}"/>
          </ac:cxnSpMkLst>
        </pc:cxnChg>
        <pc:cxnChg chg="mod">
          <ac:chgData name="zur bonsen georg" userId="5444515566c7376a" providerId="LiveId" clId="{18CD7E6B-2C8E-405B-A237-843B9FC9D457}" dt="2022-04-09T09:59:33.498" v="1184" actId="1038"/>
          <ac:cxnSpMkLst>
            <pc:docMk/>
            <pc:sldMk cId="3131759380" sldId="398"/>
            <ac:cxnSpMk id="59" creationId="{ECFEF118-B761-42D5-9631-80E9BFDEF855}"/>
          </ac:cxnSpMkLst>
        </pc:cxnChg>
        <pc:cxnChg chg="mod">
          <ac:chgData name="zur bonsen georg" userId="5444515566c7376a" providerId="LiveId" clId="{18CD7E6B-2C8E-405B-A237-843B9FC9D457}" dt="2022-04-09T09:55:02.792" v="931" actId="1035"/>
          <ac:cxnSpMkLst>
            <pc:docMk/>
            <pc:sldMk cId="3131759380" sldId="398"/>
            <ac:cxnSpMk id="60" creationId="{4D2922DB-9EB8-4B01-9CA0-B185E54DAF55}"/>
          </ac:cxnSpMkLst>
        </pc:cxnChg>
        <pc:cxnChg chg="mod">
          <ac:chgData name="zur bonsen georg" userId="5444515566c7376a" providerId="LiveId" clId="{18CD7E6B-2C8E-405B-A237-843B9FC9D457}" dt="2022-04-09T09:59:33.498" v="1184" actId="1038"/>
          <ac:cxnSpMkLst>
            <pc:docMk/>
            <pc:sldMk cId="3131759380" sldId="398"/>
            <ac:cxnSpMk id="61" creationId="{4A7F2212-4028-4A13-92C4-32F5C490694A}"/>
          </ac:cxnSpMkLst>
        </pc:cxnChg>
        <pc:cxnChg chg="mod">
          <ac:chgData name="zur bonsen georg" userId="5444515566c7376a" providerId="LiveId" clId="{18CD7E6B-2C8E-405B-A237-843B9FC9D457}" dt="2022-04-09T09:55:02.792" v="931" actId="1035"/>
          <ac:cxnSpMkLst>
            <pc:docMk/>
            <pc:sldMk cId="3131759380" sldId="398"/>
            <ac:cxnSpMk id="63" creationId="{A84B0C48-C7B1-426A-9A14-3276A890A708}"/>
          </ac:cxnSpMkLst>
        </pc:cxnChg>
        <pc:cxnChg chg="del mod">
          <ac:chgData name="zur bonsen georg" userId="5444515566c7376a" providerId="LiveId" clId="{18CD7E6B-2C8E-405B-A237-843B9FC9D457}" dt="2022-04-09T09:48:31.075" v="630" actId="478"/>
          <ac:cxnSpMkLst>
            <pc:docMk/>
            <pc:sldMk cId="3131759380" sldId="398"/>
            <ac:cxnSpMk id="65" creationId="{97A0E850-4BC5-42D3-A5CF-47155EDE64FE}"/>
          </ac:cxnSpMkLst>
        </pc:cxnChg>
        <pc:cxnChg chg="del mod">
          <ac:chgData name="zur bonsen georg" userId="5444515566c7376a" providerId="LiveId" clId="{18CD7E6B-2C8E-405B-A237-843B9FC9D457}" dt="2022-04-09T09:49:36.348" v="668" actId="478"/>
          <ac:cxnSpMkLst>
            <pc:docMk/>
            <pc:sldMk cId="3131759380" sldId="398"/>
            <ac:cxnSpMk id="68" creationId="{AA273494-E2A1-4AF1-B5F1-7DD5179E5BF4}"/>
          </ac:cxnSpMkLst>
        </pc:cxnChg>
        <pc:cxnChg chg="del mod">
          <ac:chgData name="zur bonsen georg" userId="5444515566c7376a" providerId="LiveId" clId="{18CD7E6B-2C8E-405B-A237-843B9FC9D457}" dt="2022-04-09T09:49:36.348" v="668" actId="478"/>
          <ac:cxnSpMkLst>
            <pc:docMk/>
            <pc:sldMk cId="3131759380" sldId="398"/>
            <ac:cxnSpMk id="69" creationId="{631199C1-B38D-42AE-A8EA-F866B0025F84}"/>
          </ac:cxnSpMkLst>
        </pc:cxnChg>
        <pc:cxnChg chg="del">
          <ac:chgData name="zur bonsen georg" userId="5444515566c7376a" providerId="LiveId" clId="{18CD7E6B-2C8E-405B-A237-843B9FC9D457}" dt="2022-04-09T09:47:02.603" v="505" actId="478"/>
          <ac:cxnSpMkLst>
            <pc:docMk/>
            <pc:sldMk cId="3131759380" sldId="398"/>
            <ac:cxnSpMk id="71" creationId="{A7E75268-8B25-4E8A-A635-E2D3EE1CB409}"/>
          </ac:cxnSpMkLst>
        </pc:cxnChg>
        <pc:cxnChg chg="del">
          <ac:chgData name="zur bonsen georg" userId="5444515566c7376a" providerId="LiveId" clId="{18CD7E6B-2C8E-405B-A237-843B9FC9D457}" dt="2022-04-09T09:38:24.770" v="254" actId="478"/>
          <ac:cxnSpMkLst>
            <pc:docMk/>
            <pc:sldMk cId="3131759380" sldId="398"/>
            <ac:cxnSpMk id="72" creationId="{097F97C5-2A30-4CC9-A502-94ED5EBD1BA5}"/>
          </ac:cxnSpMkLst>
        </pc:cxnChg>
        <pc:cxnChg chg="add mod">
          <ac:chgData name="zur bonsen georg" userId="5444515566c7376a" providerId="LiveId" clId="{18CD7E6B-2C8E-405B-A237-843B9FC9D457}" dt="2022-04-09T09:51:08.015" v="698" actId="1038"/>
          <ac:cxnSpMkLst>
            <pc:docMk/>
            <pc:sldMk cId="3131759380" sldId="398"/>
            <ac:cxnSpMk id="78" creationId="{F7944FC9-3AC1-41F4-AE25-ECA7A8B4374A}"/>
          </ac:cxnSpMkLst>
        </pc:cxnChg>
        <pc:cxnChg chg="add del mod">
          <ac:chgData name="zur bonsen georg" userId="5444515566c7376a" providerId="LiveId" clId="{18CD7E6B-2C8E-405B-A237-843B9FC9D457}" dt="2022-04-09T09:55:20.454" v="949" actId="478"/>
          <ac:cxnSpMkLst>
            <pc:docMk/>
            <pc:sldMk cId="3131759380" sldId="398"/>
            <ac:cxnSpMk id="82" creationId="{905273B1-5E27-4C0F-BC04-9F4860B600FD}"/>
          </ac:cxnSpMkLst>
        </pc:cxnChg>
        <pc:cxnChg chg="mod">
          <ac:chgData name="zur bonsen georg" userId="5444515566c7376a" providerId="LiveId" clId="{18CD7E6B-2C8E-405B-A237-843B9FC9D457}" dt="2022-04-09T09:38:48.679" v="280" actId="1036"/>
          <ac:cxnSpMkLst>
            <pc:docMk/>
            <pc:sldMk cId="3131759380" sldId="398"/>
            <ac:cxnSpMk id="84" creationId="{5162B8FC-E202-4A9E-AA7D-C17401391218}"/>
          </ac:cxnSpMkLst>
        </pc:cxnChg>
        <pc:cxnChg chg="mod">
          <ac:chgData name="zur bonsen georg" userId="5444515566c7376a" providerId="LiveId" clId="{18CD7E6B-2C8E-405B-A237-843B9FC9D457}" dt="2022-04-09T09:47:00.606" v="504" actId="478"/>
          <ac:cxnSpMkLst>
            <pc:docMk/>
            <pc:sldMk cId="3131759380" sldId="398"/>
            <ac:cxnSpMk id="85" creationId="{84C9CE55-52B5-491F-AD3D-86B1BA759180}"/>
          </ac:cxnSpMkLst>
        </pc:cxnChg>
        <pc:cxnChg chg="mod">
          <ac:chgData name="zur bonsen georg" userId="5444515566c7376a" providerId="LiveId" clId="{18CD7E6B-2C8E-405B-A237-843B9FC9D457}" dt="2022-04-09T09:38:48.679" v="280" actId="1036"/>
          <ac:cxnSpMkLst>
            <pc:docMk/>
            <pc:sldMk cId="3131759380" sldId="398"/>
            <ac:cxnSpMk id="88" creationId="{96E765CF-399A-41D3-A8DE-6FFF20F4E74E}"/>
          </ac:cxnSpMkLst>
        </pc:cxnChg>
        <pc:cxnChg chg="mod">
          <ac:chgData name="zur bonsen georg" userId="5444515566c7376a" providerId="LiveId" clId="{18CD7E6B-2C8E-405B-A237-843B9FC9D457}" dt="2022-04-09T09:51:40.512" v="706" actId="478"/>
          <ac:cxnSpMkLst>
            <pc:docMk/>
            <pc:sldMk cId="3131759380" sldId="398"/>
            <ac:cxnSpMk id="92" creationId="{49EECA0E-29C4-44E9-B639-122E156942BA}"/>
          </ac:cxnSpMkLst>
        </pc:cxnChg>
        <pc:cxnChg chg="add mod">
          <ac:chgData name="zur bonsen georg" userId="5444515566c7376a" providerId="LiveId" clId="{18CD7E6B-2C8E-405B-A237-843B9FC9D457}" dt="2022-04-09T09:55:07.893" v="932" actId="1035"/>
          <ac:cxnSpMkLst>
            <pc:docMk/>
            <pc:sldMk cId="3131759380" sldId="398"/>
            <ac:cxnSpMk id="93" creationId="{BD3789DA-214E-4070-B2E8-C77AF7050675}"/>
          </ac:cxnSpMkLst>
        </pc:cxnChg>
        <pc:cxnChg chg="mod">
          <ac:chgData name="zur bonsen georg" userId="5444515566c7376a" providerId="LiveId" clId="{18CD7E6B-2C8E-405B-A237-843B9FC9D457}" dt="2022-04-09T09:38:48.679" v="280" actId="1036"/>
          <ac:cxnSpMkLst>
            <pc:docMk/>
            <pc:sldMk cId="3131759380" sldId="398"/>
            <ac:cxnSpMk id="94" creationId="{9F5EBB4B-633F-4669-A0F6-00AC836F8225}"/>
          </ac:cxnSpMkLst>
        </pc:cxnChg>
        <pc:cxnChg chg="mod">
          <ac:chgData name="zur bonsen georg" userId="5444515566c7376a" providerId="LiveId" clId="{18CD7E6B-2C8E-405B-A237-843B9FC9D457}" dt="2022-04-09T09:55:02.792" v="931" actId="1035"/>
          <ac:cxnSpMkLst>
            <pc:docMk/>
            <pc:sldMk cId="3131759380" sldId="398"/>
            <ac:cxnSpMk id="98" creationId="{22D009E9-3EB0-4703-AB82-DEBDA03225EF}"/>
          </ac:cxnSpMkLst>
        </pc:cxnChg>
        <pc:cxnChg chg="add mod">
          <ac:chgData name="zur bonsen georg" userId="5444515566c7376a" providerId="LiveId" clId="{18CD7E6B-2C8E-405B-A237-843B9FC9D457}" dt="2022-04-09T09:55:35.639" v="958" actId="1076"/>
          <ac:cxnSpMkLst>
            <pc:docMk/>
            <pc:sldMk cId="3131759380" sldId="398"/>
            <ac:cxnSpMk id="99" creationId="{970BDF38-481C-4283-AE11-62BC2F9307EC}"/>
          </ac:cxnSpMkLst>
        </pc:cxnChg>
        <pc:cxnChg chg="mod">
          <ac:chgData name="zur bonsen georg" userId="5444515566c7376a" providerId="LiveId" clId="{18CD7E6B-2C8E-405B-A237-843B9FC9D457}" dt="2022-04-09T09:55:02.792" v="931" actId="1035"/>
          <ac:cxnSpMkLst>
            <pc:docMk/>
            <pc:sldMk cId="3131759380" sldId="398"/>
            <ac:cxnSpMk id="100" creationId="{A2F10621-9368-4AD2-B284-9C31322BF95E}"/>
          </ac:cxnSpMkLst>
        </pc:cxnChg>
        <pc:cxnChg chg="mod">
          <ac:chgData name="zur bonsen georg" userId="5444515566c7376a" providerId="LiveId" clId="{18CD7E6B-2C8E-405B-A237-843B9FC9D457}" dt="2022-04-09T09:38:48.679" v="280" actId="1036"/>
          <ac:cxnSpMkLst>
            <pc:docMk/>
            <pc:sldMk cId="3131759380" sldId="398"/>
            <ac:cxnSpMk id="101" creationId="{33BBBC62-5B76-4CAC-948D-FA393ABB6822}"/>
          </ac:cxnSpMkLst>
        </pc:cxnChg>
        <pc:cxnChg chg="add mod">
          <ac:chgData name="zur bonsen georg" userId="5444515566c7376a" providerId="LiveId" clId="{18CD7E6B-2C8E-405B-A237-843B9FC9D457}" dt="2022-04-09T09:55:35.639" v="958" actId="1076"/>
          <ac:cxnSpMkLst>
            <pc:docMk/>
            <pc:sldMk cId="3131759380" sldId="398"/>
            <ac:cxnSpMk id="102" creationId="{360D836F-B46B-4501-83FD-2F7F48955B2B}"/>
          </ac:cxnSpMkLst>
        </pc:cxnChg>
        <pc:cxnChg chg="add mod">
          <ac:chgData name="zur bonsen georg" userId="5444515566c7376a" providerId="LiveId" clId="{18CD7E6B-2C8E-405B-A237-843B9FC9D457}" dt="2022-04-09T09:55:58.051" v="988" actId="14100"/>
          <ac:cxnSpMkLst>
            <pc:docMk/>
            <pc:sldMk cId="3131759380" sldId="398"/>
            <ac:cxnSpMk id="105" creationId="{875103E7-3CED-44F7-9CE0-E7843BA99310}"/>
          </ac:cxnSpMkLst>
        </pc:cxnChg>
        <pc:cxnChg chg="del mod">
          <ac:chgData name="zur bonsen georg" userId="5444515566c7376a" providerId="LiveId" clId="{18CD7E6B-2C8E-405B-A237-843B9FC9D457}" dt="2022-04-09T09:50:58.944" v="695" actId="478"/>
          <ac:cxnSpMkLst>
            <pc:docMk/>
            <pc:sldMk cId="3131759380" sldId="398"/>
            <ac:cxnSpMk id="115" creationId="{05F7EBBB-486F-4C36-BCC8-8907F20FCFCE}"/>
          </ac:cxnSpMkLst>
        </pc:cxnChg>
        <pc:cxnChg chg="del mod">
          <ac:chgData name="zur bonsen georg" userId="5444515566c7376a" providerId="LiveId" clId="{18CD7E6B-2C8E-405B-A237-843B9FC9D457}" dt="2022-04-09T09:51:19.762" v="703" actId="478"/>
          <ac:cxnSpMkLst>
            <pc:docMk/>
            <pc:sldMk cId="3131759380" sldId="398"/>
            <ac:cxnSpMk id="117" creationId="{2495516A-F87B-43AC-973A-707788770D08}"/>
          </ac:cxnSpMkLst>
        </pc:cxnChg>
        <pc:cxnChg chg="mod">
          <ac:chgData name="zur bonsen georg" userId="5444515566c7376a" providerId="LiveId" clId="{18CD7E6B-2C8E-405B-A237-843B9FC9D457}" dt="2022-04-09T09:55:02.792" v="931" actId="1035"/>
          <ac:cxnSpMkLst>
            <pc:docMk/>
            <pc:sldMk cId="3131759380" sldId="398"/>
            <ac:cxnSpMk id="119" creationId="{88EEA407-315F-4E6E-A44E-23FF3D449F1B}"/>
          </ac:cxnSpMkLst>
        </pc:cxnChg>
        <pc:cxnChg chg="mod ord">
          <ac:chgData name="zur bonsen georg" userId="5444515566c7376a" providerId="LiveId" clId="{18CD7E6B-2C8E-405B-A237-843B9FC9D457}" dt="2022-04-09T09:55:02.792" v="931" actId="1035"/>
          <ac:cxnSpMkLst>
            <pc:docMk/>
            <pc:sldMk cId="3131759380" sldId="398"/>
            <ac:cxnSpMk id="120" creationId="{D239C0C7-8785-4586-AD5C-70F87A3B31A0}"/>
          </ac:cxnSpMkLst>
        </pc:cxnChg>
        <pc:cxnChg chg="del mod">
          <ac:chgData name="zur bonsen georg" userId="5444515566c7376a" providerId="LiveId" clId="{18CD7E6B-2C8E-405B-A237-843B9FC9D457}" dt="2022-04-09T09:50:56.561" v="694" actId="478"/>
          <ac:cxnSpMkLst>
            <pc:docMk/>
            <pc:sldMk cId="3131759380" sldId="398"/>
            <ac:cxnSpMk id="121" creationId="{DE01A103-3472-4DB1-A048-142176A48BA0}"/>
          </ac:cxnSpMkLst>
        </pc:cxnChg>
        <pc:cxnChg chg="mod">
          <ac:chgData name="zur bonsen georg" userId="5444515566c7376a" providerId="LiveId" clId="{18CD7E6B-2C8E-405B-A237-843B9FC9D457}" dt="2022-04-09T09:38:48.679" v="280" actId="1036"/>
          <ac:cxnSpMkLst>
            <pc:docMk/>
            <pc:sldMk cId="3131759380" sldId="398"/>
            <ac:cxnSpMk id="123" creationId="{2EB0CC1C-F673-4181-B9D8-2981D298C838}"/>
          </ac:cxnSpMkLst>
        </pc:cxnChg>
        <pc:cxnChg chg="mod">
          <ac:chgData name="zur bonsen georg" userId="5444515566c7376a" providerId="LiveId" clId="{18CD7E6B-2C8E-405B-A237-843B9FC9D457}" dt="2022-04-09T09:38:48.679" v="280" actId="1036"/>
          <ac:cxnSpMkLst>
            <pc:docMk/>
            <pc:sldMk cId="3131759380" sldId="398"/>
            <ac:cxnSpMk id="125" creationId="{E0B9CDB7-4912-4242-8A58-4FF6384F26A2}"/>
          </ac:cxnSpMkLst>
        </pc:cxnChg>
      </pc:sldChg>
      <pc:sldChg chg="addSp modSp mod">
        <pc:chgData name="zur bonsen georg" userId="5444515566c7376a" providerId="LiveId" clId="{18CD7E6B-2C8E-405B-A237-843B9FC9D457}" dt="2022-03-27T20:08:20.222" v="75" actId="20577"/>
        <pc:sldMkLst>
          <pc:docMk/>
          <pc:sldMk cId="2182778507" sldId="506"/>
        </pc:sldMkLst>
        <pc:spChg chg="mod">
          <ac:chgData name="zur bonsen georg" userId="5444515566c7376a" providerId="LiveId" clId="{18CD7E6B-2C8E-405B-A237-843B9FC9D457}" dt="2022-03-27T20:04:33.857" v="46" actId="20577"/>
          <ac:spMkLst>
            <pc:docMk/>
            <pc:sldMk cId="2182778507" sldId="506"/>
            <ac:spMk id="54" creationId="{481A2274-F4BB-44ED-A009-B97EC6ED0B43}"/>
          </ac:spMkLst>
        </pc:spChg>
        <pc:spChg chg="mod">
          <ac:chgData name="zur bonsen georg" userId="5444515566c7376a" providerId="LiveId" clId="{18CD7E6B-2C8E-405B-A237-843B9FC9D457}" dt="2022-03-27T20:02:33.807" v="0" actId="1076"/>
          <ac:spMkLst>
            <pc:docMk/>
            <pc:sldMk cId="2182778507" sldId="506"/>
            <ac:spMk id="99" creationId="{927F121B-F8B4-4D44-A46D-641D9B714E05}"/>
          </ac:spMkLst>
        </pc:spChg>
        <pc:spChg chg="mod">
          <ac:chgData name="zur bonsen georg" userId="5444515566c7376a" providerId="LiveId" clId="{18CD7E6B-2C8E-405B-A237-843B9FC9D457}" dt="2022-03-27T20:08:20.222" v="75" actId="20577"/>
          <ac:spMkLst>
            <pc:docMk/>
            <pc:sldMk cId="2182778507" sldId="506"/>
            <ac:spMk id="139" creationId="{55FB7688-9E31-426C-9495-04A457FBABD7}"/>
          </ac:spMkLst>
        </pc:spChg>
        <pc:spChg chg="mod">
          <ac:chgData name="zur bonsen georg" userId="5444515566c7376a" providerId="LiveId" clId="{18CD7E6B-2C8E-405B-A237-843B9FC9D457}" dt="2022-03-27T20:07:08.871" v="59" actId="6549"/>
          <ac:spMkLst>
            <pc:docMk/>
            <pc:sldMk cId="2182778507" sldId="506"/>
            <ac:spMk id="146" creationId="{B99A89BB-6C08-4F63-8928-338BD0FA4906}"/>
          </ac:spMkLst>
        </pc:spChg>
        <pc:spChg chg="mod">
          <ac:chgData name="zur bonsen georg" userId="5444515566c7376a" providerId="LiveId" clId="{18CD7E6B-2C8E-405B-A237-843B9FC9D457}" dt="2022-03-27T20:04:03.281" v="37" actId="207"/>
          <ac:spMkLst>
            <pc:docMk/>
            <pc:sldMk cId="2182778507" sldId="506"/>
            <ac:spMk id="147" creationId="{70DCD7E0-78AB-482C-BE6F-E13CED6E8807}"/>
          </ac:spMkLst>
        </pc:spChg>
        <pc:spChg chg="mod">
          <ac:chgData name="zur bonsen georg" userId="5444515566c7376a" providerId="LiveId" clId="{18CD7E6B-2C8E-405B-A237-843B9FC9D457}" dt="2022-03-27T20:05:25.595" v="52" actId="6549"/>
          <ac:spMkLst>
            <pc:docMk/>
            <pc:sldMk cId="2182778507" sldId="506"/>
            <ac:spMk id="168" creationId="{D85A19BC-6541-4A5F-8D1F-41C9CD79B326}"/>
          </ac:spMkLst>
        </pc:spChg>
        <pc:cxnChg chg="add mod ord">
          <ac:chgData name="zur bonsen georg" userId="5444515566c7376a" providerId="LiveId" clId="{18CD7E6B-2C8E-405B-A237-843B9FC9D457}" dt="2022-03-27T20:04:17.568" v="41" actId="167"/>
          <ac:cxnSpMkLst>
            <pc:docMk/>
            <pc:sldMk cId="2182778507" sldId="506"/>
            <ac:cxnSpMk id="59" creationId="{AF61FCA3-65F3-40C8-822C-E107E29A282C}"/>
          </ac:cxnSpMkLst>
        </pc:cxnChg>
        <pc:cxnChg chg="add mod ord">
          <ac:chgData name="zur bonsen georg" userId="5444515566c7376a" providerId="LiveId" clId="{18CD7E6B-2C8E-405B-A237-843B9FC9D457}" dt="2022-03-27T20:04:23.940" v="45" actId="167"/>
          <ac:cxnSpMkLst>
            <pc:docMk/>
            <pc:sldMk cId="2182778507" sldId="506"/>
            <ac:cxnSpMk id="61" creationId="{C430D2CC-2AA6-4E4D-9838-C7CFA7BD9803}"/>
          </ac:cxnSpMkLst>
        </pc:cxnChg>
      </pc:sldChg>
      <pc:sldChg chg="addSp delSp modSp add del mod ord">
        <pc:chgData name="zur bonsen georg" userId="5444515566c7376a" providerId="LiveId" clId="{18CD7E6B-2C8E-405B-A237-843B9FC9D457}" dt="2022-04-24T09:11:51.131" v="9842" actId="47"/>
        <pc:sldMkLst>
          <pc:docMk/>
          <pc:sldMk cId="3851131186" sldId="507"/>
        </pc:sldMkLst>
        <pc:spChg chg="mod">
          <ac:chgData name="zur bonsen georg" userId="5444515566c7376a" providerId="LiveId" clId="{18CD7E6B-2C8E-405B-A237-843B9FC9D457}" dt="2022-04-18T13:09:30.316" v="7249" actId="20577"/>
          <ac:spMkLst>
            <pc:docMk/>
            <pc:sldMk cId="3851131186" sldId="507"/>
            <ac:spMk id="2" creationId="{00000000-0000-0000-0000-000000000000}"/>
          </ac:spMkLst>
        </pc:spChg>
        <pc:spChg chg="add mod">
          <ac:chgData name="zur bonsen georg" userId="5444515566c7376a" providerId="LiveId" clId="{18CD7E6B-2C8E-405B-A237-843B9FC9D457}" dt="2022-04-18T13:18:07.616" v="7679" actId="20577"/>
          <ac:spMkLst>
            <pc:docMk/>
            <pc:sldMk cId="3851131186" sldId="507"/>
            <ac:spMk id="15" creationId="{6363B55E-A0DD-4F04-B26B-EE0CF4163EFB}"/>
          </ac:spMkLst>
        </pc:spChg>
        <pc:spChg chg="add mod">
          <ac:chgData name="zur bonsen georg" userId="5444515566c7376a" providerId="LiveId" clId="{18CD7E6B-2C8E-405B-A237-843B9FC9D457}" dt="2022-04-18T13:14:45.357" v="7535" actId="20577"/>
          <ac:spMkLst>
            <pc:docMk/>
            <pc:sldMk cId="3851131186" sldId="507"/>
            <ac:spMk id="16" creationId="{24DF15E2-8494-4CD4-97B9-0587F72A4C67}"/>
          </ac:spMkLst>
        </pc:spChg>
        <pc:spChg chg="add del mod">
          <ac:chgData name="zur bonsen georg" userId="5444515566c7376a" providerId="LiveId" clId="{18CD7E6B-2C8E-405B-A237-843B9FC9D457}" dt="2022-04-18T13:12:41.564" v="7439" actId="478"/>
          <ac:spMkLst>
            <pc:docMk/>
            <pc:sldMk cId="3851131186" sldId="507"/>
            <ac:spMk id="17" creationId="{5CC72C18-BC7F-4CC3-8CBE-D7E143967B24}"/>
          </ac:spMkLst>
        </pc:spChg>
        <pc:spChg chg="add del mod">
          <ac:chgData name="zur bonsen georg" userId="5444515566c7376a" providerId="LiveId" clId="{18CD7E6B-2C8E-405B-A237-843B9FC9D457}" dt="2022-04-18T13:12:41.564" v="7439" actId="478"/>
          <ac:spMkLst>
            <pc:docMk/>
            <pc:sldMk cId="3851131186" sldId="507"/>
            <ac:spMk id="18" creationId="{85B856B1-50E8-45C9-96B7-E1D0A5075FF9}"/>
          </ac:spMkLst>
        </pc:spChg>
        <pc:spChg chg="add del mod">
          <ac:chgData name="zur bonsen georg" userId="5444515566c7376a" providerId="LiveId" clId="{18CD7E6B-2C8E-405B-A237-843B9FC9D457}" dt="2022-04-18T13:14:19.089" v="7501" actId="478"/>
          <ac:spMkLst>
            <pc:docMk/>
            <pc:sldMk cId="3851131186" sldId="507"/>
            <ac:spMk id="21" creationId="{011A78CB-B6B1-4AEB-AE31-EE556BEC5A9D}"/>
          </ac:spMkLst>
        </pc:spChg>
        <pc:spChg chg="add del mod">
          <ac:chgData name="zur bonsen georg" userId="5444515566c7376a" providerId="LiveId" clId="{18CD7E6B-2C8E-405B-A237-843B9FC9D457}" dt="2022-04-18T13:14:19.089" v="7501" actId="478"/>
          <ac:spMkLst>
            <pc:docMk/>
            <pc:sldMk cId="3851131186" sldId="507"/>
            <ac:spMk id="22" creationId="{53D52B64-57F2-4298-9826-F343533DC71E}"/>
          </ac:spMkLst>
        </pc:spChg>
        <pc:spChg chg="add del mod">
          <ac:chgData name="zur bonsen georg" userId="5444515566c7376a" providerId="LiveId" clId="{18CD7E6B-2C8E-405B-A237-843B9FC9D457}" dt="2022-04-18T13:36:15.654" v="7756" actId="21"/>
          <ac:spMkLst>
            <pc:docMk/>
            <pc:sldMk cId="3851131186" sldId="507"/>
            <ac:spMk id="23" creationId="{4A8575F0-736A-4274-B15B-CF618173D184}"/>
          </ac:spMkLst>
        </pc:spChg>
        <pc:spChg chg="add del mod">
          <ac:chgData name="zur bonsen georg" userId="5444515566c7376a" providerId="LiveId" clId="{18CD7E6B-2C8E-405B-A237-843B9FC9D457}" dt="2022-04-18T13:37:05.619" v="7785" actId="21"/>
          <ac:spMkLst>
            <pc:docMk/>
            <pc:sldMk cId="3851131186" sldId="507"/>
            <ac:spMk id="24" creationId="{8A156309-BB0A-497C-A4A8-4435A14CDAB2}"/>
          </ac:spMkLst>
        </pc:spChg>
        <pc:spChg chg="add mod">
          <ac:chgData name="zur bonsen georg" userId="5444515566c7376a" providerId="LiveId" clId="{18CD7E6B-2C8E-405B-A237-843B9FC9D457}" dt="2022-04-18T14:24:12.179" v="8491" actId="1036"/>
          <ac:spMkLst>
            <pc:docMk/>
            <pc:sldMk cId="3851131186" sldId="507"/>
            <ac:spMk id="25" creationId="{A32A9BA3-6FAF-4251-AA22-942116015580}"/>
          </ac:spMkLst>
        </pc:spChg>
        <pc:spChg chg="mod">
          <ac:chgData name="zur bonsen georg" userId="5444515566c7376a" providerId="LiveId" clId="{18CD7E6B-2C8E-405B-A237-843B9FC9D457}" dt="2022-04-18T13:12:48.868" v="7447" actId="1037"/>
          <ac:spMkLst>
            <pc:docMk/>
            <pc:sldMk cId="3851131186" sldId="507"/>
            <ac:spMk id="35" creationId="{E6FD1F8A-1E29-4082-BD8E-B68439FB0EC7}"/>
          </ac:spMkLst>
        </pc:spChg>
        <pc:spChg chg="mod">
          <ac:chgData name="zur bonsen georg" userId="5444515566c7376a" providerId="LiveId" clId="{18CD7E6B-2C8E-405B-A237-843B9FC9D457}" dt="2022-04-18T13:15:08.517" v="7538" actId="20577"/>
          <ac:spMkLst>
            <pc:docMk/>
            <pc:sldMk cId="3851131186" sldId="507"/>
            <ac:spMk id="37" creationId="{6E1BCBB0-D175-4259-B26F-C597A81DC306}"/>
          </ac:spMkLst>
        </pc:spChg>
        <pc:spChg chg="mod">
          <ac:chgData name="zur bonsen georg" userId="5444515566c7376a" providerId="LiveId" clId="{18CD7E6B-2C8E-405B-A237-843B9FC9D457}" dt="2022-04-18T13:13:22.795" v="7478" actId="20577"/>
          <ac:spMkLst>
            <pc:docMk/>
            <pc:sldMk cId="3851131186" sldId="507"/>
            <ac:spMk id="39" creationId="{3DE79C33-9C3E-4819-BD35-A6EAA83F0B65}"/>
          </ac:spMkLst>
        </pc:spChg>
        <pc:spChg chg="del mod">
          <ac:chgData name="zur bonsen georg" userId="5444515566c7376a" providerId="LiveId" clId="{18CD7E6B-2C8E-405B-A237-843B9FC9D457}" dt="2022-04-17T20:46:20.146" v="2388" actId="478"/>
          <ac:spMkLst>
            <pc:docMk/>
            <pc:sldMk cId="3851131186" sldId="507"/>
            <ac:spMk id="43" creationId="{9746CE75-FD5E-40C8-929C-8E593A67016C}"/>
          </ac:spMkLst>
        </pc:spChg>
        <pc:spChg chg="del mod">
          <ac:chgData name="zur bonsen georg" userId="5444515566c7376a" providerId="LiveId" clId="{18CD7E6B-2C8E-405B-A237-843B9FC9D457}" dt="2022-04-17T20:46:20.146" v="2388" actId="478"/>
          <ac:spMkLst>
            <pc:docMk/>
            <pc:sldMk cId="3851131186" sldId="507"/>
            <ac:spMk id="45" creationId="{1001E8B8-A0F6-445F-B5B1-9C80B6D9597F}"/>
          </ac:spMkLst>
        </pc:spChg>
        <pc:spChg chg="del mod">
          <ac:chgData name="zur bonsen georg" userId="5444515566c7376a" providerId="LiveId" clId="{18CD7E6B-2C8E-405B-A237-843B9FC9D457}" dt="2022-04-17T20:46:20.146" v="2388" actId="478"/>
          <ac:spMkLst>
            <pc:docMk/>
            <pc:sldMk cId="3851131186" sldId="507"/>
            <ac:spMk id="46" creationId="{092E4CD3-7EEF-4BE3-9288-2551EFE145C9}"/>
          </ac:spMkLst>
        </pc:spChg>
        <pc:spChg chg="del mod">
          <ac:chgData name="zur bonsen georg" userId="5444515566c7376a" providerId="LiveId" clId="{18CD7E6B-2C8E-405B-A237-843B9FC9D457}" dt="2022-04-17T20:46:20.146" v="2388" actId="478"/>
          <ac:spMkLst>
            <pc:docMk/>
            <pc:sldMk cId="3851131186" sldId="507"/>
            <ac:spMk id="47" creationId="{B0B8E2A1-27CC-4395-94ED-4E17733B66E8}"/>
          </ac:spMkLst>
        </pc:spChg>
        <pc:spChg chg="del">
          <ac:chgData name="zur bonsen georg" userId="5444515566c7376a" providerId="LiveId" clId="{18CD7E6B-2C8E-405B-A237-843B9FC9D457}" dt="2022-04-17T20:25:44.556" v="1399" actId="478"/>
          <ac:spMkLst>
            <pc:docMk/>
            <pc:sldMk cId="3851131186" sldId="507"/>
            <ac:spMk id="54" creationId="{481A2274-F4BB-44ED-A009-B97EC6ED0B43}"/>
          </ac:spMkLst>
        </pc:spChg>
        <pc:spChg chg="add del mod">
          <ac:chgData name="zur bonsen georg" userId="5444515566c7376a" providerId="LiveId" clId="{18CD7E6B-2C8E-405B-A237-843B9FC9D457}" dt="2022-04-17T20:27:24.540" v="1515" actId="478"/>
          <ac:spMkLst>
            <pc:docMk/>
            <pc:sldMk cId="3851131186" sldId="507"/>
            <ac:spMk id="65" creationId="{91BAE855-4C14-44F4-9751-F744590A5522}"/>
          </ac:spMkLst>
        </pc:spChg>
        <pc:spChg chg="add mod">
          <ac:chgData name="zur bonsen georg" userId="5444515566c7376a" providerId="LiveId" clId="{18CD7E6B-2C8E-405B-A237-843B9FC9D457}" dt="2022-04-18T13:18:17.681" v="7682" actId="113"/>
          <ac:spMkLst>
            <pc:docMk/>
            <pc:sldMk cId="3851131186" sldId="507"/>
            <ac:spMk id="66" creationId="{3ABCAEDF-CBB1-465E-8102-CBAACAAA9356}"/>
          </ac:spMkLst>
        </pc:spChg>
        <pc:spChg chg="add mod">
          <ac:chgData name="zur bonsen georg" userId="5444515566c7376a" providerId="LiveId" clId="{18CD7E6B-2C8E-405B-A237-843B9FC9D457}" dt="2022-04-18T13:18:31.106" v="7690" actId="20577"/>
          <ac:spMkLst>
            <pc:docMk/>
            <pc:sldMk cId="3851131186" sldId="507"/>
            <ac:spMk id="70" creationId="{10C88A69-70FD-476B-BC65-029D09FFCE3F}"/>
          </ac:spMkLst>
        </pc:spChg>
        <pc:spChg chg="add del mod">
          <ac:chgData name="zur bonsen georg" userId="5444515566c7376a" providerId="LiveId" clId="{18CD7E6B-2C8E-405B-A237-843B9FC9D457}" dt="2022-04-17T20:38:33.264" v="1762" actId="478"/>
          <ac:spMkLst>
            <pc:docMk/>
            <pc:sldMk cId="3851131186" sldId="507"/>
            <ac:spMk id="71" creationId="{1EA543C5-E6FF-489E-971F-A38BEEFEE283}"/>
          </ac:spMkLst>
        </pc:spChg>
        <pc:spChg chg="add mod">
          <ac:chgData name="zur bonsen georg" userId="5444515566c7376a" providerId="LiveId" clId="{18CD7E6B-2C8E-405B-A237-843B9FC9D457}" dt="2022-04-18T13:17:53.527" v="7674" actId="1038"/>
          <ac:spMkLst>
            <pc:docMk/>
            <pc:sldMk cId="3851131186" sldId="507"/>
            <ac:spMk id="72" creationId="{AA7BECD8-F4C9-4BB8-A25E-4F37FEEBFF73}"/>
          </ac:spMkLst>
        </pc:spChg>
        <pc:spChg chg="del mod">
          <ac:chgData name="zur bonsen georg" userId="5444515566c7376a" providerId="LiveId" clId="{18CD7E6B-2C8E-405B-A237-843B9FC9D457}" dt="2022-04-17T20:46:20.146" v="2388" actId="478"/>
          <ac:spMkLst>
            <pc:docMk/>
            <pc:sldMk cId="3851131186" sldId="507"/>
            <ac:spMk id="99" creationId="{927F121B-F8B4-4D44-A46D-641D9B714E05}"/>
          </ac:spMkLst>
        </pc:spChg>
        <pc:spChg chg="del mod">
          <ac:chgData name="zur bonsen georg" userId="5444515566c7376a" providerId="LiveId" clId="{18CD7E6B-2C8E-405B-A237-843B9FC9D457}" dt="2022-04-17T20:46:20.146" v="2388" actId="478"/>
          <ac:spMkLst>
            <pc:docMk/>
            <pc:sldMk cId="3851131186" sldId="507"/>
            <ac:spMk id="105" creationId="{4DF3F716-9AA0-4699-8C65-2A4CB9997650}"/>
          </ac:spMkLst>
        </pc:spChg>
        <pc:spChg chg="mod">
          <ac:chgData name="zur bonsen georg" userId="5444515566c7376a" providerId="LiveId" clId="{18CD7E6B-2C8E-405B-A237-843B9FC9D457}" dt="2022-04-18T13:13:45.851" v="7487" actId="122"/>
          <ac:spMkLst>
            <pc:docMk/>
            <pc:sldMk cId="3851131186" sldId="507"/>
            <ac:spMk id="113" creationId="{69E15E5F-9525-4135-821B-6CDE0D1CB24D}"/>
          </ac:spMkLst>
        </pc:spChg>
        <pc:spChg chg="del mod">
          <ac:chgData name="zur bonsen georg" userId="5444515566c7376a" providerId="LiveId" clId="{18CD7E6B-2C8E-405B-A237-843B9FC9D457}" dt="2022-04-18T13:07:57.296" v="7126" actId="478"/>
          <ac:spMkLst>
            <pc:docMk/>
            <pc:sldMk cId="3851131186" sldId="507"/>
            <ac:spMk id="118" creationId="{3026E471-369F-4FC4-A626-9F4F4AF835F5}"/>
          </ac:spMkLst>
        </pc:spChg>
        <pc:spChg chg="del mod">
          <ac:chgData name="zur bonsen georg" userId="5444515566c7376a" providerId="LiveId" clId="{18CD7E6B-2C8E-405B-A237-843B9FC9D457}" dt="2022-04-17T20:46:20.146" v="2388" actId="478"/>
          <ac:spMkLst>
            <pc:docMk/>
            <pc:sldMk cId="3851131186" sldId="507"/>
            <ac:spMk id="139" creationId="{55FB7688-9E31-426C-9495-04A457FBABD7}"/>
          </ac:spMkLst>
        </pc:spChg>
        <pc:spChg chg="del mod">
          <ac:chgData name="zur bonsen georg" userId="5444515566c7376a" providerId="LiveId" clId="{18CD7E6B-2C8E-405B-A237-843B9FC9D457}" dt="2022-04-17T20:46:20.146" v="2388" actId="478"/>
          <ac:spMkLst>
            <pc:docMk/>
            <pc:sldMk cId="3851131186" sldId="507"/>
            <ac:spMk id="140" creationId="{8AD8071C-3366-4EDD-9325-068A41938395}"/>
          </ac:spMkLst>
        </pc:spChg>
        <pc:spChg chg="del mod">
          <ac:chgData name="zur bonsen georg" userId="5444515566c7376a" providerId="LiveId" clId="{18CD7E6B-2C8E-405B-A237-843B9FC9D457}" dt="2022-04-17T20:46:20.146" v="2388" actId="478"/>
          <ac:spMkLst>
            <pc:docMk/>
            <pc:sldMk cId="3851131186" sldId="507"/>
            <ac:spMk id="141" creationId="{C402E5DE-9A39-4EB4-9C01-38DFAE65DEB3}"/>
          </ac:spMkLst>
        </pc:spChg>
        <pc:spChg chg="del mod">
          <ac:chgData name="zur bonsen georg" userId="5444515566c7376a" providerId="LiveId" clId="{18CD7E6B-2C8E-405B-A237-843B9FC9D457}" dt="2022-04-17T20:46:20.146" v="2388" actId="478"/>
          <ac:spMkLst>
            <pc:docMk/>
            <pc:sldMk cId="3851131186" sldId="507"/>
            <ac:spMk id="142" creationId="{EE0E4775-F85F-4A31-B1DF-397622C34EE8}"/>
          </ac:spMkLst>
        </pc:spChg>
        <pc:spChg chg="del">
          <ac:chgData name="zur bonsen georg" userId="5444515566c7376a" providerId="LiveId" clId="{18CD7E6B-2C8E-405B-A237-843B9FC9D457}" dt="2022-04-17T20:25:44.556" v="1399" actId="478"/>
          <ac:spMkLst>
            <pc:docMk/>
            <pc:sldMk cId="3851131186" sldId="507"/>
            <ac:spMk id="143" creationId="{8411AF6A-9D0F-48E3-821B-BDC20301A245}"/>
          </ac:spMkLst>
        </pc:spChg>
        <pc:spChg chg="del">
          <ac:chgData name="zur bonsen georg" userId="5444515566c7376a" providerId="LiveId" clId="{18CD7E6B-2C8E-405B-A237-843B9FC9D457}" dt="2022-04-17T20:25:44.556" v="1399" actId="478"/>
          <ac:spMkLst>
            <pc:docMk/>
            <pc:sldMk cId="3851131186" sldId="507"/>
            <ac:spMk id="144" creationId="{B73151BB-F4A6-467E-A640-9461637880B2}"/>
          </ac:spMkLst>
        </pc:spChg>
        <pc:spChg chg="del">
          <ac:chgData name="zur bonsen georg" userId="5444515566c7376a" providerId="LiveId" clId="{18CD7E6B-2C8E-405B-A237-843B9FC9D457}" dt="2022-04-17T20:25:44.556" v="1399" actId="478"/>
          <ac:spMkLst>
            <pc:docMk/>
            <pc:sldMk cId="3851131186" sldId="507"/>
            <ac:spMk id="145" creationId="{F1A6728C-0D0F-437C-9808-6102388D262B}"/>
          </ac:spMkLst>
        </pc:spChg>
        <pc:spChg chg="del">
          <ac:chgData name="zur bonsen georg" userId="5444515566c7376a" providerId="LiveId" clId="{18CD7E6B-2C8E-405B-A237-843B9FC9D457}" dt="2022-04-17T20:25:44.556" v="1399" actId="478"/>
          <ac:spMkLst>
            <pc:docMk/>
            <pc:sldMk cId="3851131186" sldId="507"/>
            <ac:spMk id="146" creationId="{B99A89BB-6C08-4F63-8928-338BD0FA4906}"/>
          </ac:spMkLst>
        </pc:spChg>
        <pc:spChg chg="del">
          <ac:chgData name="zur bonsen georg" userId="5444515566c7376a" providerId="LiveId" clId="{18CD7E6B-2C8E-405B-A237-843B9FC9D457}" dt="2022-04-17T20:25:44.556" v="1399" actId="478"/>
          <ac:spMkLst>
            <pc:docMk/>
            <pc:sldMk cId="3851131186" sldId="507"/>
            <ac:spMk id="147" creationId="{70DCD7E0-78AB-482C-BE6F-E13CED6E8807}"/>
          </ac:spMkLst>
        </pc:spChg>
        <pc:spChg chg="del">
          <ac:chgData name="zur bonsen georg" userId="5444515566c7376a" providerId="LiveId" clId="{18CD7E6B-2C8E-405B-A237-843B9FC9D457}" dt="2022-04-17T20:25:44.556" v="1399" actId="478"/>
          <ac:spMkLst>
            <pc:docMk/>
            <pc:sldMk cId="3851131186" sldId="507"/>
            <ac:spMk id="148" creationId="{3DECD778-1762-47B6-ABC2-615C08385F3A}"/>
          </ac:spMkLst>
        </pc:spChg>
        <pc:spChg chg="del">
          <ac:chgData name="zur bonsen georg" userId="5444515566c7376a" providerId="LiveId" clId="{18CD7E6B-2C8E-405B-A237-843B9FC9D457}" dt="2022-04-17T20:25:44.556" v="1399" actId="478"/>
          <ac:spMkLst>
            <pc:docMk/>
            <pc:sldMk cId="3851131186" sldId="507"/>
            <ac:spMk id="149" creationId="{D956C4D5-AA7A-4731-81FA-AD748E2BB761}"/>
          </ac:spMkLst>
        </pc:spChg>
        <pc:spChg chg="del">
          <ac:chgData name="zur bonsen georg" userId="5444515566c7376a" providerId="LiveId" clId="{18CD7E6B-2C8E-405B-A237-843B9FC9D457}" dt="2022-04-17T20:25:44.556" v="1399" actId="478"/>
          <ac:spMkLst>
            <pc:docMk/>
            <pc:sldMk cId="3851131186" sldId="507"/>
            <ac:spMk id="150" creationId="{5998A0C6-2076-4A83-97B6-A83FBD3934F9}"/>
          </ac:spMkLst>
        </pc:spChg>
        <pc:spChg chg="del">
          <ac:chgData name="zur bonsen georg" userId="5444515566c7376a" providerId="LiveId" clId="{18CD7E6B-2C8E-405B-A237-843B9FC9D457}" dt="2022-04-17T20:25:44.556" v="1399" actId="478"/>
          <ac:spMkLst>
            <pc:docMk/>
            <pc:sldMk cId="3851131186" sldId="507"/>
            <ac:spMk id="151" creationId="{D56037E5-12FD-4878-BE65-656D81FCA390}"/>
          </ac:spMkLst>
        </pc:spChg>
        <pc:spChg chg="del">
          <ac:chgData name="zur bonsen georg" userId="5444515566c7376a" providerId="LiveId" clId="{18CD7E6B-2C8E-405B-A237-843B9FC9D457}" dt="2022-04-17T20:25:44.556" v="1399" actId="478"/>
          <ac:spMkLst>
            <pc:docMk/>
            <pc:sldMk cId="3851131186" sldId="507"/>
            <ac:spMk id="168" creationId="{D85A19BC-6541-4A5F-8D1F-41C9CD79B326}"/>
          </ac:spMkLst>
        </pc:spChg>
        <pc:spChg chg="del">
          <ac:chgData name="zur bonsen georg" userId="5444515566c7376a" providerId="LiveId" clId="{18CD7E6B-2C8E-405B-A237-843B9FC9D457}" dt="2022-04-17T20:46:20.146" v="2388" actId="478"/>
          <ac:spMkLst>
            <pc:docMk/>
            <pc:sldMk cId="3851131186" sldId="507"/>
            <ac:spMk id="179" creationId="{38AF722D-27F3-4D5F-B4E0-D6786BD9D459}"/>
          </ac:spMkLst>
        </pc:spChg>
        <pc:spChg chg="del">
          <ac:chgData name="zur bonsen georg" userId="5444515566c7376a" providerId="LiveId" clId="{18CD7E6B-2C8E-405B-A237-843B9FC9D457}" dt="2022-04-17T20:25:44.556" v="1399" actId="478"/>
          <ac:spMkLst>
            <pc:docMk/>
            <pc:sldMk cId="3851131186" sldId="507"/>
            <ac:spMk id="180" creationId="{E43B945B-A893-423A-9B7D-2E5BD82266D4}"/>
          </ac:spMkLst>
        </pc:spChg>
        <pc:spChg chg="del">
          <ac:chgData name="zur bonsen georg" userId="5444515566c7376a" providerId="LiveId" clId="{18CD7E6B-2C8E-405B-A237-843B9FC9D457}" dt="2022-04-17T20:25:44.556" v="1399" actId="478"/>
          <ac:spMkLst>
            <pc:docMk/>
            <pc:sldMk cId="3851131186" sldId="507"/>
            <ac:spMk id="181" creationId="{910DEE03-A1B8-4295-B1D4-6154C7D14CB2}"/>
          </ac:spMkLst>
        </pc:spChg>
        <pc:spChg chg="del">
          <ac:chgData name="zur bonsen georg" userId="5444515566c7376a" providerId="LiveId" clId="{18CD7E6B-2C8E-405B-A237-843B9FC9D457}" dt="2022-04-17T20:25:44.556" v="1399" actId="478"/>
          <ac:spMkLst>
            <pc:docMk/>
            <pc:sldMk cId="3851131186" sldId="507"/>
            <ac:spMk id="210" creationId="{E1515105-8407-4EC9-8127-25E693F040F6}"/>
          </ac:spMkLst>
        </pc:spChg>
        <pc:spChg chg="del">
          <ac:chgData name="zur bonsen georg" userId="5444515566c7376a" providerId="LiveId" clId="{18CD7E6B-2C8E-405B-A237-843B9FC9D457}" dt="2022-04-17T20:25:44.556" v="1399" actId="478"/>
          <ac:spMkLst>
            <pc:docMk/>
            <pc:sldMk cId="3851131186" sldId="507"/>
            <ac:spMk id="211" creationId="{58ADEFC7-FBB4-4B76-B281-6ADA90308C4F}"/>
          </ac:spMkLst>
        </pc:spChg>
        <pc:spChg chg="del">
          <ac:chgData name="zur bonsen georg" userId="5444515566c7376a" providerId="LiveId" clId="{18CD7E6B-2C8E-405B-A237-843B9FC9D457}" dt="2022-04-17T20:25:44.556" v="1399" actId="478"/>
          <ac:spMkLst>
            <pc:docMk/>
            <pc:sldMk cId="3851131186" sldId="507"/>
            <ac:spMk id="212" creationId="{D097D94D-08E5-4308-AED2-B01F44B94A69}"/>
          </ac:spMkLst>
        </pc:spChg>
        <pc:spChg chg="del">
          <ac:chgData name="zur bonsen georg" userId="5444515566c7376a" providerId="LiveId" clId="{18CD7E6B-2C8E-405B-A237-843B9FC9D457}" dt="2022-04-17T20:25:44.556" v="1399" actId="478"/>
          <ac:spMkLst>
            <pc:docMk/>
            <pc:sldMk cId="3851131186" sldId="507"/>
            <ac:spMk id="213" creationId="{A027EED1-3F42-4882-8342-7E4CFF3BBB24}"/>
          </ac:spMkLst>
        </pc:spChg>
        <pc:cxnChg chg="del">
          <ac:chgData name="zur bonsen georg" userId="5444515566c7376a" providerId="LiveId" clId="{18CD7E6B-2C8E-405B-A237-843B9FC9D457}" dt="2022-04-17T20:25:44.556" v="1399" actId="478"/>
          <ac:cxnSpMkLst>
            <pc:docMk/>
            <pc:sldMk cId="3851131186" sldId="507"/>
            <ac:cxnSpMk id="59" creationId="{AF61FCA3-65F3-40C8-822C-E107E29A282C}"/>
          </ac:cxnSpMkLst>
        </pc:cxnChg>
        <pc:cxnChg chg="del">
          <ac:chgData name="zur bonsen georg" userId="5444515566c7376a" providerId="LiveId" clId="{18CD7E6B-2C8E-405B-A237-843B9FC9D457}" dt="2022-04-17T20:25:44.556" v="1399" actId="478"/>
          <ac:cxnSpMkLst>
            <pc:docMk/>
            <pc:sldMk cId="3851131186" sldId="507"/>
            <ac:cxnSpMk id="61" creationId="{C430D2CC-2AA6-4E4D-9838-C7CFA7BD9803}"/>
          </ac:cxnSpMkLst>
        </pc:cxnChg>
        <pc:cxnChg chg="add mod">
          <ac:chgData name="zur bonsen georg" userId="5444515566c7376a" providerId="LiveId" clId="{18CD7E6B-2C8E-405B-A237-843B9FC9D457}" dt="2022-04-18T13:13:11.485" v="7476" actId="14100"/>
          <ac:cxnSpMkLst>
            <pc:docMk/>
            <pc:sldMk cId="3851131186" sldId="507"/>
            <ac:cxnSpMk id="63" creationId="{EFBFE234-A777-42B3-B97B-9C4B44000D41}"/>
          </ac:cxnSpMkLst>
        </pc:cxnChg>
        <pc:cxnChg chg="add mod">
          <ac:chgData name="zur bonsen georg" userId="5444515566c7376a" providerId="LiveId" clId="{18CD7E6B-2C8E-405B-A237-843B9FC9D457}" dt="2022-04-18T13:12:58.091" v="7462" actId="1038"/>
          <ac:cxnSpMkLst>
            <pc:docMk/>
            <pc:sldMk cId="3851131186" sldId="507"/>
            <ac:cxnSpMk id="67" creationId="{20A55B09-D86E-4FB5-8BE5-BE84F5EAC408}"/>
          </ac:cxnSpMkLst>
        </pc:cxnChg>
        <pc:cxnChg chg="mod">
          <ac:chgData name="zur bonsen georg" userId="5444515566c7376a" providerId="LiveId" clId="{18CD7E6B-2C8E-405B-A237-843B9FC9D457}" dt="2022-04-18T13:13:09.431" v="7475" actId="14100"/>
          <ac:cxnSpMkLst>
            <pc:docMk/>
            <pc:sldMk cId="3851131186" sldId="507"/>
            <ac:cxnSpMk id="114" creationId="{DC2FC9AC-EC14-43A0-AB3C-158A9F3C0158}"/>
          </ac:cxnSpMkLst>
        </pc:cxnChg>
        <pc:cxnChg chg="mod">
          <ac:chgData name="zur bonsen georg" userId="5444515566c7376a" providerId="LiveId" clId="{18CD7E6B-2C8E-405B-A237-843B9FC9D457}" dt="2022-04-18T13:13:05.686" v="7474" actId="1038"/>
          <ac:cxnSpMkLst>
            <pc:docMk/>
            <pc:sldMk cId="3851131186" sldId="507"/>
            <ac:cxnSpMk id="124" creationId="{81E93DEE-B453-4DF5-94E8-73BF4C0D46DA}"/>
          </ac:cxnSpMkLst>
        </pc:cxnChg>
        <pc:cxnChg chg="del mod">
          <ac:chgData name="zur bonsen georg" userId="5444515566c7376a" providerId="LiveId" clId="{18CD7E6B-2C8E-405B-A237-843B9FC9D457}" dt="2022-04-17T20:46:20.146" v="2388" actId="478"/>
          <ac:cxnSpMkLst>
            <pc:docMk/>
            <pc:sldMk cId="3851131186" sldId="507"/>
            <ac:cxnSpMk id="125" creationId="{BC697433-001F-4FF9-8D1D-480698A09F57}"/>
          </ac:cxnSpMkLst>
        </pc:cxnChg>
        <pc:cxnChg chg="del mod">
          <ac:chgData name="zur bonsen georg" userId="5444515566c7376a" providerId="LiveId" clId="{18CD7E6B-2C8E-405B-A237-843B9FC9D457}" dt="2022-04-17T20:46:20.146" v="2388" actId="478"/>
          <ac:cxnSpMkLst>
            <pc:docMk/>
            <pc:sldMk cId="3851131186" sldId="507"/>
            <ac:cxnSpMk id="127" creationId="{0DCEEC31-45D2-4933-BB48-F678476B1889}"/>
          </ac:cxnSpMkLst>
        </pc:cxnChg>
        <pc:cxnChg chg="del mod">
          <ac:chgData name="zur bonsen georg" userId="5444515566c7376a" providerId="LiveId" clId="{18CD7E6B-2C8E-405B-A237-843B9FC9D457}" dt="2022-04-17T20:46:20.146" v="2388" actId="478"/>
          <ac:cxnSpMkLst>
            <pc:docMk/>
            <pc:sldMk cId="3851131186" sldId="507"/>
            <ac:cxnSpMk id="129" creationId="{C75B3B39-4AEA-48D6-81E0-B1358B326DB5}"/>
          </ac:cxnSpMkLst>
        </pc:cxnChg>
        <pc:cxnChg chg="del mod">
          <ac:chgData name="zur bonsen georg" userId="5444515566c7376a" providerId="LiveId" clId="{18CD7E6B-2C8E-405B-A237-843B9FC9D457}" dt="2022-04-17T20:46:20.146" v="2388" actId="478"/>
          <ac:cxnSpMkLst>
            <pc:docMk/>
            <pc:sldMk cId="3851131186" sldId="507"/>
            <ac:cxnSpMk id="132" creationId="{4F4A6C18-B7F9-4A7C-AA45-B0C3B134EAEA}"/>
          </ac:cxnSpMkLst>
        </pc:cxnChg>
        <pc:cxnChg chg="del mod">
          <ac:chgData name="zur bonsen georg" userId="5444515566c7376a" providerId="LiveId" clId="{18CD7E6B-2C8E-405B-A237-843B9FC9D457}" dt="2022-04-17T20:46:20.146" v="2388" actId="478"/>
          <ac:cxnSpMkLst>
            <pc:docMk/>
            <pc:sldMk cId="3851131186" sldId="507"/>
            <ac:cxnSpMk id="133" creationId="{6FDBC69C-7FF3-499E-9AC2-8DE923A74EAE}"/>
          </ac:cxnSpMkLst>
        </pc:cxnChg>
        <pc:cxnChg chg="del mod">
          <ac:chgData name="zur bonsen georg" userId="5444515566c7376a" providerId="LiveId" clId="{18CD7E6B-2C8E-405B-A237-843B9FC9D457}" dt="2022-04-17T20:46:20.146" v="2388" actId="478"/>
          <ac:cxnSpMkLst>
            <pc:docMk/>
            <pc:sldMk cId="3851131186" sldId="507"/>
            <ac:cxnSpMk id="134" creationId="{630AC9E0-0A12-4266-939B-B4B096667E0F}"/>
          </ac:cxnSpMkLst>
        </pc:cxnChg>
        <pc:cxnChg chg="del mod">
          <ac:chgData name="zur bonsen georg" userId="5444515566c7376a" providerId="LiveId" clId="{18CD7E6B-2C8E-405B-A237-843B9FC9D457}" dt="2022-04-17T20:46:20.146" v="2388" actId="478"/>
          <ac:cxnSpMkLst>
            <pc:docMk/>
            <pc:sldMk cId="3851131186" sldId="507"/>
            <ac:cxnSpMk id="135" creationId="{D7A90912-280E-4192-849B-F6F1E70B37CF}"/>
          </ac:cxnSpMkLst>
        </pc:cxnChg>
        <pc:cxnChg chg="del mod">
          <ac:chgData name="zur bonsen georg" userId="5444515566c7376a" providerId="LiveId" clId="{18CD7E6B-2C8E-405B-A237-843B9FC9D457}" dt="2022-04-17T20:25:44.556" v="1399" actId="478"/>
          <ac:cxnSpMkLst>
            <pc:docMk/>
            <pc:sldMk cId="3851131186" sldId="507"/>
            <ac:cxnSpMk id="152" creationId="{BEA02FC8-3441-4539-857C-F7D97D5F1FF5}"/>
          </ac:cxnSpMkLst>
        </pc:cxnChg>
        <pc:cxnChg chg="del">
          <ac:chgData name="zur bonsen georg" userId="5444515566c7376a" providerId="LiveId" clId="{18CD7E6B-2C8E-405B-A237-843B9FC9D457}" dt="2022-04-17T20:25:44.556" v="1399" actId="478"/>
          <ac:cxnSpMkLst>
            <pc:docMk/>
            <pc:sldMk cId="3851131186" sldId="507"/>
            <ac:cxnSpMk id="154" creationId="{08C86592-80E2-4833-AD2E-01CFE9AF5FBA}"/>
          </ac:cxnSpMkLst>
        </pc:cxnChg>
        <pc:cxnChg chg="del">
          <ac:chgData name="zur bonsen georg" userId="5444515566c7376a" providerId="LiveId" clId="{18CD7E6B-2C8E-405B-A237-843B9FC9D457}" dt="2022-04-17T20:25:44.556" v="1399" actId="478"/>
          <ac:cxnSpMkLst>
            <pc:docMk/>
            <pc:sldMk cId="3851131186" sldId="507"/>
            <ac:cxnSpMk id="156" creationId="{BE5E2061-CEE8-4D61-8B48-B85681B18D44}"/>
          </ac:cxnSpMkLst>
        </pc:cxnChg>
        <pc:cxnChg chg="del">
          <ac:chgData name="zur bonsen georg" userId="5444515566c7376a" providerId="LiveId" clId="{18CD7E6B-2C8E-405B-A237-843B9FC9D457}" dt="2022-04-17T20:25:44.556" v="1399" actId="478"/>
          <ac:cxnSpMkLst>
            <pc:docMk/>
            <pc:sldMk cId="3851131186" sldId="507"/>
            <ac:cxnSpMk id="158" creationId="{F21BC139-4871-4358-A19E-ED39FBA51B8D}"/>
          </ac:cxnSpMkLst>
        </pc:cxnChg>
        <pc:cxnChg chg="del">
          <ac:chgData name="zur bonsen georg" userId="5444515566c7376a" providerId="LiveId" clId="{18CD7E6B-2C8E-405B-A237-843B9FC9D457}" dt="2022-04-17T20:25:44.556" v="1399" actId="478"/>
          <ac:cxnSpMkLst>
            <pc:docMk/>
            <pc:sldMk cId="3851131186" sldId="507"/>
            <ac:cxnSpMk id="160" creationId="{3276C4E3-2922-4070-8BA3-0D7330844793}"/>
          </ac:cxnSpMkLst>
        </pc:cxnChg>
        <pc:cxnChg chg="del">
          <ac:chgData name="zur bonsen georg" userId="5444515566c7376a" providerId="LiveId" clId="{18CD7E6B-2C8E-405B-A237-843B9FC9D457}" dt="2022-04-17T20:25:44.556" v="1399" actId="478"/>
          <ac:cxnSpMkLst>
            <pc:docMk/>
            <pc:sldMk cId="3851131186" sldId="507"/>
            <ac:cxnSpMk id="165" creationId="{BDD84929-517E-446E-A428-F6CDBF6B5344}"/>
          </ac:cxnSpMkLst>
        </pc:cxnChg>
        <pc:cxnChg chg="del">
          <ac:chgData name="zur bonsen georg" userId="5444515566c7376a" providerId="LiveId" clId="{18CD7E6B-2C8E-405B-A237-843B9FC9D457}" dt="2022-04-17T20:25:44.556" v="1399" actId="478"/>
          <ac:cxnSpMkLst>
            <pc:docMk/>
            <pc:sldMk cId="3851131186" sldId="507"/>
            <ac:cxnSpMk id="169" creationId="{2EF7A6D4-5BC6-46C3-922B-155F954DD878}"/>
          </ac:cxnSpMkLst>
        </pc:cxnChg>
        <pc:cxnChg chg="del">
          <ac:chgData name="zur bonsen georg" userId="5444515566c7376a" providerId="LiveId" clId="{18CD7E6B-2C8E-405B-A237-843B9FC9D457}" dt="2022-04-17T20:25:44.556" v="1399" actId="478"/>
          <ac:cxnSpMkLst>
            <pc:docMk/>
            <pc:sldMk cId="3851131186" sldId="507"/>
            <ac:cxnSpMk id="177" creationId="{C577E9DB-630A-43F4-A69C-E9F525B66CA8}"/>
          </ac:cxnSpMkLst>
        </pc:cxnChg>
        <pc:cxnChg chg="del">
          <ac:chgData name="zur bonsen georg" userId="5444515566c7376a" providerId="LiveId" clId="{18CD7E6B-2C8E-405B-A237-843B9FC9D457}" dt="2022-04-17T20:25:44.556" v="1399" actId="478"/>
          <ac:cxnSpMkLst>
            <pc:docMk/>
            <pc:sldMk cId="3851131186" sldId="507"/>
            <ac:cxnSpMk id="185" creationId="{64A962DC-8323-4AC9-95A4-4A33DE234132}"/>
          </ac:cxnSpMkLst>
        </pc:cxnChg>
        <pc:cxnChg chg="del">
          <ac:chgData name="zur bonsen georg" userId="5444515566c7376a" providerId="LiveId" clId="{18CD7E6B-2C8E-405B-A237-843B9FC9D457}" dt="2022-04-17T20:25:44.556" v="1399" actId="478"/>
          <ac:cxnSpMkLst>
            <pc:docMk/>
            <pc:sldMk cId="3851131186" sldId="507"/>
            <ac:cxnSpMk id="191" creationId="{E4EB1583-7CE0-4BDB-925A-E28DB063FA2A}"/>
          </ac:cxnSpMkLst>
        </pc:cxnChg>
        <pc:cxnChg chg="del">
          <ac:chgData name="zur bonsen georg" userId="5444515566c7376a" providerId="LiveId" clId="{18CD7E6B-2C8E-405B-A237-843B9FC9D457}" dt="2022-04-17T20:25:44.556" v="1399" actId="478"/>
          <ac:cxnSpMkLst>
            <pc:docMk/>
            <pc:sldMk cId="3851131186" sldId="507"/>
            <ac:cxnSpMk id="197" creationId="{98F933B7-C865-4BE4-8353-B74A62EA369E}"/>
          </ac:cxnSpMkLst>
        </pc:cxnChg>
        <pc:cxnChg chg="del">
          <ac:chgData name="zur bonsen georg" userId="5444515566c7376a" providerId="LiveId" clId="{18CD7E6B-2C8E-405B-A237-843B9FC9D457}" dt="2022-04-17T20:25:44.556" v="1399" actId="478"/>
          <ac:cxnSpMkLst>
            <pc:docMk/>
            <pc:sldMk cId="3851131186" sldId="507"/>
            <ac:cxnSpMk id="203" creationId="{55D7DB27-69AA-4407-AA7E-D4B7F7E1E04F}"/>
          </ac:cxnSpMkLst>
        </pc:cxnChg>
        <pc:cxnChg chg="del">
          <ac:chgData name="zur bonsen georg" userId="5444515566c7376a" providerId="LiveId" clId="{18CD7E6B-2C8E-405B-A237-843B9FC9D457}" dt="2022-04-17T20:25:44.556" v="1399" actId="478"/>
          <ac:cxnSpMkLst>
            <pc:docMk/>
            <pc:sldMk cId="3851131186" sldId="507"/>
            <ac:cxnSpMk id="207" creationId="{253D21A1-7E4B-49C2-AD35-8F2B46E3E1DF}"/>
          </ac:cxnSpMkLst>
        </pc:cxnChg>
        <pc:cxnChg chg="del">
          <ac:chgData name="zur bonsen georg" userId="5444515566c7376a" providerId="LiveId" clId="{18CD7E6B-2C8E-405B-A237-843B9FC9D457}" dt="2022-04-17T20:25:44.556" v="1399" actId="478"/>
          <ac:cxnSpMkLst>
            <pc:docMk/>
            <pc:sldMk cId="3851131186" sldId="507"/>
            <ac:cxnSpMk id="208" creationId="{83495546-1FA7-4E39-B7E0-51E9A4997CFA}"/>
          </ac:cxnSpMkLst>
        </pc:cxnChg>
      </pc:sldChg>
      <pc:sldChg chg="addSp delSp modSp add mod">
        <pc:chgData name="zur bonsen georg" userId="5444515566c7376a" providerId="LiveId" clId="{18CD7E6B-2C8E-405B-A237-843B9FC9D457}" dt="2022-04-18T14:23:32.306" v="8482" actId="20577"/>
        <pc:sldMkLst>
          <pc:docMk/>
          <pc:sldMk cId="281680118" sldId="508"/>
        </pc:sldMkLst>
        <pc:spChg chg="mod">
          <ac:chgData name="zur bonsen georg" userId="5444515566c7376a" providerId="LiveId" clId="{18CD7E6B-2C8E-405B-A237-843B9FC9D457}" dt="2022-04-18T13:50:38.695" v="8413" actId="255"/>
          <ac:spMkLst>
            <pc:docMk/>
            <pc:sldMk cId="281680118" sldId="508"/>
            <ac:spMk id="2" creationId="{00000000-0000-0000-0000-000000000000}"/>
          </ac:spMkLst>
        </pc:spChg>
        <pc:spChg chg="add mod">
          <ac:chgData name="zur bonsen georg" userId="5444515566c7376a" providerId="LiveId" clId="{18CD7E6B-2C8E-405B-A237-843B9FC9D457}" dt="2022-04-18T13:36:53.158" v="7782" actId="20577"/>
          <ac:spMkLst>
            <pc:docMk/>
            <pc:sldMk cId="281680118" sldId="508"/>
            <ac:spMk id="28" creationId="{6CB6B7CA-64B3-421C-A804-49F0145B62C1}"/>
          </ac:spMkLst>
        </pc:spChg>
        <pc:spChg chg="add del mod">
          <ac:chgData name="zur bonsen georg" userId="5444515566c7376a" providerId="LiveId" clId="{18CD7E6B-2C8E-405B-A237-843B9FC9D457}" dt="2022-04-17T20:38:47.236" v="1768" actId="21"/>
          <ac:spMkLst>
            <pc:docMk/>
            <pc:sldMk cId="281680118" sldId="508"/>
            <ac:spMk id="32" creationId="{8E0B38E1-6B32-4FB8-A710-A5CA9B494595}"/>
          </ac:spMkLst>
        </pc:spChg>
        <pc:spChg chg="add del mod">
          <ac:chgData name="zur bonsen georg" userId="5444515566c7376a" providerId="LiveId" clId="{18CD7E6B-2C8E-405B-A237-843B9FC9D457}" dt="2022-04-18T13:36:19.135" v="7758" actId="478"/>
          <ac:spMkLst>
            <pc:docMk/>
            <pc:sldMk cId="281680118" sldId="508"/>
            <ac:spMk id="33" creationId="{2AB83F20-11C6-4502-B6F8-0E78CCE7D19A}"/>
          </ac:spMkLst>
        </pc:spChg>
        <pc:spChg chg="add mod">
          <ac:chgData name="zur bonsen georg" userId="5444515566c7376a" providerId="LiveId" clId="{18CD7E6B-2C8E-405B-A237-843B9FC9D457}" dt="2022-04-18T13:45:25.641" v="8124" actId="122"/>
          <ac:spMkLst>
            <pc:docMk/>
            <pc:sldMk cId="281680118" sldId="508"/>
            <ac:spMk id="34" creationId="{A6DD2971-12C7-4076-9703-01FF69EBDEFA}"/>
          </ac:spMkLst>
        </pc:spChg>
        <pc:spChg chg="del">
          <ac:chgData name="zur bonsen georg" userId="5444515566c7376a" providerId="LiveId" clId="{18CD7E6B-2C8E-405B-A237-843B9FC9D457}" dt="2022-04-17T20:38:50.698" v="1769" actId="478"/>
          <ac:spMkLst>
            <pc:docMk/>
            <pc:sldMk cId="281680118" sldId="508"/>
            <ac:spMk id="35" creationId="{E6FD1F8A-1E29-4082-BD8E-B68439FB0EC7}"/>
          </ac:spMkLst>
        </pc:spChg>
        <pc:spChg chg="add mod">
          <ac:chgData name="zur bonsen georg" userId="5444515566c7376a" providerId="LiveId" clId="{18CD7E6B-2C8E-405B-A237-843B9FC9D457}" dt="2022-04-18T13:49:39.845" v="8347" actId="6549"/>
          <ac:spMkLst>
            <pc:docMk/>
            <pc:sldMk cId="281680118" sldId="508"/>
            <ac:spMk id="36" creationId="{DFFAA0A9-A507-4D93-BE46-511521A5AD92}"/>
          </ac:spMkLst>
        </pc:spChg>
        <pc:spChg chg="del">
          <ac:chgData name="zur bonsen georg" userId="5444515566c7376a" providerId="LiveId" clId="{18CD7E6B-2C8E-405B-A237-843B9FC9D457}" dt="2022-04-17T20:39:00.063" v="1771" actId="478"/>
          <ac:spMkLst>
            <pc:docMk/>
            <pc:sldMk cId="281680118" sldId="508"/>
            <ac:spMk id="37" creationId="{6E1BCBB0-D175-4259-B26F-C597A81DC306}"/>
          </ac:spMkLst>
        </pc:spChg>
        <pc:spChg chg="add mod">
          <ac:chgData name="zur bonsen georg" userId="5444515566c7376a" providerId="LiveId" clId="{18CD7E6B-2C8E-405B-A237-843B9FC9D457}" dt="2022-04-18T13:45:25.641" v="8124" actId="122"/>
          <ac:spMkLst>
            <pc:docMk/>
            <pc:sldMk cId="281680118" sldId="508"/>
            <ac:spMk id="38" creationId="{E97CC6B8-44DF-4D47-9AD5-4CD8C9A16DE7}"/>
          </ac:spMkLst>
        </pc:spChg>
        <pc:spChg chg="del">
          <ac:chgData name="zur bonsen georg" userId="5444515566c7376a" providerId="LiveId" clId="{18CD7E6B-2C8E-405B-A237-843B9FC9D457}" dt="2022-04-17T20:39:10" v="1775" actId="478"/>
          <ac:spMkLst>
            <pc:docMk/>
            <pc:sldMk cId="281680118" sldId="508"/>
            <ac:spMk id="39" creationId="{3DE79C33-9C3E-4819-BD35-A6EAA83F0B65}"/>
          </ac:spMkLst>
        </pc:spChg>
        <pc:spChg chg="add mod">
          <ac:chgData name="zur bonsen georg" userId="5444515566c7376a" providerId="LiveId" clId="{18CD7E6B-2C8E-405B-A237-843B9FC9D457}" dt="2022-04-18T13:45:25.641" v="8124" actId="122"/>
          <ac:spMkLst>
            <pc:docMk/>
            <pc:sldMk cId="281680118" sldId="508"/>
            <ac:spMk id="40" creationId="{22FBE4BE-F616-46C2-AAC9-63F289AA916F}"/>
          </ac:spMkLst>
        </pc:spChg>
        <pc:spChg chg="add mod">
          <ac:chgData name="zur bonsen georg" userId="5444515566c7376a" providerId="LiveId" clId="{18CD7E6B-2C8E-405B-A237-843B9FC9D457}" dt="2022-04-18T13:45:25.641" v="8124" actId="122"/>
          <ac:spMkLst>
            <pc:docMk/>
            <pc:sldMk cId="281680118" sldId="508"/>
            <ac:spMk id="41" creationId="{506031A6-A80A-4A99-9B01-FE3C2619E675}"/>
          </ac:spMkLst>
        </pc:spChg>
        <pc:spChg chg="add mod">
          <ac:chgData name="zur bonsen georg" userId="5444515566c7376a" providerId="LiveId" clId="{18CD7E6B-2C8E-405B-A237-843B9FC9D457}" dt="2022-04-18T13:48:37.624" v="8290" actId="20577"/>
          <ac:spMkLst>
            <pc:docMk/>
            <pc:sldMk cId="281680118" sldId="508"/>
            <ac:spMk id="42" creationId="{21071A75-8F58-41AE-A1CD-672864BFBE85}"/>
          </ac:spMkLst>
        </pc:spChg>
        <pc:spChg chg="del mod">
          <ac:chgData name="zur bonsen georg" userId="5444515566c7376a" providerId="LiveId" clId="{18CD7E6B-2C8E-405B-A237-843B9FC9D457}" dt="2022-04-17T20:45:21.367" v="2296" actId="478"/>
          <ac:spMkLst>
            <pc:docMk/>
            <pc:sldMk cId="281680118" sldId="508"/>
            <ac:spMk id="43" creationId="{9746CE75-FD5E-40C8-929C-8E593A67016C}"/>
          </ac:spMkLst>
        </pc:spChg>
        <pc:spChg chg="add mod">
          <ac:chgData name="zur bonsen georg" userId="5444515566c7376a" providerId="LiveId" clId="{18CD7E6B-2C8E-405B-A237-843B9FC9D457}" dt="2022-04-18T13:44:21.744" v="8104" actId="1035"/>
          <ac:spMkLst>
            <pc:docMk/>
            <pc:sldMk cId="281680118" sldId="508"/>
            <ac:spMk id="44" creationId="{DF460A4C-B249-4F0E-93EF-BBCCCD8A0784}"/>
          </ac:spMkLst>
        </pc:spChg>
        <pc:spChg chg="del mod">
          <ac:chgData name="zur bonsen georg" userId="5444515566c7376a" providerId="LiveId" clId="{18CD7E6B-2C8E-405B-A237-843B9FC9D457}" dt="2022-04-17T20:45:21.367" v="2296" actId="478"/>
          <ac:spMkLst>
            <pc:docMk/>
            <pc:sldMk cId="281680118" sldId="508"/>
            <ac:spMk id="45" creationId="{1001E8B8-A0F6-445F-B5B1-9C80B6D9597F}"/>
          </ac:spMkLst>
        </pc:spChg>
        <pc:spChg chg="add del mod">
          <ac:chgData name="zur bonsen georg" userId="5444515566c7376a" providerId="LiveId" clId="{18CD7E6B-2C8E-405B-A237-843B9FC9D457}" dt="2022-04-18T13:37:19.227" v="7790" actId="478"/>
          <ac:spMkLst>
            <pc:docMk/>
            <pc:sldMk cId="281680118" sldId="508"/>
            <ac:spMk id="45" creationId="{28DC6F98-B043-4A01-A667-9E6DE4CD855A}"/>
          </ac:spMkLst>
        </pc:spChg>
        <pc:spChg chg="del mod">
          <ac:chgData name="zur bonsen georg" userId="5444515566c7376a" providerId="LiveId" clId="{18CD7E6B-2C8E-405B-A237-843B9FC9D457}" dt="2022-04-17T20:45:21.367" v="2296" actId="478"/>
          <ac:spMkLst>
            <pc:docMk/>
            <pc:sldMk cId="281680118" sldId="508"/>
            <ac:spMk id="46" creationId="{092E4CD3-7EEF-4BE3-9288-2551EFE145C9}"/>
          </ac:spMkLst>
        </pc:spChg>
        <pc:spChg chg="add del mod">
          <ac:chgData name="zur bonsen georg" userId="5444515566c7376a" providerId="LiveId" clId="{18CD7E6B-2C8E-405B-A237-843B9FC9D457}" dt="2022-04-18T13:42:05.693" v="8033" actId="478"/>
          <ac:spMkLst>
            <pc:docMk/>
            <pc:sldMk cId="281680118" sldId="508"/>
            <ac:spMk id="46" creationId="{F5608DB0-664E-4407-A293-E904B8A4684F}"/>
          </ac:spMkLst>
        </pc:spChg>
        <pc:spChg chg="add mod">
          <ac:chgData name="zur bonsen georg" userId="5444515566c7376a" providerId="LiveId" clId="{18CD7E6B-2C8E-405B-A237-843B9FC9D457}" dt="2022-04-18T13:49:52.140" v="8400" actId="20577"/>
          <ac:spMkLst>
            <pc:docMk/>
            <pc:sldMk cId="281680118" sldId="508"/>
            <ac:spMk id="47" creationId="{91511AC0-5CEE-499C-9D86-EB22E19EB4DE}"/>
          </ac:spMkLst>
        </pc:spChg>
        <pc:spChg chg="del mod">
          <ac:chgData name="zur bonsen georg" userId="5444515566c7376a" providerId="LiveId" clId="{18CD7E6B-2C8E-405B-A237-843B9FC9D457}" dt="2022-04-17T20:45:21.367" v="2296" actId="478"/>
          <ac:spMkLst>
            <pc:docMk/>
            <pc:sldMk cId="281680118" sldId="508"/>
            <ac:spMk id="47" creationId="{B0B8E2A1-27CC-4395-94ED-4E17733B66E8}"/>
          </ac:spMkLst>
        </pc:spChg>
        <pc:spChg chg="add mod">
          <ac:chgData name="zur bonsen georg" userId="5444515566c7376a" providerId="LiveId" clId="{18CD7E6B-2C8E-405B-A237-843B9FC9D457}" dt="2022-04-18T13:44:27.097" v="8106" actId="1035"/>
          <ac:spMkLst>
            <pc:docMk/>
            <pc:sldMk cId="281680118" sldId="508"/>
            <ac:spMk id="48" creationId="{377EB056-F8DD-4731-800B-117D8EC57019}"/>
          </ac:spMkLst>
        </pc:spChg>
        <pc:spChg chg="add mod">
          <ac:chgData name="zur bonsen georg" userId="5444515566c7376a" providerId="LiveId" clId="{18CD7E6B-2C8E-405B-A237-843B9FC9D457}" dt="2022-04-18T13:45:07.748" v="8123" actId="20577"/>
          <ac:spMkLst>
            <pc:docMk/>
            <pc:sldMk cId="281680118" sldId="508"/>
            <ac:spMk id="49" creationId="{4F8DF516-9F57-4601-9EBA-31382BB51905}"/>
          </ac:spMkLst>
        </pc:spChg>
        <pc:spChg chg="add mod">
          <ac:chgData name="zur bonsen georg" userId="5444515566c7376a" providerId="LiveId" clId="{18CD7E6B-2C8E-405B-A237-843B9FC9D457}" dt="2022-04-18T13:45:25.641" v="8124" actId="122"/>
          <ac:spMkLst>
            <pc:docMk/>
            <pc:sldMk cId="281680118" sldId="508"/>
            <ac:spMk id="50" creationId="{B24D4BB0-2B0E-4020-BE20-40352A0CE595}"/>
          </ac:spMkLst>
        </pc:spChg>
        <pc:spChg chg="add mod">
          <ac:chgData name="zur bonsen georg" userId="5444515566c7376a" providerId="LiveId" clId="{18CD7E6B-2C8E-405B-A237-843B9FC9D457}" dt="2022-04-18T13:46:05.486" v="8174" actId="20577"/>
          <ac:spMkLst>
            <pc:docMk/>
            <pc:sldMk cId="281680118" sldId="508"/>
            <ac:spMk id="51" creationId="{2380098F-B36B-4A3F-AAD5-FD4205B62090}"/>
          </ac:spMkLst>
        </pc:spChg>
        <pc:spChg chg="add mod">
          <ac:chgData name="zur bonsen georg" userId="5444515566c7376a" providerId="LiveId" clId="{18CD7E6B-2C8E-405B-A237-843B9FC9D457}" dt="2022-04-18T13:39:07.028" v="7916" actId="20577"/>
          <ac:spMkLst>
            <pc:docMk/>
            <pc:sldMk cId="281680118" sldId="508"/>
            <ac:spMk id="55" creationId="{BCC1096A-708E-49A0-BFA7-53DD19D2F173}"/>
          </ac:spMkLst>
        </pc:spChg>
        <pc:spChg chg="add mod">
          <ac:chgData name="zur bonsen georg" userId="5444515566c7376a" providerId="LiveId" clId="{18CD7E6B-2C8E-405B-A237-843B9FC9D457}" dt="2022-04-18T13:39:58.180" v="7953" actId="14100"/>
          <ac:spMkLst>
            <pc:docMk/>
            <pc:sldMk cId="281680118" sldId="508"/>
            <ac:spMk id="56" creationId="{D16472FF-92A5-42AF-AF10-8071C751CE69}"/>
          </ac:spMkLst>
        </pc:spChg>
        <pc:spChg chg="add mod">
          <ac:chgData name="zur bonsen georg" userId="5444515566c7376a" providerId="LiveId" clId="{18CD7E6B-2C8E-405B-A237-843B9FC9D457}" dt="2022-04-18T13:56:11.571" v="8414" actId="6549"/>
          <ac:spMkLst>
            <pc:docMk/>
            <pc:sldMk cId="281680118" sldId="508"/>
            <ac:spMk id="57" creationId="{DF90F11F-3657-4749-8D2B-091CBD9256BA}"/>
          </ac:spMkLst>
        </pc:spChg>
        <pc:spChg chg="add mod">
          <ac:chgData name="zur bonsen georg" userId="5444515566c7376a" providerId="LiveId" clId="{18CD7E6B-2C8E-405B-A237-843B9FC9D457}" dt="2022-04-18T13:46:24.271" v="8209" actId="207"/>
          <ac:spMkLst>
            <pc:docMk/>
            <pc:sldMk cId="281680118" sldId="508"/>
            <ac:spMk id="58" creationId="{BEFE14AC-3C68-4A2B-BC8B-87812F574905}"/>
          </ac:spMkLst>
        </pc:spChg>
        <pc:spChg chg="add mod">
          <ac:chgData name="zur bonsen georg" userId="5444515566c7376a" providerId="LiveId" clId="{18CD7E6B-2C8E-405B-A237-843B9FC9D457}" dt="2022-04-18T13:47:59.958" v="8287" actId="6549"/>
          <ac:spMkLst>
            <pc:docMk/>
            <pc:sldMk cId="281680118" sldId="508"/>
            <ac:spMk id="59" creationId="{F440942B-C3C3-43D1-BA40-CAC1784C1598}"/>
          </ac:spMkLst>
        </pc:spChg>
        <pc:spChg chg="add del mod">
          <ac:chgData name="zur bonsen georg" userId="5444515566c7376a" providerId="LiveId" clId="{18CD7E6B-2C8E-405B-A237-843B9FC9D457}" dt="2022-04-18T13:45:25.641" v="8124" actId="122"/>
          <ac:spMkLst>
            <pc:docMk/>
            <pc:sldMk cId="281680118" sldId="508"/>
            <ac:spMk id="60" creationId="{088ADC96-E6E1-4667-A590-625FDDABF764}"/>
          </ac:spMkLst>
        </pc:spChg>
        <pc:spChg chg="add mod">
          <ac:chgData name="zur bonsen georg" userId="5444515566c7376a" providerId="LiveId" clId="{18CD7E6B-2C8E-405B-A237-843B9FC9D457}" dt="2022-04-18T14:23:32.306" v="8482" actId="20577"/>
          <ac:spMkLst>
            <pc:docMk/>
            <pc:sldMk cId="281680118" sldId="508"/>
            <ac:spMk id="61" creationId="{40050787-26AA-4C70-942D-4112605B7352}"/>
          </ac:spMkLst>
        </pc:spChg>
        <pc:spChg chg="del">
          <ac:chgData name="zur bonsen georg" userId="5444515566c7376a" providerId="LiveId" clId="{18CD7E6B-2C8E-405B-A237-843B9FC9D457}" dt="2022-04-17T20:40:04.810" v="1803" actId="478"/>
          <ac:spMkLst>
            <pc:docMk/>
            <pc:sldMk cId="281680118" sldId="508"/>
            <ac:spMk id="66" creationId="{3ABCAEDF-CBB1-465E-8102-CBAACAAA9356}"/>
          </ac:spMkLst>
        </pc:spChg>
        <pc:spChg chg="mod">
          <ac:chgData name="zur bonsen georg" userId="5444515566c7376a" providerId="LiveId" clId="{18CD7E6B-2C8E-405B-A237-843B9FC9D457}" dt="2022-04-18T13:42:01.881" v="8032" actId="14100"/>
          <ac:spMkLst>
            <pc:docMk/>
            <pc:sldMk cId="281680118" sldId="508"/>
            <ac:spMk id="70" creationId="{10C88A69-70FD-476B-BC65-029D09FFCE3F}"/>
          </ac:spMkLst>
        </pc:spChg>
        <pc:spChg chg="del mod">
          <ac:chgData name="zur bonsen georg" userId="5444515566c7376a" providerId="LiveId" clId="{18CD7E6B-2C8E-405B-A237-843B9FC9D457}" dt="2022-04-17T20:45:21.367" v="2296" actId="478"/>
          <ac:spMkLst>
            <pc:docMk/>
            <pc:sldMk cId="281680118" sldId="508"/>
            <ac:spMk id="99" creationId="{927F121B-F8B4-4D44-A46D-641D9B714E05}"/>
          </ac:spMkLst>
        </pc:spChg>
        <pc:spChg chg="del mod">
          <ac:chgData name="zur bonsen georg" userId="5444515566c7376a" providerId="LiveId" clId="{18CD7E6B-2C8E-405B-A237-843B9FC9D457}" dt="2022-04-17T20:45:21.367" v="2296" actId="478"/>
          <ac:spMkLst>
            <pc:docMk/>
            <pc:sldMk cId="281680118" sldId="508"/>
            <ac:spMk id="105" creationId="{4DF3F716-9AA0-4699-8C65-2A4CB9997650}"/>
          </ac:spMkLst>
        </pc:spChg>
        <pc:spChg chg="del">
          <ac:chgData name="zur bonsen georg" userId="5444515566c7376a" providerId="LiveId" clId="{18CD7E6B-2C8E-405B-A237-843B9FC9D457}" dt="2022-04-17T20:39:00.063" v="1771" actId="478"/>
          <ac:spMkLst>
            <pc:docMk/>
            <pc:sldMk cId="281680118" sldId="508"/>
            <ac:spMk id="113" creationId="{69E15E5F-9525-4135-821B-6CDE0D1CB24D}"/>
          </ac:spMkLst>
        </pc:spChg>
        <pc:spChg chg="del">
          <ac:chgData name="zur bonsen georg" userId="5444515566c7376a" providerId="LiveId" clId="{18CD7E6B-2C8E-405B-A237-843B9FC9D457}" dt="2022-04-17T20:38:50.698" v="1769" actId="478"/>
          <ac:spMkLst>
            <pc:docMk/>
            <pc:sldMk cId="281680118" sldId="508"/>
            <ac:spMk id="118" creationId="{3026E471-369F-4FC4-A626-9F4F4AF835F5}"/>
          </ac:spMkLst>
        </pc:spChg>
        <pc:spChg chg="del mod">
          <ac:chgData name="zur bonsen georg" userId="5444515566c7376a" providerId="LiveId" clId="{18CD7E6B-2C8E-405B-A237-843B9FC9D457}" dt="2022-04-17T20:45:21.367" v="2296" actId="478"/>
          <ac:spMkLst>
            <pc:docMk/>
            <pc:sldMk cId="281680118" sldId="508"/>
            <ac:spMk id="139" creationId="{55FB7688-9E31-426C-9495-04A457FBABD7}"/>
          </ac:spMkLst>
        </pc:spChg>
        <pc:spChg chg="del mod">
          <ac:chgData name="zur bonsen georg" userId="5444515566c7376a" providerId="LiveId" clId="{18CD7E6B-2C8E-405B-A237-843B9FC9D457}" dt="2022-04-17T20:45:21.367" v="2296" actId="478"/>
          <ac:spMkLst>
            <pc:docMk/>
            <pc:sldMk cId="281680118" sldId="508"/>
            <ac:spMk id="140" creationId="{8AD8071C-3366-4EDD-9325-068A41938395}"/>
          </ac:spMkLst>
        </pc:spChg>
        <pc:spChg chg="del mod">
          <ac:chgData name="zur bonsen georg" userId="5444515566c7376a" providerId="LiveId" clId="{18CD7E6B-2C8E-405B-A237-843B9FC9D457}" dt="2022-04-17T20:45:21.367" v="2296" actId="478"/>
          <ac:spMkLst>
            <pc:docMk/>
            <pc:sldMk cId="281680118" sldId="508"/>
            <ac:spMk id="141" creationId="{C402E5DE-9A39-4EB4-9C01-38DFAE65DEB3}"/>
          </ac:spMkLst>
        </pc:spChg>
        <pc:spChg chg="del mod">
          <ac:chgData name="zur bonsen georg" userId="5444515566c7376a" providerId="LiveId" clId="{18CD7E6B-2C8E-405B-A237-843B9FC9D457}" dt="2022-04-17T20:45:21.367" v="2296" actId="478"/>
          <ac:spMkLst>
            <pc:docMk/>
            <pc:sldMk cId="281680118" sldId="508"/>
            <ac:spMk id="142" creationId="{EE0E4775-F85F-4A31-B1DF-397622C34EE8}"/>
          </ac:spMkLst>
        </pc:spChg>
        <pc:spChg chg="del">
          <ac:chgData name="zur bonsen georg" userId="5444515566c7376a" providerId="LiveId" clId="{18CD7E6B-2C8E-405B-A237-843B9FC9D457}" dt="2022-04-17T20:45:21.367" v="2296" actId="478"/>
          <ac:spMkLst>
            <pc:docMk/>
            <pc:sldMk cId="281680118" sldId="508"/>
            <ac:spMk id="179" creationId="{38AF722D-27F3-4D5F-B4E0-D6786BD9D459}"/>
          </ac:spMkLst>
        </pc:spChg>
        <pc:cxnChg chg="add mod">
          <ac:chgData name="zur bonsen georg" userId="5444515566c7376a" providerId="LiveId" clId="{18CD7E6B-2C8E-405B-A237-843B9FC9D457}" dt="2022-04-18T13:36:24.429" v="7759"/>
          <ac:cxnSpMkLst>
            <pc:docMk/>
            <pc:sldMk cId="281680118" sldId="508"/>
            <ac:cxnSpMk id="29" creationId="{06FCFC51-5879-4F6B-94C7-B31079943250}"/>
          </ac:cxnSpMkLst>
        </pc:cxnChg>
        <pc:cxnChg chg="add mod">
          <ac:chgData name="zur bonsen georg" userId="5444515566c7376a" providerId="LiveId" clId="{18CD7E6B-2C8E-405B-A237-843B9FC9D457}" dt="2022-04-18T13:44:35.703" v="8108" actId="14100"/>
          <ac:cxnSpMkLst>
            <pc:docMk/>
            <pc:sldMk cId="281680118" sldId="508"/>
            <ac:cxnSpMk id="30" creationId="{82FC837B-7C24-4CE2-95E3-4D3B87F07330}"/>
          </ac:cxnSpMkLst>
        </pc:cxnChg>
        <pc:cxnChg chg="add del mod">
          <ac:chgData name="zur bonsen georg" userId="5444515566c7376a" providerId="LiveId" clId="{18CD7E6B-2C8E-405B-A237-843B9FC9D457}" dt="2022-04-18T13:36:28.427" v="7761" actId="478"/>
          <ac:cxnSpMkLst>
            <pc:docMk/>
            <pc:sldMk cId="281680118" sldId="508"/>
            <ac:cxnSpMk id="31" creationId="{D93642BB-93C7-4963-B6BB-B0285C294AF1}"/>
          </ac:cxnSpMkLst>
        </pc:cxnChg>
        <pc:cxnChg chg="add del mod">
          <ac:chgData name="zur bonsen georg" userId="5444515566c7376a" providerId="LiveId" clId="{18CD7E6B-2C8E-405B-A237-843B9FC9D457}" dt="2022-04-18T13:36:28.427" v="7761" actId="478"/>
          <ac:cxnSpMkLst>
            <pc:docMk/>
            <pc:sldMk cId="281680118" sldId="508"/>
            <ac:cxnSpMk id="32" creationId="{FE474EF4-257C-4118-AE15-2F1EF6246285}"/>
          </ac:cxnSpMkLst>
        </pc:cxnChg>
        <pc:cxnChg chg="add mod">
          <ac:chgData name="zur bonsen georg" userId="5444515566c7376a" providerId="LiveId" clId="{18CD7E6B-2C8E-405B-A237-843B9FC9D457}" dt="2022-04-18T13:44:17.527" v="8103" actId="1035"/>
          <ac:cxnSpMkLst>
            <pc:docMk/>
            <pc:sldMk cId="281680118" sldId="508"/>
            <ac:cxnSpMk id="35" creationId="{2B89A424-A068-464E-85F2-364440806F24}"/>
          </ac:cxnSpMkLst>
        </pc:cxnChg>
        <pc:cxnChg chg="add mod">
          <ac:chgData name="zur bonsen georg" userId="5444515566c7376a" providerId="LiveId" clId="{18CD7E6B-2C8E-405B-A237-843B9FC9D457}" dt="2022-04-18T13:44:21.744" v="8104" actId="1035"/>
          <ac:cxnSpMkLst>
            <pc:docMk/>
            <pc:sldMk cId="281680118" sldId="508"/>
            <ac:cxnSpMk id="37" creationId="{D721E8CD-BA13-4A1B-A1A6-A0E736B21248}"/>
          </ac:cxnSpMkLst>
        </pc:cxnChg>
        <pc:cxnChg chg="add mod">
          <ac:chgData name="zur bonsen georg" userId="5444515566c7376a" providerId="LiveId" clId="{18CD7E6B-2C8E-405B-A237-843B9FC9D457}" dt="2022-04-18T13:44:27.097" v="8106" actId="1035"/>
          <ac:cxnSpMkLst>
            <pc:docMk/>
            <pc:sldMk cId="281680118" sldId="508"/>
            <ac:cxnSpMk id="39" creationId="{3E1740EB-B10D-4B81-90F8-06D1653C9FC1}"/>
          </ac:cxnSpMkLst>
        </pc:cxnChg>
        <pc:cxnChg chg="add mod">
          <ac:chgData name="zur bonsen georg" userId="5444515566c7376a" providerId="LiveId" clId="{18CD7E6B-2C8E-405B-A237-843B9FC9D457}" dt="2022-04-18T13:44:30.857" v="8107" actId="1035"/>
          <ac:cxnSpMkLst>
            <pc:docMk/>
            <pc:sldMk cId="281680118" sldId="508"/>
            <ac:cxnSpMk id="43" creationId="{E5C7423F-D423-42C4-8355-9CEBD68B537F}"/>
          </ac:cxnSpMkLst>
        </pc:cxnChg>
        <pc:cxnChg chg="add del mod">
          <ac:chgData name="zur bonsen georg" userId="5444515566c7376a" providerId="LiveId" clId="{18CD7E6B-2C8E-405B-A237-843B9FC9D457}" dt="2022-04-18T13:36:48.962" v="7781" actId="478"/>
          <ac:cxnSpMkLst>
            <pc:docMk/>
            <pc:sldMk cId="281680118" sldId="508"/>
            <ac:cxnSpMk id="52" creationId="{30F62E2C-85B3-4471-A3A2-15DAD474FF42}"/>
          </ac:cxnSpMkLst>
        </pc:cxnChg>
        <pc:cxnChg chg="add del mod">
          <ac:chgData name="zur bonsen georg" userId="5444515566c7376a" providerId="LiveId" clId="{18CD7E6B-2C8E-405B-A237-843B9FC9D457}" dt="2022-04-18T13:36:48.962" v="7781" actId="478"/>
          <ac:cxnSpMkLst>
            <pc:docMk/>
            <pc:sldMk cId="281680118" sldId="508"/>
            <ac:cxnSpMk id="53" creationId="{A703CC46-5E55-412D-A652-E3D5A72D1B6E}"/>
          </ac:cxnSpMkLst>
        </pc:cxnChg>
        <pc:cxnChg chg="add del mod">
          <ac:chgData name="zur bonsen georg" userId="5444515566c7376a" providerId="LiveId" clId="{18CD7E6B-2C8E-405B-A237-843B9FC9D457}" dt="2022-04-18T13:36:48.962" v="7781" actId="478"/>
          <ac:cxnSpMkLst>
            <pc:docMk/>
            <pc:sldMk cId="281680118" sldId="508"/>
            <ac:cxnSpMk id="54" creationId="{EC4AD096-2AA5-4EED-8070-3ED0DC2FB5BA}"/>
          </ac:cxnSpMkLst>
        </pc:cxnChg>
        <pc:cxnChg chg="del mod">
          <ac:chgData name="zur bonsen georg" userId="5444515566c7376a" providerId="LiveId" clId="{18CD7E6B-2C8E-405B-A237-843B9FC9D457}" dt="2022-04-18T13:36:48.962" v="7781" actId="478"/>
          <ac:cxnSpMkLst>
            <pc:docMk/>
            <pc:sldMk cId="281680118" sldId="508"/>
            <ac:cxnSpMk id="63" creationId="{EFBFE234-A777-42B3-B97B-9C4B44000D41}"/>
          </ac:cxnSpMkLst>
        </pc:cxnChg>
        <pc:cxnChg chg="del mod">
          <ac:chgData name="zur bonsen georg" userId="5444515566c7376a" providerId="LiveId" clId="{18CD7E6B-2C8E-405B-A237-843B9FC9D457}" dt="2022-04-17T20:39:12.305" v="1776" actId="478"/>
          <ac:cxnSpMkLst>
            <pc:docMk/>
            <pc:sldMk cId="281680118" sldId="508"/>
            <ac:cxnSpMk id="67" creationId="{20A55B09-D86E-4FB5-8BE5-BE84F5EAC408}"/>
          </ac:cxnSpMkLst>
        </pc:cxnChg>
        <pc:cxnChg chg="del">
          <ac:chgData name="zur bonsen georg" userId="5444515566c7376a" providerId="LiveId" clId="{18CD7E6B-2C8E-405B-A237-843B9FC9D457}" dt="2022-04-18T13:36:48.962" v="7781" actId="478"/>
          <ac:cxnSpMkLst>
            <pc:docMk/>
            <pc:sldMk cId="281680118" sldId="508"/>
            <ac:cxnSpMk id="114" creationId="{DC2FC9AC-EC14-43A0-AB3C-158A9F3C0158}"/>
          </ac:cxnSpMkLst>
        </pc:cxnChg>
        <pc:cxnChg chg="del mod">
          <ac:chgData name="zur bonsen georg" userId="5444515566c7376a" providerId="LiveId" clId="{18CD7E6B-2C8E-405B-A237-843B9FC9D457}" dt="2022-04-18T13:36:48.962" v="7781" actId="478"/>
          <ac:cxnSpMkLst>
            <pc:docMk/>
            <pc:sldMk cId="281680118" sldId="508"/>
            <ac:cxnSpMk id="124" creationId="{81E93DEE-B453-4DF5-94E8-73BF4C0D46DA}"/>
          </ac:cxnSpMkLst>
        </pc:cxnChg>
        <pc:cxnChg chg="del mod">
          <ac:chgData name="zur bonsen georg" userId="5444515566c7376a" providerId="LiveId" clId="{18CD7E6B-2C8E-405B-A237-843B9FC9D457}" dt="2022-04-17T20:45:27.006" v="2297" actId="478"/>
          <ac:cxnSpMkLst>
            <pc:docMk/>
            <pc:sldMk cId="281680118" sldId="508"/>
            <ac:cxnSpMk id="125" creationId="{BC697433-001F-4FF9-8D1D-480698A09F57}"/>
          </ac:cxnSpMkLst>
        </pc:cxnChg>
        <pc:cxnChg chg="del mod">
          <ac:chgData name="zur bonsen georg" userId="5444515566c7376a" providerId="LiveId" clId="{18CD7E6B-2C8E-405B-A237-843B9FC9D457}" dt="2022-04-17T20:45:21.367" v="2296" actId="478"/>
          <ac:cxnSpMkLst>
            <pc:docMk/>
            <pc:sldMk cId="281680118" sldId="508"/>
            <ac:cxnSpMk id="127" creationId="{0DCEEC31-45D2-4933-BB48-F678476B1889}"/>
          </ac:cxnSpMkLst>
        </pc:cxnChg>
        <pc:cxnChg chg="del mod">
          <ac:chgData name="zur bonsen georg" userId="5444515566c7376a" providerId="LiveId" clId="{18CD7E6B-2C8E-405B-A237-843B9FC9D457}" dt="2022-04-17T20:45:21.367" v="2296" actId="478"/>
          <ac:cxnSpMkLst>
            <pc:docMk/>
            <pc:sldMk cId="281680118" sldId="508"/>
            <ac:cxnSpMk id="129" creationId="{C75B3B39-4AEA-48D6-81E0-B1358B326DB5}"/>
          </ac:cxnSpMkLst>
        </pc:cxnChg>
        <pc:cxnChg chg="del mod">
          <ac:chgData name="zur bonsen georg" userId="5444515566c7376a" providerId="LiveId" clId="{18CD7E6B-2C8E-405B-A237-843B9FC9D457}" dt="2022-04-17T20:45:21.367" v="2296" actId="478"/>
          <ac:cxnSpMkLst>
            <pc:docMk/>
            <pc:sldMk cId="281680118" sldId="508"/>
            <ac:cxnSpMk id="132" creationId="{4F4A6C18-B7F9-4A7C-AA45-B0C3B134EAEA}"/>
          </ac:cxnSpMkLst>
        </pc:cxnChg>
        <pc:cxnChg chg="del mod">
          <ac:chgData name="zur bonsen georg" userId="5444515566c7376a" providerId="LiveId" clId="{18CD7E6B-2C8E-405B-A237-843B9FC9D457}" dt="2022-04-17T20:45:21.367" v="2296" actId="478"/>
          <ac:cxnSpMkLst>
            <pc:docMk/>
            <pc:sldMk cId="281680118" sldId="508"/>
            <ac:cxnSpMk id="133" creationId="{6FDBC69C-7FF3-499E-9AC2-8DE923A74EAE}"/>
          </ac:cxnSpMkLst>
        </pc:cxnChg>
        <pc:cxnChg chg="del mod">
          <ac:chgData name="zur bonsen georg" userId="5444515566c7376a" providerId="LiveId" clId="{18CD7E6B-2C8E-405B-A237-843B9FC9D457}" dt="2022-04-17T20:45:21.367" v="2296" actId="478"/>
          <ac:cxnSpMkLst>
            <pc:docMk/>
            <pc:sldMk cId="281680118" sldId="508"/>
            <ac:cxnSpMk id="134" creationId="{630AC9E0-0A12-4266-939B-B4B096667E0F}"/>
          </ac:cxnSpMkLst>
        </pc:cxnChg>
        <pc:cxnChg chg="del mod">
          <ac:chgData name="zur bonsen georg" userId="5444515566c7376a" providerId="LiveId" clId="{18CD7E6B-2C8E-405B-A237-843B9FC9D457}" dt="2022-04-17T20:45:21.367" v="2296" actId="478"/>
          <ac:cxnSpMkLst>
            <pc:docMk/>
            <pc:sldMk cId="281680118" sldId="508"/>
            <ac:cxnSpMk id="135" creationId="{D7A90912-280E-4192-849B-F6F1E70B37CF}"/>
          </ac:cxnSpMkLst>
        </pc:cxnChg>
      </pc:sldChg>
      <pc:sldChg chg="addSp delSp modSp add del mod">
        <pc:chgData name="zur bonsen georg" userId="5444515566c7376a" providerId="LiveId" clId="{18CD7E6B-2C8E-405B-A237-843B9FC9D457}" dt="2022-04-18T13:07:10.732" v="7113" actId="47"/>
        <pc:sldMkLst>
          <pc:docMk/>
          <pc:sldMk cId="552021000" sldId="509"/>
        </pc:sldMkLst>
        <pc:spChg chg="add del mod">
          <ac:chgData name="zur bonsen georg" userId="5444515566c7376a" providerId="LiveId" clId="{18CD7E6B-2C8E-405B-A237-843B9FC9D457}" dt="2022-04-18T07:09:31.343" v="6217" actId="478"/>
          <ac:spMkLst>
            <pc:docMk/>
            <pc:sldMk cId="552021000" sldId="509"/>
            <ac:spMk id="3" creationId="{86FE369B-291F-45A8-89B4-64E68138EEA5}"/>
          </ac:spMkLst>
        </pc:spChg>
        <pc:spChg chg="add del mod">
          <ac:chgData name="zur bonsen georg" userId="5444515566c7376a" providerId="LiveId" clId="{18CD7E6B-2C8E-405B-A237-843B9FC9D457}" dt="2022-04-18T07:30:44.927" v="6712" actId="478"/>
          <ac:spMkLst>
            <pc:docMk/>
            <pc:sldMk cId="552021000" sldId="509"/>
            <ac:spMk id="4" creationId="{1046A89F-E586-4B65-833B-B056A52959D5}"/>
          </ac:spMkLst>
        </pc:spChg>
        <pc:spChg chg="del">
          <ac:chgData name="zur bonsen georg" userId="5444515566c7376a" providerId="LiveId" clId="{18CD7E6B-2C8E-405B-A237-843B9FC9D457}" dt="2022-04-18T06:07:38.085" v="3406" actId="478"/>
          <ac:spMkLst>
            <pc:docMk/>
            <pc:sldMk cId="552021000" sldId="509"/>
            <ac:spMk id="35" creationId="{E6FD1F8A-1E29-4082-BD8E-B68439FB0EC7}"/>
          </ac:spMkLst>
        </pc:spChg>
        <pc:spChg chg="del">
          <ac:chgData name="zur bonsen georg" userId="5444515566c7376a" providerId="LiveId" clId="{18CD7E6B-2C8E-405B-A237-843B9FC9D457}" dt="2022-04-18T06:07:38.085" v="3406" actId="478"/>
          <ac:spMkLst>
            <pc:docMk/>
            <pc:sldMk cId="552021000" sldId="509"/>
            <ac:spMk id="37" creationId="{6E1BCBB0-D175-4259-B26F-C597A81DC306}"/>
          </ac:spMkLst>
        </pc:spChg>
        <pc:spChg chg="del">
          <ac:chgData name="zur bonsen georg" userId="5444515566c7376a" providerId="LiveId" clId="{18CD7E6B-2C8E-405B-A237-843B9FC9D457}" dt="2022-04-18T06:07:38.085" v="3406" actId="478"/>
          <ac:spMkLst>
            <pc:docMk/>
            <pc:sldMk cId="552021000" sldId="509"/>
            <ac:spMk id="39" creationId="{3DE79C33-9C3E-4819-BD35-A6EAA83F0B65}"/>
          </ac:spMkLst>
        </pc:spChg>
        <pc:spChg chg="del">
          <ac:chgData name="zur bonsen georg" userId="5444515566c7376a" providerId="LiveId" clId="{18CD7E6B-2C8E-405B-A237-843B9FC9D457}" dt="2022-04-18T06:07:38.085" v="3406" actId="478"/>
          <ac:spMkLst>
            <pc:docMk/>
            <pc:sldMk cId="552021000" sldId="509"/>
            <ac:spMk id="43" creationId="{9746CE75-FD5E-40C8-929C-8E593A67016C}"/>
          </ac:spMkLst>
        </pc:spChg>
        <pc:spChg chg="del">
          <ac:chgData name="zur bonsen georg" userId="5444515566c7376a" providerId="LiveId" clId="{18CD7E6B-2C8E-405B-A237-843B9FC9D457}" dt="2022-04-18T06:07:38.085" v="3406" actId="478"/>
          <ac:spMkLst>
            <pc:docMk/>
            <pc:sldMk cId="552021000" sldId="509"/>
            <ac:spMk id="45" creationId="{1001E8B8-A0F6-445F-B5B1-9C80B6D9597F}"/>
          </ac:spMkLst>
        </pc:spChg>
        <pc:spChg chg="del">
          <ac:chgData name="zur bonsen georg" userId="5444515566c7376a" providerId="LiveId" clId="{18CD7E6B-2C8E-405B-A237-843B9FC9D457}" dt="2022-04-18T06:07:38.085" v="3406" actId="478"/>
          <ac:spMkLst>
            <pc:docMk/>
            <pc:sldMk cId="552021000" sldId="509"/>
            <ac:spMk id="46" creationId="{092E4CD3-7EEF-4BE3-9288-2551EFE145C9}"/>
          </ac:spMkLst>
        </pc:spChg>
        <pc:spChg chg="del">
          <ac:chgData name="zur bonsen georg" userId="5444515566c7376a" providerId="LiveId" clId="{18CD7E6B-2C8E-405B-A237-843B9FC9D457}" dt="2022-04-18T06:07:38.085" v="3406" actId="478"/>
          <ac:spMkLst>
            <pc:docMk/>
            <pc:sldMk cId="552021000" sldId="509"/>
            <ac:spMk id="47" creationId="{B0B8E2A1-27CC-4395-94ED-4E17733B66E8}"/>
          </ac:spMkLst>
        </pc:spChg>
        <pc:spChg chg="del">
          <ac:chgData name="zur bonsen georg" userId="5444515566c7376a" providerId="LiveId" clId="{18CD7E6B-2C8E-405B-A237-843B9FC9D457}" dt="2022-04-18T06:07:38.085" v="3406" actId="478"/>
          <ac:spMkLst>
            <pc:docMk/>
            <pc:sldMk cId="552021000" sldId="509"/>
            <ac:spMk id="54" creationId="{481A2274-F4BB-44ED-A009-B97EC6ED0B43}"/>
          </ac:spMkLst>
        </pc:spChg>
        <pc:spChg chg="add del mod">
          <ac:chgData name="zur bonsen georg" userId="5444515566c7376a" providerId="LiveId" clId="{18CD7E6B-2C8E-405B-A237-843B9FC9D457}" dt="2022-04-18T07:30:44.927" v="6712" actId="478"/>
          <ac:spMkLst>
            <pc:docMk/>
            <pc:sldMk cId="552021000" sldId="509"/>
            <ac:spMk id="63" creationId="{59D6DF6A-90B4-4CE3-AF8D-19DBC262DF35}"/>
          </ac:spMkLst>
        </pc:spChg>
        <pc:spChg chg="add del mod">
          <ac:chgData name="zur bonsen georg" userId="5444515566c7376a" providerId="LiveId" clId="{18CD7E6B-2C8E-405B-A237-843B9FC9D457}" dt="2022-04-18T07:30:44.927" v="6712" actId="478"/>
          <ac:spMkLst>
            <pc:docMk/>
            <pc:sldMk cId="552021000" sldId="509"/>
            <ac:spMk id="64" creationId="{FA6A6686-7669-4E63-8D4C-551D23F14592}"/>
          </ac:spMkLst>
        </pc:spChg>
        <pc:spChg chg="add del mod">
          <ac:chgData name="zur bonsen georg" userId="5444515566c7376a" providerId="LiveId" clId="{18CD7E6B-2C8E-405B-A237-843B9FC9D457}" dt="2022-04-18T07:24:50.494" v="6460" actId="478"/>
          <ac:spMkLst>
            <pc:docMk/>
            <pc:sldMk cId="552021000" sldId="509"/>
            <ac:spMk id="65" creationId="{F024CBB8-422C-44F4-B717-C9DEC68FB0FF}"/>
          </ac:spMkLst>
        </pc:spChg>
        <pc:spChg chg="add del mod ord">
          <ac:chgData name="zur bonsen georg" userId="5444515566c7376a" providerId="LiveId" clId="{18CD7E6B-2C8E-405B-A237-843B9FC9D457}" dt="2022-04-18T07:30:44.927" v="6712" actId="478"/>
          <ac:spMkLst>
            <pc:docMk/>
            <pc:sldMk cId="552021000" sldId="509"/>
            <ac:spMk id="66" creationId="{D7C282CA-03E0-432E-90D2-46A21ADDEB6B}"/>
          </ac:spMkLst>
        </pc:spChg>
        <pc:spChg chg="add del mod ord">
          <ac:chgData name="zur bonsen georg" userId="5444515566c7376a" providerId="LiveId" clId="{18CD7E6B-2C8E-405B-A237-843B9FC9D457}" dt="2022-04-18T07:30:44.927" v="6712" actId="478"/>
          <ac:spMkLst>
            <pc:docMk/>
            <pc:sldMk cId="552021000" sldId="509"/>
            <ac:spMk id="67" creationId="{6E8CDEE8-8744-46BF-ADBE-5DBFE1910F6C}"/>
          </ac:spMkLst>
        </pc:spChg>
        <pc:spChg chg="add del mod">
          <ac:chgData name="zur bonsen georg" userId="5444515566c7376a" providerId="LiveId" clId="{18CD7E6B-2C8E-405B-A237-843B9FC9D457}" dt="2022-04-18T07:30:40.688" v="6711" actId="478"/>
          <ac:spMkLst>
            <pc:docMk/>
            <pc:sldMk cId="552021000" sldId="509"/>
            <ac:spMk id="68" creationId="{24EADCBD-36BA-455B-9DA5-C3EA6132198B}"/>
          </ac:spMkLst>
        </pc:spChg>
        <pc:spChg chg="add del mod">
          <ac:chgData name="zur bonsen georg" userId="5444515566c7376a" providerId="LiveId" clId="{18CD7E6B-2C8E-405B-A237-843B9FC9D457}" dt="2022-04-18T07:30:40.688" v="6711" actId="478"/>
          <ac:spMkLst>
            <pc:docMk/>
            <pc:sldMk cId="552021000" sldId="509"/>
            <ac:spMk id="69" creationId="{7D2C2B39-C74C-421A-972B-4BBF9B6796F3}"/>
          </ac:spMkLst>
        </pc:spChg>
        <pc:spChg chg="add del mod">
          <ac:chgData name="zur bonsen georg" userId="5444515566c7376a" providerId="LiveId" clId="{18CD7E6B-2C8E-405B-A237-843B9FC9D457}" dt="2022-04-18T07:30:40.688" v="6711" actId="478"/>
          <ac:spMkLst>
            <pc:docMk/>
            <pc:sldMk cId="552021000" sldId="509"/>
            <ac:spMk id="70" creationId="{9B2BE8EB-3FF3-4D8B-98EB-75AE6CE91B7F}"/>
          </ac:spMkLst>
        </pc:spChg>
        <pc:spChg chg="add del mod">
          <ac:chgData name="zur bonsen georg" userId="5444515566c7376a" providerId="LiveId" clId="{18CD7E6B-2C8E-405B-A237-843B9FC9D457}" dt="2022-04-18T07:30:40.688" v="6711" actId="478"/>
          <ac:spMkLst>
            <pc:docMk/>
            <pc:sldMk cId="552021000" sldId="509"/>
            <ac:spMk id="71" creationId="{E699835E-791E-4EE6-90C5-4F747C440860}"/>
          </ac:spMkLst>
        </pc:spChg>
        <pc:spChg chg="add del mod">
          <ac:chgData name="zur bonsen georg" userId="5444515566c7376a" providerId="LiveId" clId="{18CD7E6B-2C8E-405B-A237-843B9FC9D457}" dt="2022-04-18T07:30:40.688" v="6711" actId="478"/>
          <ac:spMkLst>
            <pc:docMk/>
            <pc:sldMk cId="552021000" sldId="509"/>
            <ac:spMk id="72" creationId="{3297C2DF-28DE-418C-8B2F-3AA00F6A167D}"/>
          </ac:spMkLst>
        </pc:spChg>
        <pc:spChg chg="add del mod">
          <ac:chgData name="zur bonsen georg" userId="5444515566c7376a" providerId="LiveId" clId="{18CD7E6B-2C8E-405B-A237-843B9FC9D457}" dt="2022-04-18T07:30:40.688" v="6711" actId="478"/>
          <ac:spMkLst>
            <pc:docMk/>
            <pc:sldMk cId="552021000" sldId="509"/>
            <ac:spMk id="73" creationId="{27ECAD0F-6088-4E3F-A5C6-0A315AC6440A}"/>
          </ac:spMkLst>
        </pc:spChg>
        <pc:spChg chg="add del mod">
          <ac:chgData name="zur bonsen georg" userId="5444515566c7376a" providerId="LiveId" clId="{18CD7E6B-2C8E-405B-A237-843B9FC9D457}" dt="2022-04-18T07:30:40.688" v="6711" actId="478"/>
          <ac:spMkLst>
            <pc:docMk/>
            <pc:sldMk cId="552021000" sldId="509"/>
            <ac:spMk id="74" creationId="{6650F46B-68FE-467B-A67C-65354DE5EFC8}"/>
          </ac:spMkLst>
        </pc:spChg>
        <pc:spChg chg="add del mod">
          <ac:chgData name="zur bonsen georg" userId="5444515566c7376a" providerId="LiveId" clId="{18CD7E6B-2C8E-405B-A237-843B9FC9D457}" dt="2022-04-18T07:30:40.688" v="6711" actId="478"/>
          <ac:spMkLst>
            <pc:docMk/>
            <pc:sldMk cId="552021000" sldId="509"/>
            <ac:spMk id="75" creationId="{A1501889-DF3B-413D-8BF2-F9085FFD27A9}"/>
          </ac:spMkLst>
        </pc:spChg>
        <pc:spChg chg="add del mod">
          <ac:chgData name="zur bonsen georg" userId="5444515566c7376a" providerId="LiveId" clId="{18CD7E6B-2C8E-405B-A237-843B9FC9D457}" dt="2022-04-18T07:30:40.688" v="6711" actId="478"/>
          <ac:spMkLst>
            <pc:docMk/>
            <pc:sldMk cId="552021000" sldId="509"/>
            <ac:spMk id="76" creationId="{C161AAA1-F453-49C0-8095-E72264352C0E}"/>
          </ac:spMkLst>
        </pc:spChg>
        <pc:spChg chg="add del mod">
          <ac:chgData name="zur bonsen georg" userId="5444515566c7376a" providerId="LiveId" clId="{18CD7E6B-2C8E-405B-A237-843B9FC9D457}" dt="2022-04-18T07:30:40.688" v="6711" actId="478"/>
          <ac:spMkLst>
            <pc:docMk/>
            <pc:sldMk cId="552021000" sldId="509"/>
            <ac:spMk id="77" creationId="{A45AF967-822E-4103-852D-168CE2E5153B}"/>
          </ac:spMkLst>
        </pc:spChg>
        <pc:spChg chg="add del mod">
          <ac:chgData name="zur bonsen georg" userId="5444515566c7376a" providerId="LiveId" clId="{18CD7E6B-2C8E-405B-A237-843B9FC9D457}" dt="2022-04-18T07:30:40.688" v="6711" actId="478"/>
          <ac:spMkLst>
            <pc:docMk/>
            <pc:sldMk cId="552021000" sldId="509"/>
            <ac:spMk id="78" creationId="{B673E06C-21EA-4533-B3C6-26AF672E1587}"/>
          </ac:spMkLst>
        </pc:spChg>
        <pc:spChg chg="add del mod">
          <ac:chgData name="zur bonsen georg" userId="5444515566c7376a" providerId="LiveId" clId="{18CD7E6B-2C8E-405B-A237-843B9FC9D457}" dt="2022-04-18T07:30:40.688" v="6711" actId="478"/>
          <ac:spMkLst>
            <pc:docMk/>
            <pc:sldMk cId="552021000" sldId="509"/>
            <ac:spMk id="79" creationId="{8B13D5CF-57EF-457A-9962-ED8814EA3851}"/>
          </ac:spMkLst>
        </pc:spChg>
        <pc:spChg chg="add del mod ord">
          <ac:chgData name="zur bonsen georg" userId="5444515566c7376a" providerId="LiveId" clId="{18CD7E6B-2C8E-405B-A237-843B9FC9D457}" dt="2022-04-18T07:30:40.688" v="6711" actId="478"/>
          <ac:spMkLst>
            <pc:docMk/>
            <pc:sldMk cId="552021000" sldId="509"/>
            <ac:spMk id="80" creationId="{C77BE7FB-FA68-43E1-986A-F243BFD806BC}"/>
          </ac:spMkLst>
        </pc:spChg>
        <pc:spChg chg="add del mod">
          <ac:chgData name="zur bonsen georg" userId="5444515566c7376a" providerId="LiveId" clId="{18CD7E6B-2C8E-405B-A237-843B9FC9D457}" dt="2022-04-18T07:30:40.688" v="6711" actId="478"/>
          <ac:spMkLst>
            <pc:docMk/>
            <pc:sldMk cId="552021000" sldId="509"/>
            <ac:spMk id="81" creationId="{25AB34E7-371E-4C85-B4D8-731F3244EE03}"/>
          </ac:spMkLst>
        </pc:spChg>
        <pc:spChg chg="add del mod ord">
          <ac:chgData name="zur bonsen georg" userId="5444515566c7376a" providerId="LiveId" clId="{18CD7E6B-2C8E-405B-A237-843B9FC9D457}" dt="2022-04-18T07:30:40.688" v="6711" actId="478"/>
          <ac:spMkLst>
            <pc:docMk/>
            <pc:sldMk cId="552021000" sldId="509"/>
            <ac:spMk id="85" creationId="{F8883378-1B0D-4E32-BBF2-A3D8BBD4621E}"/>
          </ac:spMkLst>
        </pc:spChg>
        <pc:spChg chg="add del mod ord">
          <ac:chgData name="zur bonsen georg" userId="5444515566c7376a" providerId="LiveId" clId="{18CD7E6B-2C8E-405B-A237-843B9FC9D457}" dt="2022-04-18T07:30:40.688" v="6711" actId="478"/>
          <ac:spMkLst>
            <pc:docMk/>
            <pc:sldMk cId="552021000" sldId="509"/>
            <ac:spMk id="86" creationId="{BDF35AB9-BEB8-426F-91C3-EE70A8B8E5A7}"/>
          </ac:spMkLst>
        </pc:spChg>
        <pc:spChg chg="add del mod">
          <ac:chgData name="zur bonsen georg" userId="5444515566c7376a" providerId="LiveId" clId="{18CD7E6B-2C8E-405B-A237-843B9FC9D457}" dt="2022-04-18T07:30:40.688" v="6711" actId="478"/>
          <ac:spMkLst>
            <pc:docMk/>
            <pc:sldMk cId="552021000" sldId="509"/>
            <ac:spMk id="87" creationId="{5F811C55-C066-4D33-A253-5A901D75DDEC}"/>
          </ac:spMkLst>
        </pc:spChg>
        <pc:spChg chg="add del mod">
          <ac:chgData name="zur bonsen georg" userId="5444515566c7376a" providerId="LiveId" clId="{18CD7E6B-2C8E-405B-A237-843B9FC9D457}" dt="2022-04-18T07:30:40.688" v="6711" actId="478"/>
          <ac:spMkLst>
            <pc:docMk/>
            <pc:sldMk cId="552021000" sldId="509"/>
            <ac:spMk id="88" creationId="{654BC8F4-365C-4AFC-91A5-AC7FE1356F0C}"/>
          </ac:spMkLst>
        </pc:spChg>
        <pc:spChg chg="add del mod">
          <ac:chgData name="zur bonsen georg" userId="5444515566c7376a" providerId="LiveId" clId="{18CD7E6B-2C8E-405B-A237-843B9FC9D457}" dt="2022-04-18T07:30:44.927" v="6712" actId="478"/>
          <ac:spMkLst>
            <pc:docMk/>
            <pc:sldMk cId="552021000" sldId="509"/>
            <ac:spMk id="89" creationId="{90BDBA5A-3D0E-47A3-B284-CEF26F60B1B0}"/>
          </ac:spMkLst>
        </pc:spChg>
        <pc:spChg chg="add del mod">
          <ac:chgData name="zur bonsen georg" userId="5444515566c7376a" providerId="LiveId" clId="{18CD7E6B-2C8E-405B-A237-843B9FC9D457}" dt="2022-04-18T07:30:40.688" v="6711" actId="478"/>
          <ac:spMkLst>
            <pc:docMk/>
            <pc:sldMk cId="552021000" sldId="509"/>
            <ac:spMk id="90" creationId="{43C45C2E-950A-43A4-955E-B7837A1957E5}"/>
          </ac:spMkLst>
        </pc:spChg>
        <pc:spChg chg="add del mod">
          <ac:chgData name="zur bonsen georg" userId="5444515566c7376a" providerId="LiveId" clId="{18CD7E6B-2C8E-405B-A237-843B9FC9D457}" dt="2022-04-18T07:30:40.688" v="6711" actId="478"/>
          <ac:spMkLst>
            <pc:docMk/>
            <pc:sldMk cId="552021000" sldId="509"/>
            <ac:spMk id="91" creationId="{4B6288E5-5141-4C33-A87C-4BEA2577B312}"/>
          </ac:spMkLst>
        </pc:spChg>
        <pc:spChg chg="add del mod">
          <ac:chgData name="zur bonsen georg" userId="5444515566c7376a" providerId="LiveId" clId="{18CD7E6B-2C8E-405B-A237-843B9FC9D457}" dt="2022-04-18T06:33:17.262" v="4886" actId="478"/>
          <ac:spMkLst>
            <pc:docMk/>
            <pc:sldMk cId="552021000" sldId="509"/>
            <ac:spMk id="92" creationId="{C5CBCFEE-F1AE-4CD4-86D3-7FEFADD18720}"/>
          </ac:spMkLst>
        </pc:spChg>
        <pc:spChg chg="add del mod">
          <ac:chgData name="zur bonsen georg" userId="5444515566c7376a" providerId="LiveId" clId="{18CD7E6B-2C8E-405B-A237-843B9FC9D457}" dt="2022-04-18T07:00:21.988" v="6095" actId="478"/>
          <ac:spMkLst>
            <pc:docMk/>
            <pc:sldMk cId="552021000" sldId="509"/>
            <ac:spMk id="93" creationId="{8FEFA7E4-CF69-4C81-B6AD-579834057E5D}"/>
          </ac:spMkLst>
        </pc:spChg>
        <pc:spChg chg="add del mod">
          <ac:chgData name="zur bonsen georg" userId="5444515566c7376a" providerId="LiveId" clId="{18CD7E6B-2C8E-405B-A237-843B9FC9D457}" dt="2022-04-18T07:00:21.988" v="6095" actId="478"/>
          <ac:spMkLst>
            <pc:docMk/>
            <pc:sldMk cId="552021000" sldId="509"/>
            <ac:spMk id="94" creationId="{4796A647-5958-400E-BA2C-23347B899D1F}"/>
          </ac:spMkLst>
        </pc:spChg>
        <pc:spChg chg="add del mod">
          <ac:chgData name="zur bonsen georg" userId="5444515566c7376a" providerId="LiveId" clId="{18CD7E6B-2C8E-405B-A237-843B9FC9D457}" dt="2022-04-18T07:30:40.688" v="6711" actId="478"/>
          <ac:spMkLst>
            <pc:docMk/>
            <pc:sldMk cId="552021000" sldId="509"/>
            <ac:spMk id="95" creationId="{1876A4DD-C6B9-4911-95AE-A1BDFC478F6E}"/>
          </ac:spMkLst>
        </pc:spChg>
        <pc:spChg chg="add del mod">
          <ac:chgData name="zur bonsen georg" userId="5444515566c7376a" providerId="LiveId" clId="{18CD7E6B-2C8E-405B-A237-843B9FC9D457}" dt="2022-04-18T07:30:44.927" v="6712" actId="478"/>
          <ac:spMkLst>
            <pc:docMk/>
            <pc:sldMk cId="552021000" sldId="509"/>
            <ac:spMk id="96" creationId="{24A7322F-FDF6-41F4-A1B5-4739450DDE81}"/>
          </ac:spMkLst>
        </pc:spChg>
        <pc:spChg chg="add del mod">
          <ac:chgData name="zur bonsen georg" userId="5444515566c7376a" providerId="LiveId" clId="{18CD7E6B-2C8E-405B-A237-843B9FC9D457}" dt="2022-04-18T07:30:44.927" v="6712" actId="478"/>
          <ac:spMkLst>
            <pc:docMk/>
            <pc:sldMk cId="552021000" sldId="509"/>
            <ac:spMk id="97" creationId="{4FA8C883-FC7E-4903-8C53-43AF5E6B216A}"/>
          </ac:spMkLst>
        </pc:spChg>
        <pc:spChg chg="add del mod">
          <ac:chgData name="zur bonsen georg" userId="5444515566c7376a" providerId="LiveId" clId="{18CD7E6B-2C8E-405B-A237-843B9FC9D457}" dt="2022-04-18T07:30:40.688" v="6711" actId="478"/>
          <ac:spMkLst>
            <pc:docMk/>
            <pc:sldMk cId="552021000" sldId="509"/>
            <ac:spMk id="98" creationId="{CD73203E-F856-4AB1-BD01-006A1C4DA755}"/>
          </ac:spMkLst>
        </pc:spChg>
        <pc:spChg chg="del">
          <ac:chgData name="zur bonsen georg" userId="5444515566c7376a" providerId="LiveId" clId="{18CD7E6B-2C8E-405B-A237-843B9FC9D457}" dt="2022-04-18T06:07:38.085" v="3406" actId="478"/>
          <ac:spMkLst>
            <pc:docMk/>
            <pc:sldMk cId="552021000" sldId="509"/>
            <ac:spMk id="99" creationId="{927F121B-F8B4-4D44-A46D-641D9B714E05}"/>
          </ac:spMkLst>
        </pc:spChg>
        <pc:spChg chg="add del mod">
          <ac:chgData name="zur bonsen georg" userId="5444515566c7376a" providerId="LiveId" clId="{18CD7E6B-2C8E-405B-A237-843B9FC9D457}" dt="2022-04-18T07:30:40.688" v="6711" actId="478"/>
          <ac:spMkLst>
            <pc:docMk/>
            <pc:sldMk cId="552021000" sldId="509"/>
            <ac:spMk id="100" creationId="{D9E524F6-DEDE-40A9-AAC7-E7013ED2F6F9}"/>
          </ac:spMkLst>
        </pc:spChg>
        <pc:spChg chg="add del mod">
          <ac:chgData name="zur bonsen georg" userId="5444515566c7376a" providerId="LiveId" clId="{18CD7E6B-2C8E-405B-A237-843B9FC9D457}" dt="2022-04-18T07:30:40.688" v="6711" actId="478"/>
          <ac:spMkLst>
            <pc:docMk/>
            <pc:sldMk cId="552021000" sldId="509"/>
            <ac:spMk id="101" creationId="{B97C9082-A171-4F93-89EE-C286EE6C509C}"/>
          </ac:spMkLst>
        </pc:spChg>
        <pc:spChg chg="add del mod">
          <ac:chgData name="zur bonsen georg" userId="5444515566c7376a" providerId="LiveId" clId="{18CD7E6B-2C8E-405B-A237-843B9FC9D457}" dt="2022-04-18T07:30:40.688" v="6711" actId="478"/>
          <ac:spMkLst>
            <pc:docMk/>
            <pc:sldMk cId="552021000" sldId="509"/>
            <ac:spMk id="102" creationId="{609712B9-1A6D-42B9-8683-72AA648F7FCE}"/>
          </ac:spMkLst>
        </pc:spChg>
        <pc:spChg chg="add del mod">
          <ac:chgData name="zur bonsen georg" userId="5444515566c7376a" providerId="LiveId" clId="{18CD7E6B-2C8E-405B-A237-843B9FC9D457}" dt="2022-04-18T07:30:40.688" v="6711" actId="478"/>
          <ac:spMkLst>
            <pc:docMk/>
            <pc:sldMk cId="552021000" sldId="509"/>
            <ac:spMk id="103" creationId="{EAEFE983-4976-4C8B-88F0-B563C8E71F08}"/>
          </ac:spMkLst>
        </pc:spChg>
        <pc:spChg chg="add del mod ord">
          <ac:chgData name="zur bonsen georg" userId="5444515566c7376a" providerId="LiveId" clId="{18CD7E6B-2C8E-405B-A237-843B9FC9D457}" dt="2022-04-18T07:30:44.927" v="6712" actId="478"/>
          <ac:spMkLst>
            <pc:docMk/>
            <pc:sldMk cId="552021000" sldId="509"/>
            <ac:spMk id="104" creationId="{BDBFE104-73F4-4BA9-A3EF-E0F1D3D78B3B}"/>
          </ac:spMkLst>
        </pc:spChg>
        <pc:spChg chg="del">
          <ac:chgData name="zur bonsen georg" userId="5444515566c7376a" providerId="LiveId" clId="{18CD7E6B-2C8E-405B-A237-843B9FC9D457}" dt="2022-04-18T06:07:38.085" v="3406" actId="478"/>
          <ac:spMkLst>
            <pc:docMk/>
            <pc:sldMk cId="552021000" sldId="509"/>
            <ac:spMk id="105" creationId="{4DF3F716-9AA0-4699-8C65-2A4CB9997650}"/>
          </ac:spMkLst>
        </pc:spChg>
        <pc:spChg chg="add del mod ord">
          <ac:chgData name="zur bonsen georg" userId="5444515566c7376a" providerId="LiveId" clId="{18CD7E6B-2C8E-405B-A237-843B9FC9D457}" dt="2022-04-18T07:00:21.988" v="6095" actId="478"/>
          <ac:spMkLst>
            <pc:docMk/>
            <pc:sldMk cId="552021000" sldId="509"/>
            <ac:spMk id="106" creationId="{2C9D7240-1DB9-441F-BA73-33531213F6A0}"/>
          </ac:spMkLst>
        </pc:spChg>
        <pc:spChg chg="add del mod">
          <ac:chgData name="zur bonsen georg" userId="5444515566c7376a" providerId="LiveId" clId="{18CD7E6B-2C8E-405B-A237-843B9FC9D457}" dt="2022-04-18T07:24:47.469" v="6459" actId="478"/>
          <ac:spMkLst>
            <pc:docMk/>
            <pc:sldMk cId="552021000" sldId="509"/>
            <ac:spMk id="107" creationId="{F826416E-AB9E-4F96-BB8D-2C93727FE696}"/>
          </ac:spMkLst>
        </pc:spChg>
        <pc:spChg chg="add del mod ord">
          <ac:chgData name="zur bonsen georg" userId="5444515566c7376a" providerId="LiveId" clId="{18CD7E6B-2C8E-405B-A237-843B9FC9D457}" dt="2022-04-18T07:30:44.927" v="6712" actId="478"/>
          <ac:spMkLst>
            <pc:docMk/>
            <pc:sldMk cId="552021000" sldId="509"/>
            <ac:spMk id="108" creationId="{9E0E2376-6D13-4DDE-9364-CF47A8A51392}"/>
          </ac:spMkLst>
        </pc:spChg>
        <pc:spChg chg="add del mod ord">
          <ac:chgData name="zur bonsen georg" userId="5444515566c7376a" providerId="LiveId" clId="{18CD7E6B-2C8E-405B-A237-843B9FC9D457}" dt="2022-04-18T07:30:44.927" v="6712" actId="478"/>
          <ac:spMkLst>
            <pc:docMk/>
            <pc:sldMk cId="552021000" sldId="509"/>
            <ac:spMk id="109" creationId="{D74EEDAB-9C7B-497C-9AE9-2B40C560D2FF}"/>
          </ac:spMkLst>
        </pc:spChg>
        <pc:spChg chg="add del mod ord">
          <ac:chgData name="zur bonsen georg" userId="5444515566c7376a" providerId="LiveId" clId="{18CD7E6B-2C8E-405B-A237-843B9FC9D457}" dt="2022-04-18T07:30:44.927" v="6712" actId="478"/>
          <ac:spMkLst>
            <pc:docMk/>
            <pc:sldMk cId="552021000" sldId="509"/>
            <ac:spMk id="110" creationId="{CB9C0CD7-0523-4FC2-BAC1-403F4784D435}"/>
          </ac:spMkLst>
        </pc:spChg>
        <pc:spChg chg="add del mod ord">
          <ac:chgData name="zur bonsen georg" userId="5444515566c7376a" providerId="LiveId" clId="{18CD7E6B-2C8E-405B-A237-843B9FC9D457}" dt="2022-04-18T07:24:54.407" v="6461" actId="478"/>
          <ac:spMkLst>
            <pc:docMk/>
            <pc:sldMk cId="552021000" sldId="509"/>
            <ac:spMk id="111" creationId="{46C68534-E818-4A52-BF2A-9F97522765AC}"/>
          </ac:spMkLst>
        </pc:spChg>
        <pc:spChg chg="add del mod">
          <ac:chgData name="zur bonsen georg" userId="5444515566c7376a" providerId="LiveId" clId="{18CD7E6B-2C8E-405B-A237-843B9FC9D457}" dt="2022-04-18T07:30:40.688" v="6711" actId="478"/>
          <ac:spMkLst>
            <pc:docMk/>
            <pc:sldMk cId="552021000" sldId="509"/>
            <ac:spMk id="112" creationId="{1653CB6D-C51F-4D27-A010-85080B6CF3C8}"/>
          </ac:spMkLst>
        </pc:spChg>
        <pc:spChg chg="del">
          <ac:chgData name="zur bonsen georg" userId="5444515566c7376a" providerId="LiveId" clId="{18CD7E6B-2C8E-405B-A237-843B9FC9D457}" dt="2022-04-18T06:07:38.085" v="3406" actId="478"/>
          <ac:spMkLst>
            <pc:docMk/>
            <pc:sldMk cId="552021000" sldId="509"/>
            <ac:spMk id="113" creationId="{69E15E5F-9525-4135-821B-6CDE0D1CB24D}"/>
          </ac:spMkLst>
        </pc:spChg>
        <pc:spChg chg="add del mod">
          <ac:chgData name="zur bonsen georg" userId="5444515566c7376a" providerId="LiveId" clId="{18CD7E6B-2C8E-405B-A237-843B9FC9D457}" dt="2022-04-18T07:30:40.688" v="6711" actId="478"/>
          <ac:spMkLst>
            <pc:docMk/>
            <pc:sldMk cId="552021000" sldId="509"/>
            <ac:spMk id="115" creationId="{6EEB48F0-9767-4B6E-8752-5D32AC4B5587}"/>
          </ac:spMkLst>
        </pc:spChg>
        <pc:spChg chg="add del mod">
          <ac:chgData name="zur bonsen georg" userId="5444515566c7376a" providerId="LiveId" clId="{18CD7E6B-2C8E-405B-A237-843B9FC9D457}" dt="2022-04-18T07:14:34.303" v="6407" actId="478"/>
          <ac:spMkLst>
            <pc:docMk/>
            <pc:sldMk cId="552021000" sldId="509"/>
            <ac:spMk id="116" creationId="{D69C167F-671D-4562-AFB3-E29E0EC84331}"/>
          </ac:spMkLst>
        </pc:spChg>
        <pc:spChg chg="add del mod">
          <ac:chgData name="zur bonsen georg" userId="5444515566c7376a" providerId="LiveId" clId="{18CD7E6B-2C8E-405B-A237-843B9FC9D457}" dt="2022-04-18T07:30:40.688" v="6711" actId="478"/>
          <ac:spMkLst>
            <pc:docMk/>
            <pc:sldMk cId="552021000" sldId="509"/>
            <ac:spMk id="117" creationId="{C4D49D88-C573-4F51-B773-846CE4C78E56}"/>
          </ac:spMkLst>
        </pc:spChg>
        <pc:spChg chg="del">
          <ac:chgData name="zur bonsen georg" userId="5444515566c7376a" providerId="LiveId" clId="{18CD7E6B-2C8E-405B-A237-843B9FC9D457}" dt="2022-04-18T06:07:38.085" v="3406" actId="478"/>
          <ac:spMkLst>
            <pc:docMk/>
            <pc:sldMk cId="552021000" sldId="509"/>
            <ac:spMk id="118" creationId="{3026E471-369F-4FC4-A626-9F4F4AF835F5}"/>
          </ac:spMkLst>
        </pc:spChg>
        <pc:spChg chg="add del mod">
          <ac:chgData name="zur bonsen georg" userId="5444515566c7376a" providerId="LiveId" clId="{18CD7E6B-2C8E-405B-A237-843B9FC9D457}" dt="2022-04-18T07:14:34.303" v="6407" actId="478"/>
          <ac:spMkLst>
            <pc:docMk/>
            <pc:sldMk cId="552021000" sldId="509"/>
            <ac:spMk id="119" creationId="{41F5A948-DB75-479F-B47B-7F08A21026E6}"/>
          </ac:spMkLst>
        </pc:spChg>
        <pc:spChg chg="add del mod">
          <ac:chgData name="zur bonsen georg" userId="5444515566c7376a" providerId="LiveId" clId="{18CD7E6B-2C8E-405B-A237-843B9FC9D457}" dt="2022-04-18T07:00:21.988" v="6095" actId="478"/>
          <ac:spMkLst>
            <pc:docMk/>
            <pc:sldMk cId="552021000" sldId="509"/>
            <ac:spMk id="120" creationId="{26E13176-2C08-4CF6-8025-C0D28E7C55B6}"/>
          </ac:spMkLst>
        </pc:spChg>
        <pc:spChg chg="add del mod ord">
          <ac:chgData name="zur bonsen georg" userId="5444515566c7376a" providerId="LiveId" clId="{18CD7E6B-2C8E-405B-A237-843B9FC9D457}" dt="2022-04-18T07:30:44.927" v="6712" actId="478"/>
          <ac:spMkLst>
            <pc:docMk/>
            <pc:sldMk cId="552021000" sldId="509"/>
            <ac:spMk id="121" creationId="{ACC0399D-17F5-4015-863B-0EC1D5A2291E}"/>
          </ac:spMkLst>
        </pc:spChg>
        <pc:spChg chg="add del mod">
          <ac:chgData name="zur bonsen georg" userId="5444515566c7376a" providerId="LiveId" clId="{18CD7E6B-2C8E-405B-A237-843B9FC9D457}" dt="2022-04-18T07:30:44.927" v="6712" actId="478"/>
          <ac:spMkLst>
            <pc:docMk/>
            <pc:sldMk cId="552021000" sldId="509"/>
            <ac:spMk id="122" creationId="{E21C2135-4099-490D-B8F0-B1CF2F71C05B}"/>
          </ac:spMkLst>
        </pc:spChg>
        <pc:spChg chg="add del mod">
          <ac:chgData name="zur bonsen georg" userId="5444515566c7376a" providerId="LiveId" clId="{18CD7E6B-2C8E-405B-A237-843B9FC9D457}" dt="2022-04-18T07:30:44.927" v="6712" actId="478"/>
          <ac:spMkLst>
            <pc:docMk/>
            <pc:sldMk cId="552021000" sldId="509"/>
            <ac:spMk id="123" creationId="{16F5CE86-CF18-47F5-8E97-AA127F11F262}"/>
          </ac:spMkLst>
        </pc:spChg>
        <pc:spChg chg="add del mod ord">
          <ac:chgData name="zur bonsen georg" userId="5444515566c7376a" providerId="LiveId" clId="{18CD7E6B-2C8E-405B-A237-843B9FC9D457}" dt="2022-04-18T07:30:44.927" v="6712" actId="478"/>
          <ac:spMkLst>
            <pc:docMk/>
            <pc:sldMk cId="552021000" sldId="509"/>
            <ac:spMk id="126" creationId="{CF876EC3-C55E-4ADE-B4B5-52D24FD7AA60}"/>
          </ac:spMkLst>
        </pc:spChg>
        <pc:spChg chg="add del mod">
          <ac:chgData name="zur bonsen georg" userId="5444515566c7376a" providerId="LiveId" clId="{18CD7E6B-2C8E-405B-A237-843B9FC9D457}" dt="2022-04-18T07:30:40.688" v="6711" actId="478"/>
          <ac:spMkLst>
            <pc:docMk/>
            <pc:sldMk cId="552021000" sldId="509"/>
            <ac:spMk id="128" creationId="{28845DD6-129C-49B1-B1FD-BB207A1F423F}"/>
          </ac:spMkLst>
        </pc:spChg>
        <pc:spChg chg="add del mod">
          <ac:chgData name="zur bonsen georg" userId="5444515566c7376a" providerId="LiveId" clId="{18CD7E6B-2C8E-405B-A237-843B9FC9D457}" dt="2022-04-18T07:30:44.927" v="6712" actId="478"/>
          <ac:spMkLst>
            <pc:docMk/>
            <pc:sldMk cId="552021000" sldId="509"/>
            <ac:spMk id="130" creationId="{63D1935B-2F88-4B27-A250-B7A19EB0DD0E}"/>
          </ac:spMkLst>
        </pc:spChg>
        <pc:spChg chg="add del mod ord">
          <ac:chgData name="zur bonsen georg" userId="5444515566c7376a" providerId="LiveId" clId="{18CD7E6B-2C8E-405B-A237-843B9FC9D457}" dt="2022-04-18T07:30:44.927" v="6712" actId="478"/>
          <ac:spMkLst>
            <pc:docMk/>
            <pc:sldMk cId="552021000" sldId="509"/>
            <ac:spMk id="131" creationId="{E468455B-7FD0-4EFE-B29D-9815F3D10ADD}"/>
          </ac:spMkLst>
        </pc:spChg>
        <pc:spChg chg="add mod ord">
          <ac:chgData name="zur bonsen georg" userId="5444515566c7376a" providerId="LiveId" clId="{18CD7E6B-2C8E-405B-A237-843B9FC9D457}" dt="2022-04-18T07:30:36.868" v="6710" actId="1038"/>
          <ac:spMkLst>
            <pc:docMk/>
            <pc:sldMk cId="552021000" sldId="509"/>
            <ac:spMk id="136" creationId="{D78FE0B3-BA4B-4BD6-9407-85A9D6B88301}"/>
          </ac:spMkLst>
        </pc:spChg>
        <pc:spChg chg="add mod ord">
          <ac:chgData name="zur bonsen georg" userId="5444515566c7376a" providerId="LiveId" clId="{18CD7E6B-2C8E-405B-A237-843B9FC9D457}" dt="2022-04-18T07:30:36.868" v="6710" actId="1038"/>
          <ac:spMkLst>
            <pc:docMk/>
            <pc:sldMk cId="552021000" sldId="509"/>
            <ac:spMk id="137" creationId="{05A523E5-E4BE-4FE9-BE19-BFA5E0C66AF0}"/>
          </ac:spMkLst>
        </pc:spChg>
        <pc:spChg chg="add mod ord">
          <ac:chgData name="zur bonsen georg" userId="5444515566c7376a" providerId="LiveId" clId="{18CD7E6B-2C8E-405B-A237-843B9FC9D457}" dt="2022-04-18T07:30:36.868" v="6710" actId="1038"/>
          <ac:spMkLst>
            <pc:docMk/>
            <pc:sldMk cId="552021000" sldId="509"/>
            <ac:spMk id="138" creationId="{A0F690F2-E562-4E01-9EFC-48DADB948D68}"/>
          </ac:spMkLst>
        </pc:spChg>
        <pc:spChg chg="del">
          <ac:chgData name="zur bonsen georg" userId="5444515566c7376a" providerId="LiveId" clId="{18CD7E6B-2C8E-405B-A237-843B9FC9D457}" dt="2022-04-18T06:07:38.085" v="3406" actId="478"/>
          <ac:spMkLst>
            <pc:docMk/>
            <pc:sldMk cId="552021000" sldId="509"/>
            <ac:spMk id="139" creationId="{55FB7688-9E31-426C-9495-04A457FBABD7}"/>
          </ac:spMkLst>
        </pc:spChg>
        <pc:spChg chg="del">
          <ac:chgData name="zur bonsen georg" userId="5444515566c7376a" providerId="LiveId" clId="{18CD7E6B-2C8E-405B-A237-843B9FC9D457}" dt="2022-04-18T06:07:38.085" v="3406" actId="478"/>
          <ac:spMkLst>
            <pc:docMk/>
            <pc:sldMk cId="552021000" sldId="509"/>
            <ac:spMk id="140" creationId="{8AD8071C-3366-4EDD-9325-068A41938395}"/>
          </ac:spMkLst>
        </pc:spChg>
        <pc:spChg chg="del">
          <ac:chgData name="zur bonsen georg" userId="5444515566c7376a" providerId="LiveId" clId="{18CD7E6B-2C8E-405B-A237-843B9FC9D457}" dt="2022-04-18T06:07:38.085" v="3406" actId="478"/>
          <ac:spMkLst>
            <pc:docMk/>
            <pc:sldMk cId="552021000" sldId="509"/>
            <ac:spMk id="141" creationId="{C402E5DE-9A39-4EB4-9C01-38DFAE65DEB3}"/>
          </ac:spMkLst>
        </pc:spChg>
        <pc:spChg chg="del">
          <ac:chgData name="zur bonsen georg" userId="5444515566c7376a" providerId="LiveId" clId="{18CD7E6B-2C8E-405B-A237-843B9FC9D457}" dt="2022-04-18T06:07:38.085" v="3406" actId="478"/>
          <ac:spMkLst>
            <pc:docMk/>
            <pc:sldMk cId="552021000" sldId="509"/>
            <ac:spMk id="142" creationId="{EE0E4775-F85F-4A31-B1DF-397622C34EE8}"/>
          </ac:spMkLst>
        </pc:spChg>
        <pc:spChg chg="del">
          <ac:chgData name="zur bonsen georg" userId="5444515566c7376a" providerId="LiveId" clId="{18CD7E6B-2C8E-405B-A237-843B9FC9D457}" dt="2022-04-18T06:07:38.085" v="3406" actId="478"/>
          <ac:spMkLst>
            <pc:docMk/>
            <pc:sldMk cId="552021000" sldId="509"/>
            <ac:spMk id="143" creationId="{8411AF6A-9D0F-48E3-821B-BDC20301A245}"/>
          </ac:spMkLst>
        </pc:spChg>
        <pc:spChg chg="del">
          <ac:chgData name="zur bonsen georg" userId="5444515566c7376a" providerId="LiveId" clId="{18CD7E6B-2C8E-405B-A237-843B9FC9D457}" dt="2022-04-18T06:07:38.085" v="3406" actId="478"/>
          <ac:spMkLst>
            <pc:docMk/>
            <pc:sldMk cId="552021000" sldId="509"/>
            <ac:spMk id="144" creationId="{B73151BB-F4A6-467E-A640-9461637880B2}"/>
          </ac:spMkLst>
        </pc:spChg>
        <pc:spChg chg="del">
          <ac:chgData name="zur bonsen georg" userId="5444515566c7376a" providerId="LiveId" clId="{18CD7E6B-2C8E-405B-A237-843B9FC9D457}" dt="2022-04-18T06:07:38.085" v="3406" actId="478"/>
          <ac:spMkLst>
            <pc:docMk/>
            <pc:sldMk cId="552021000" sldId="509"/>
            <ac:spMk id="145" creationId="{F1A6728C-0D0F-437C-9808-6102388D262B}"/>
          </ac:spMkLst>
        </pc:spChg>
        <pc:spChg chg="del">
          <ac:chgData name="zur bonsen georg" userId="5444515566c7376a" providerId="LiveId" clId="{18CD7E6B-2C8E-405B-A237-843B9FC9D457}" dt="2022-04-18T06:07:38.085" v="3406" actId="478"/>
          <ac:spMkLst>
            <pc:docMk/>
            <pc:sldMk cId="552021000" sldId="509"/>
            <ac:spMk id="146" creationId="{B99A89BB-6C08-4F63-8928-338BD0FA4906}"/>
          </ac:spMkLst>
        </pc:spChg>
        <pc:spChg chg="del">
          <ac:chgData name="zur bonsen georg" userId="5444515566c7376a" providerId="LiveId" clId="{18CD7E6B-2C8E-405B-A237-843B9FC9D457}" dt="2022-04-18T06:07:38.085" v="3406" actId="478"/>
          <ac:spMkLst>
            <pc:docMk/>
            <pc:sldMk cId="552021000" sldId="509"/>
            <ac:spMk id="147" creationId="{70DCD7E0-78AB-482C-BE6F-E13CED6E8807}"/>
          </ac:spMkLst>
        </pc:spChg>
        <pc:spChg chg="del">
          <ac:chgData name="zur bonsen georg" userId="5444515566c7376a" providerId="LiveId" clId="{18CD7E6B-2C8E-405B-A237-843B9FC9D457}" dt="2022-04-18T06:07:38.085" v="3406" actId="478"/>
          <ac:spMkLst>
            <pc:docMk/>
            <pc:sldMk cId="552021000" sldId="509"/>
            <ac:spMk id="148" creationId="{3DECD778-1762-47B6-ABC2-615C08385F3A}"/>
          </ac:spMkLst>
        </pc:spChg>
        <pc:spChg chg="del">
          <ac:chgData name="zur bonsen georg" userId="5444515566c7376a" providerId="LiveId" clId="{18CD7E6B-2C8E-405B-A237-843B9FC9D457}" dt="2022-04-18T06:07:38.085" v="3406" actId="478"/>
          <ac:spMkLst>
            <pc:docMk/>
            <pc:sldMk cId="552021000" sldId="509"/>
            <ac:spMk id="149" creationId="{D956C4D5-AA7A-4731-81FA-AD748E2BB761}"/>
          </ac:spMkLst>
        </pc:spChg>
        <pc:spChg chg="del">
          <ac:chgData name="zur bonsen georg" userId="5444515566c7376a" providerId="LiveId" clId="{18CD7E6B-2C8E-405B-A237-843B9FC9D457}" dt="2022-04-18T06:07:38.085" v="3406" actId="478"/>
          <ac:spMkLst>
            <pc:docMk/>
            <pc:sldMk cId="552021000" sldId="509"/>
            <ac:spMk id="150" creationId="{5998A0C6-2076-4A83-97B6-A83FBD3934F9}"/>
          </ac:spMkLst>
        </pc:spChg>
        <pc:spChg chg="del">
          <ac:chgData name="zur bonsen georg" userId="5444515566c7376a" providerId="LiveId" clId="{18CD7E6B-2C8E-405B-A237-843B9FC9D457}" dt="2022-04-18T06:07:38.085" v="3406" actId="478"/>
          <ac:spMkLst>
            <pc:docMk/>
            <pc:sldMk cId="552021000" sldId="509"/>
            <ac:spMk id="151" creationId="{D56037E5-12FD-4878-BE65-656D81FCA390}"/>
          </ac:spMkLst>
        </pc:spChg>
        <pc:spChg chg="add mod ord">
          <ac:chgData name="zur bonsen georg" userId="5444515566c7376a" providerId="LiveId" clId="{18CD7E6B-2C8E-405B-A237-843B9FC9D457}" dt="2022-04-18T07:30:36.868" v="6710" actId="1038"/>
          <ac:spMkLst>
            <pc:docMk/>
            <pc:sldMk cId="552021000" sldId="509"/>
            <ac:spMk id="153" creationId="{08CFE294-85F5-4497-8E12-7E071EC5F3CB}"/>
          </ac:spMkLst>
        </pc:spChg>
        <pc:spChg chg="add del mod ord">
          <ac:chgData name="zur bonsen georg" userId="5444515566c7376a" providerId="LiveId" clId="{18CD7E6B-2C8E-405B-A237-843B9FC9D457}" dt="2022-04-18T07:17:16.052" v="6434" actId="478"/>
          <ac:spMkLst>
            <pc:docMk/>
            <pc:sldMk cId="552021000" sldId="509"/>
            <ac:spMk id="155" creationId="{0151C49D-0FEC-4991-AE36-C226AFFFAC0A}"/>
          </ac:spMkLst>
        </pc:spChg>
        <pc:spChg chg="add del mod ord">
          <ac:chgData name="zur bonsen georg" userId="5444515566c7376a" providerId="LiveId" clId="{18CD7E6B-2C8E-405B-A237-843B9FC9D457}" dt="2022-04-18T07:17:16.052" v="6434" actId="478"/>
          <ac:spMkLst>
            <pc:docMk/>
            <pc:sldMk cId="552021000" sldId="509"/>
            <ac:spMk id="157" creationId="{3011F316-1E8F-43C0-8FE1-D8F13BBB38F2}"/>
          </ac:spMkLst>
        </pc:spChg>
        <pc:spChg chg="add del mod ord">
          <ac:chgData name="zur bonsen georg" userId="5444515566c7376a" providerId="LiveId" clId="{18CD7E6B-2C8E-405B-A237-843B9FC9D457}" dt="2022-04-18T07:11:42.821" v="6228" actId="478"/>
          <ac:spMkLst>
            <pc:docMk/>
            <pc:sldMk cId="552021000" sldId="509"/>
            <ac:spMk id="159" creationId="{7C10FAB5-CD72-47E1-9FAA-395DB1F3D8AE}"/>
          </ac:spMkLst>
        </pc:spChg>
        <pc:spChg chg="add mod ord">
          <ac:chgData name="zur bonsen georg" userId="5444515566c7376a" providerId="LiveId" clId="{18CD7E6B-2C8E-405B-A237-843B9FC9D457}" dt="2022-04-18T07:30:36.868" v="6710" actId="1038"/>
          <ac:spMkLst>
            <pc:docMk/>
            <pc:sldMk cId="552021000" sldId="509"/>
            <ac:spMk id="161" creationId="{5BD9BCD4-C444-47C8-977D-D60BCF7E78F8}"/>
          </ac:spMkLst>
        </pc:spChg>
        <pc:spChg chg="add mod ord">
          <ac:chgData name="zur bonsen georg" userId="5444515566c7376a" providerId="LiveId" clId="{18CD7E6B-2C8E-405B-A237-843B9FC9D457}" dt="2022-04-18T07:30:36.868" v="6710" actId="1038"/>
          <ac:spMkLst>
            <pc:docMk/>
            <pc:sldMk cId="552021000" sldId="509"/>
            <ac:spMk id="162" creationId="{22BF0630-6D7E-495C-A370-9F9EF4EC2639}"/>
          </ac:spMkLst>
        </pc:spChg>
        <pc:spChg chg="add mod ord">
          <ac:chgData name="zur bonsen georg" userId="5444515566c7376a" providerId="LiveId" clId="{18CD7E6B-2C8E-405B-A237-843B9FC9D457}" dt="2022-04-18T07:30:36.868" v="6710" actId="1038"/>
          <ac:spMkLst>
            <pc:docMk/>
            <pc:sldMk cId="552021000" sldId="509"/>
            <ac:spMk id="163" creationId="{B1854B0C-A907-4A76-B768-5F1107F5076D}"/>
          </ac:spMkLst>
        </pc:spChg>
        <pc:spChg chg="add del mod">
          <ac:chgData name="zur bonsen georg" userId="5444515566c7376a" providerId="LiveId" clId="{18CD7E6B-2C8E-405B-A237-843B9FC9D457}" dt="2022-04-18T07:14:34.303" v="6407" actId="478"/>
          <ac:spMkLst>
            <pc:docMk/>
            <pc:sldMk cId="552021000" sldId="509"/>
            <ac:spMk id="164" creationId="{4D48275A-B7A9-46A4-A80A-8C85CB9DFC1F}"/>
          </ac:spMkLst>
        </pc:spChg>
        <pc:spChg chg="add del mod">
          <ac:chgData name="zur bonsen georg" userId="5444515566c7376a" providerId="LiveId" clId="{18CD7E6B-2C8E-405B-A237-843B9FC9D457}" dt="2022-04-18T07:30:40.688" v="6711" actId="478"/>
          <ac:spMkLst>
            <pc:docMk/>
            <pc:sldMk cId="552021000" sldId="509"/>
            <ac:spMk id="166" creationId="{321B45F8-2318-40A9-AC8C-014E243BF560}"/>
          </ac:spMkLst>
        </pc:spChg>
        <pc:spChg chg="add del mod">
          <ac:chgData name="zur bonsen georg" userId="5444515566c7376a" providerId="LiveId" clId="{18CD7E6B-2C8E-405B-A237-843B9FC9D457}" dt="2022-04-18T07:30:40.688" v="6711" actId="478"/>
          <ac:spMkLst>
            <pc:docMk/>
            <pc:sldMk cId="552021000" sldId="509"/>
            <ac:spMk id="167" creationId="{D5F2904A-962B-48F1-9BB7-1AE2C2255D9B}"/>
          </ac:spMkLst>
        </pc:spChg>
        <pc:spChg chg="del">
          <ac:chgData name="zur bonsen georg" userId="5444515566c7376a" providerId="LiveId" clId="{18CD7E6B-2C8E-405B-A237-843B9FC9D457}" dt="2022-04-18T06:07:38.085" v="3406" actId="478"/>
          <ac:spMkLst>
            <pc:docMk/>
            <pc:sldMk cId="552021000" sldId="509"/>
            <ac:spMk id="168" creationId="{D85A19BC-6541-4A5F-8D1F-41C9CD79B326}"/>
          </ac:spMkLst>
        </pc:spChg>
        <pc:spChg chg="add del mod">
          <ac:chgData name="zur bonsen georg" userId="5444515566c7376a" providerId="LiveId" clId="{18CD7E6B-2C8E-405B-A237-843B9FC9D457}" dt="2022-04-18T07:30:40.688" v="6711" actId="478"/>
          <ac:spMkLst>
            <pc:docMk/>
            <pc:sldMk cId="552021000" sldId="509"/>
            <ac:spMk id="170" creationId="{12B54D2E-04E6-461A-A577-498A86E5AFE9}"/>
          </ac:spMkLst>
        </pc:spChg>
        <pc:spChg chg="add del mod">
          <ac:chgData name="zur bonsen georg" userId="5444515566c7376a" providerId="LiveId" clId="{18CD7E6B-2C8E-405B-A237-843B9FC9D457}" dt="2022-04-18T07:30:40.688" v="6711" actId="478"/>
          <ac:spMkLst>
            <pc:docMk/>
            <pc:sldMk cId="552021000" sldId="509"/>
            <ac:spMk id="171" creationId="{B6C91FA8-5108-4E95-8234-D224A5B2EEE8}"/>
          </ac:spMkLst>
        </pc:spChg>
        <pc:spChg chg="add del mod">
          <ac:chgData name="zur bonsen georg" userId="5444515566c7376a" providerId="LiveId" clId="{18CD7E6B-2C8E-405B-A237-843B9FC9D457}" dt="2022-04-18T07:17:13.974" v="6432"/>
          <ac:spMkLst>
            <pc:docMk/>
            <pc:sldMk cId="552021000" sldId="509"/>
            <ac:spMk id="172" creationId="{3937B812-592F-4A0D-B4E8-7F4ECF0992E2}"/>
          </ac:spMkLst>
        </pc:spChg>
        <pc:spChg chg="add del mod">
          <ac:chgData name="zur bonsen georg" userId="5444515566c7376a" providerId="LiveId" clId="{18CD7E6B-2C8E-405B-A237-843B9FC9D457}" dt="2022-04-18T07:17:13.974" v="6432"/>
          <ac:spMkLst>
            <pc:docMk/>
            <pc:sldMk cId="552021000" sldId="509"/>
            <ac:spMk id="173" creationId="{936E013F-0AC4-4D24-83FF-34EC542424AF}"/>
          </ac:spMkLst>
        </pc:spChg>
        <pc:spChg chg="add mod ord">
          <ac:chgData name="zur bonsen georg" userId="5444515566c7376a" providerId="LiveId" clId="{18CD7E6B-2C8E-405B-A237-843B9FC9D457}" dt="2022-04-18T07:30:36.868" v="6710" actId="1038"/>
          <ac:spMkLst>
            <pc:docMk/>
            <pc:sldMk cId="552021000" sldId="509"/>
            <ac:spMk id="174" creationId="{122F2B21-B179-45A5-980B-0331EFDAF2C6}"/>
          </ac:spMkLst>
        </pc:spChg>
        <pc:spChg chg="add mod ord">
          <ac:chgData name="zur bonsen georg" userId="5444515566c7376a" providerId="LiveId" clId="{18CD7E6B-2C8E-405B-A237-843B9FC9D457}" dt="2022-04-18T07:30:36.868" v="6710" actId="1038"/>
          <ac:spMkLst>
            <pc:docMk/>
            <pc:sldMk cId="552021000" sldId="509"/>
            <ac:spMk id="175" creationId="{6B7C39A3-42A5-4AB3-B8D6-F9E86ECE753C}"/>
          </ac:spMkLst>
        </pc:spChg>
        <pc:spChg chg="del">
          <ac:chgData name="zur bonsen georg" userId="5444515566c7376a" providerId="LiveId" clId="{18CD7E6B-2C8E-405B-A237-843B9FC9D457}" dt="2022-04-18T07:24:54.407" v="6461" actId="478"/>
          <ac:spMkLst>
            <pc:docMk/>
            <pc:sldMk cId="552021000" sldId="509"/>
            <ac:spMk id="179" creationId="{38AF722D-27F3-4D5F-B4E0-D6786BD9D459}"/>
          </ac:spMkLst>
        </pc:spChg>
        <pc:spChg chg="del">
          <ac:chgData name="zur bonsen georg" userId="5444515566c7376a" providerId="LiveId" clId="{18CD7E6B-2C8E-405B-A237-843B9FC9D457}" dt="2022-04-18T06:07:38.085" v="3406" actId="478"/>
          <ac:spMkLst>
            <pc:docMk/>
            <pc:sldMk cId="552021000" sldId="509"/>
            <ac:spMk id="180" creationId="{E43B945B-A893-423A-9B7D-2E5BD82266D4}"/>
          </ac:spMkLst>
        </pc:spChg>
        <pc:spChg chg="del">
          <ac:chgData name="zur bonsen georg" userId="5444515566c7376a" providerId="LiveId" clId="{18CD7E6B-2C8E-405B-A237-843B9FC9D457}" dt="2022-04-18T06:07:38.085" v="3406" actId="478"/>
          <ac:spMkLst>
            <pc:docMk/>
            <pc:sldMk cId="552021000" sldId="509"/>
            <ac:spMk id="181" creationId="{910DEE03-A1B8-4295-B1D4-6154C7D14CB2}"/>
          </ac:spMkLst>
        </pc:spChg>
        <pc:spChg chg="del">
          <ac:chgData name="zur bonsen georg" userId="5444515566c7376a" providerId="LiveId" clId="{18CD7E6B-2C8E-405B-A237-843B9FC9D457}" dt="2022-04-18T06:07:38.085" v="3406" actId="478"/>
          <ac:spMkLst>
            <pc:docMk/>
            <pc:sldMk cId="552021000" sldId="509"/>
            <ac:spMk id="210" creationId="{E1515105-8407-4EC9-8127-25E693F040F6}"/>
          </ac:spMkLst>
        </pc:spChg>
        <pc:spChg chg="del">
          <ac:chgData name="zur bonsen georg" userId="5444515566c7376a" providerId="LiveId" clId="{18CD7E6B-2C8E-405B-A237-843B9FC9D457}" dt="2022-04-18T06:07:38.085" v="3406" actId="478"/>
          <ac:spMkLst>
            <pc:docMk/>
            <pc:sldMk cId="552021000" sldId="509"/>
            <ac:spMk id="211" creationId="{58ADEFC7-FBB4-4B76-B281-6ADA90308C4F}"/>
          </ac:spMkLst>
        </pc:spChg>
        <pc:spChg chg="del">
          <ac:chgData name="zur bonsen georg" userId="5444515566c7376a" providerId="LiveId" clId="{18CD7E6B-2C8E-405B-A237-843B9FC9D457}" dt="2022-04-18T06:07:38.085" v="3406" actId="478"/>
          <ac:spMkLst>
            <pc:docMk/>
            <pc:sldMk cId="552021000" sldId="509"/>
            <ac:spMk id="212" creationId="{D097D94D-08E5-4308-AED2-B01F44B94A69}"/>
          </ac:spMkLst>
        </pc:spChg>
        <pc:spChg chg="del">
          <ac:chgData name="zur bonsen georg" userId="5444515566c7376a" providerId="LiveId" clId="{18CD7E6B-2C8E-405B-A237-843B9FC9D457}" dt="2022-04-18T06:07:38.085" v="3406" actId="478"/>
          <ac:spMkLst>
            <pc:docMk/>
            <pc:sldMk cId="552021000" sldId="509"/>
            <ac:spMk id="213" creationId="{A027EED1-3F42-4882-8342-7E4CFF3BBB24}"/>
          </ac:spMkLst>
        </pc:spChg>
        <pc:picChg chg="del">
          <ac:chgData name="zur bonsen georg" userId="5444515566c7376a" providerId="LiveId" clId="{18CD7E6B-2C8E-405B-A237-843B9FC9D457}" dt="2022-04-18T07:21:23.001" v="6458" actId="21"/>
          <ac:picMkLst>
            <pc:docMk/>
            <pc:sldMk cId="552021000" sldId="509"/>
            <ac:picMk id="12" creationId="{333081D6-1A57-43D4-9363-C1D8B8BA8A36}"/>
          </ac:picMkLst>
        </pc:picChg>
        <pc:cxnChg chg="add del mod">
          <ac:chgData name="zur bonsen georg" userId="5444515566c7376a" providerId="LiveId" clId="{18CD7E6B-2C8E-405B-A237-843B9FC9D457}" dt="2022-04-18T07:04:57.375" v="6176" actId="478"/>
          <ac:cxnSpMkLst>
            <pc:docMk/>
            <pc:sldMk cId="552021000" sldId="509"/>
            <ac:cxnSpMk id="6" creationId="{5C539975-CDA2-4631-92D2-375E6A1DBBDC}"/>
          </ac:cxnSpMkLst>
        </pc:cxnChg>
        <pc:cxnChg chg="add del">
          <ac:chgData name="zur bonsen georg" userId="5444515566c7376a" providerId="LiveId" clId="{18CD7E6B-2C8E-405B-A237-843B9FC9D457}" dt="2022-04-18T07:18:29.152" v="6455" actId="478"/>
          <ac:cxnSpMkLst>
            <pc:docMk/>
            <pc:sldMk cId="552021000" sldId="509"/>
            <ac:cxnSpMk id="9" creationId="{235638B4-324C-42C8-B676-0887ED60D874}"/>
          </ac:cxnSpMkLst>
        </pc:cxnChg>
        <pc:cxnChg chg="add del">
          <ac:chgData name="zur bonsen georg" userId="5444515566c7376a" providerId="LiveId" clId="{18CD7E6B-2C8E-405B-A237-843B9FC9D457}" dt="2022-04-18T07:30:40.688" v="6711" actId="478"/>
          <ac:cxnSpMkLst>
            <pc:docMk/>
            <pc:sldMk cId="552021000" sldId="509"/>
            <ac:cxnSpMk id="11" creationId="{88EEAF90-602A-40DA-93B6-4C6DEF63B379}"/>
          </ac:cxnSpMkLst>
        </pc:cxnChg>
        <pc:cxnChg chg="del">
          <ac:chgData name="zur bonsen georg" userId="5444515566c7376a" providerId="LiveId" clId="{18CD7E6B-2C8E-405B-A237-843B9FC9D457}" dt="2022-04-18T06:07:38.085" v="3406" actId="478"/>
          <ac:cxnSpMkLst>
            <pc:docMk/>
            <pc:sldMk cId="552021000" sldId="509"/>
            <ac:cxnSpMk id="59" creationId="{AF61FCA3-65F3-40C8-822C-E107E29A282C}"/>
          </ac:cxnSpMkLst>
        </pc:cxnChg>
        <pc:cxnChg chg="del">
          <ac:chgData name="zur bonsen georg" userId="5444515566c7376a" providerId="LiveId" clId="{18CD7E6B-2C8E-405B-A237-843B9FC9D457}" dt="2022-04-18T06:07:38.085" v="3406" actId="478"/>
          <ac:cxnSpMkLst>
            <pc:docMk/>
            <pc:sldMk cId="552021000" sldId="509"/>
            <ac:cxnSpMk id="61" creationId="{C430D2CC-2AA6-4E4D-9838-C7CFA7BD9803}"/>
          </ac:cxnSpMkLst>
        </pc:cxnChg>
        <pc:cxnChg chg="del">
          <ac:chgData name="zur bonsen georg" userId="5444515566c7376a" providerId="LiveId" clId="{18CD7E6B-2C8E-405B-A237-843B9FC9D457}" dt="2022-04-18T06:07:38.085" v="3406" actId="478"/>
          <ac:cxnSpMkLst>
            <pc:docMk/>
            <pc:sldMk cId="552021000" sldId="509"/>
            <ac:cxnSpMk id="114" creationId="{DC2FC9AC-EC14-43A0-AB3C-158A9F3C0158}"/>
          </ac:cxnSpMkLst>
        </pc:cxnChg>
        <pc:cxnChg chg="del">
          <ac:chgData name="zur bonsen georg" userId="5444515566c7376a" providerId="LiveId" clId="{18CD7E6B-2C8E-405B-A237-843B9FC9D457}" dt="2022-04-18T06:07:38.085" v="3406" actId="478"/>
          <ac:cxnSpMkLst>
            <pc:docMk/>
            <pc:sldMk cId="552021000" sldId="509"/>
            <ac:cxnSpMk id="124" creationId="{81E93DEE-B453-4DF5-94E8-73BF4C0D46DA}"/>
          </ac:cxnSpMkLst>
        </pc:cxnChg>
        <pc:cxnChg chg="del">
          <ac:chgData name="zur bonsen georg" userId="5444515566c7376a" providerId="LiveId" clId="{18CD7E6B-2C8E-405B-A237-843B9FC9D457}" dt="2022-04-18T06:07:38.085" v="3406" actId="478"/>
          <ac:cxnSpMkLst>
            <pc:docMk/>
            <pc:sldMk cId="552021000" sldId="509"/>
            <ac:cxnSpMk id="125" creationId="{BC697433-001F-4FF9-8D1D-480698A09F57}"/>
          </ac:cxnSpMkLst>
        </pc:cxnChg>
        <pc:cxnChg chg="del">
          <ac:chgData name="zur bonsen georg" userId="5444515566c7376a" providerId="LiveId" clId="{18CD7E6B-2C8E-405B-A237-843B9FC9D457}" dt="2022-04-18T06:07:38.085" v="3406" actId="478"/>
          <ac:cxnSpMkLst>
            <pc:docMk/>
            <pc:sldMk cId="552021000" sldId="509"/>
            <ac:cxnSpMk id="127" creationId="{0DCEEC31-45D2-4933-BB48-F678476B1889}"/>
          </ac:cxnSpMkLst>
        </pc:cxnChg>
        <pc:cxnChg chg="del">
          <ac:chgData name="zur bonsen georg" userId="5444515566c7376a" providerId="LiveId" clId="{18CD7E6B-2C8E-405B-A237-843B9FC9D457}" dt="2022-04-18T06:07:38.085" v="3406" actId="478"/>
          <ac:cxnSpMkLst>
            <pc:docMk/>
            <pc:sldMk cId="552021000" sldId="509"/>
            <ac:cxnSpMk id="129" creationId="{C75B3B39-4AEA-48D6-81E0-B1358B326DB5}"/>
          </ac:cxnSpMkLst>
        </pc:cxnChg>
        <pc:cxnChg chg="del">
          <ac:chgData name="zur bonsen georg" userId="5444515566c7376a" providerId="LiveId" clId="{18CD7E6B-2C8E-405B-A237-843B9FC9D457}" dt="2022-04-18T06:07:38.085" v="3406" actId="478"/>
          <ac:cxnSpMkLst>
            <pc:docMk/>
            <pc:sldMk cId="552021000" sldId="509"/>
            <ac:cxnSpMk id="132" creationId="{4F4A6C18-B7F9-4A7C-AA45-B0C3B134EAEA}"/>
          </ac:cxnSpMkLst>
        </pc:cxnChg>
        <pc:cxnChg chg="del">
          <ac:chgData name="zur bonsen georg" userId="5444515566c7376a" providerId="LiveId" clId="{18CD7E6B-2C8E-405B-A237-843B9FC9D457}" dt="2022-04-18T06:07:38.085" v="3406" actId="478"/>
          <ac:cxnSpMkLst>
            <pc:docMk/>
            <pc:sldMk cId="552021000" sldId="509"/>
            <ac:cxnSpMk id="133" creationId="{6FDBC69C-7FF3-499E-9AC2-8DE923A74EAE}"/>
          </ac:cxnSpMkLst>
        </pc:cxnChg>
        <pc:cxnChg chg="del">
          <ac:chgData name="zur bonsen georg" userId="5444515566c7376a" providerId="LiveId" clId="{18CD7E6B-2C8E-405B-A237-843B9FC9D457}" dt="2022-04-18T06:07:38.085" v="3406" actId="478"/>
          <ac:cxnSpMkLst>
            <pc:docMk/>
            <pc:sldMk cId="552021000" sldId="509"/>
            <ac:cxnSpMk id="134" creationId="{630AC9E0-0A12-4266-939B-B4B096667E0F}"/>
          </ac:cxnSpMkLst>
        </pc:cxnChg>
        <pc:cxnChg chg="del">
          <ac:chgData name="zur bonsen georg" userId="5444515566c7376a" providerId="LiveId" clId="{18CD7E6B-2C8E-405B-A237-843B9FC9D457}" dt="2022-04-18T06:07:38.085" v="3406" actId="478"/>
          <ac:cxnSpMkLst>
            <pc:docMk/>
            <pc:sldMk cId="552021000" sldId="509"/>
            <ac:cxnSpMk id="135" creationId="{D7A90912-280E-4192-849B-F6F1E70B37CF}"/>
          </ac:cxnSpMkLst>
        </pc:cxnChg>
        <pc:cxnChg chg="del mod">
          <ac:chgData name="zur bonsen georg" userId="5444515566c7376a" providerId="LiveId" clId="{18CD7E6B-2C8E-405B-A237-843B9FC9D457}" dt="2022-04-18T06:07:38.085" v="3406" actId="478"/>
          <ac:cxnSpMkLst>
            <pc:docMk/>
            <pc:sldMk cId="552021000" sldId="509"/>
            <ac:cxnSpMk id="152" creationId="{BEA02FC8-3441-4539-857C-F7D97D5F1FF5}"/>
          </ac:cxnSpMkLst>
        </pc:cxnChg>
        <pc:cxnChg chg="del">
          <ac:chgData name="zur bonsen georg" userId="5444515566c7376a" providerId="LiveId" clId="{18CD7E6B-2C8E-405B-A237-843B9FC9D457}" dt="2022-04-18T06:07:38.085" v="3406" actId="478"/>
          <ac:cxnSpMkLst>
            <pc:docMk/>
            <pc:sldMk cId="552021000" sldId="509"/>
            <ac:cxnSpMk id="154" creationId="{08C86592-80E2-4833-AD2E-01CFE9AF5FBA}"/>
          </ac:cxnSpMkLst>
        </pc:cxnChg>
        <pc:cxnChg chg="del">
          <ac:chgData name="zur bonsen georg" userId="5444515566c7376a" providerId="LiveId" clId="{18CD7E6B-2C8E-405B-A237-843B9FC9D457}" dt="2022-04-18T06:07:38.085" v="3406" actId="478"/>
          <ac:cxnSpMkLst>
            <pc:docMk/>
            <pc:sldMk cId="552021000" sldId="509"/>
            <ac:cxnSpMk id="156" creationId="{BE5E2061-CEE8-4D61-8B48-B85681B18D44}"/>
          </ac:cxnSpMkLst>
        </pc:cxnChg>
        <pc:cxnChg chg="del">
          <ac:chgData name="zur bonsen georg" userId="5444515566c7376a" providerId="LiveId" clId="{18CD7E6B-2C8E-405B-A237-843B9FC9D457}" dt="2022-04-18T06:07:38.085" v="3406" actId="478"/>
          <ac:cxnSpMkLst>
            <pc:docMk/>
            <pc:sldMk cId="552021000" sldId="509"/>
            <ac:cxnSpMk id="158" creationId="{F21BC139-4871-4358-A19E-ED39FBA51B8D}"/>
          </ac:cxnSpMkLst>
        </pc:cxnChg>
        <pc:cxnChg chg="del">
          <ac:chgData name="zur bonsen georg" userId="5444515566c7376a" providerId="LiveId" clId="{18CD7E6B-2C8E-405B-A237-843B9FC9D457}" dt="2022-04-18T06:07:38.085" v="3406" actId="478"/>
          <ac:cxnSpMkLst>
            <pc:docMk/>
            <pc:sldMk cId="552021000" sldId="509"/>
            <ac:cxnSpMk id="160" creationId="{3276C4E3-2922-4070-8BA3-0D7330844793}"/>
          </ac:cxnSpMkLst>
        </pc:cxnChg>
        <pc:cxnChg chg="del">
          <ac:chgData name="zur bonsen georg" userId="5444515566c7376a" providerId="LiveId" clId="{18CD7E6B-2C8E-405B-A237-843B9FC9D457}" dt="2022-04-18T06:07:38.085" v="3406" actId="478"/>
          <ac:cxnSpMkLst>
            <pc:docMk/>
            <pc:sldMk cId="552021000" sldId="509"/>
            <ac:cxnSpMk id="165" creationId="{BDD84929-517E-446E-A428-F6CDBF6B5344}"/>
          </ac:cxnSpMkLst>
        </pc:cxnChg>
        <pc:cxnChg chg="del">
          <ac:chgData name="zur bonsen georg" userId="5444515566c7376a" providerId="LiveId" clId="{18CD7E6B-2C8E-405B-A237-843B9FC9D457}" dt="2022-04-18T06:07:38.085" v="3406" actId="478"/>
          <ac:cxnSpMkLst>
            <pc:docMk/>
            <pc:sldMk cId="552021000" sldId="509"/>
            <ac:cxnSpMk id="169" creationId="{2EF7A6D4-5BC6-46C3-922B-155F954DD878}"/>
          </ac:cxnSpMkLst>
        </pc:cxnChg>
        <pc:cxnChg chg="del">
          <ac:chgData name="zur bonsen georg" userId="5444515566c7376a" providerId="LiveId" clId="{18CD7E6B-2C8E-405B-A237-843B9FC9D457}" dt="2022-04-18T06:07:38.085" v="3406" actId="478"/>
          <ac:cxnSpMkLst>
            <pc:docMk/>
            <pc:sldMk cId="552021000" sldId="509"/>
            <ac:cxnSpMk id="177" creationId="{C577E9DB-630A-43F4-A69C-E9F525B66CA8}"/>
          </ac:cxnSpMkLst>
        </pc:cxnChg>
        <pc:cxnChg chg="del">
          <ac:chgData name="zur bonsen georg" userId="5444515566c7376a" providerId="LiveId" clId="{18CD7E6B-2C8E-405B-A237-843B9FC9D457}" dt="2022-04-18T06:07:38.085" v="3406" actId="478"/>
          <ac:cxnSpMkLst>
            <pc:docMk/>
            <pc:sldMk cId="552021000" sldId="509"/>
            <ac:cxnSpMk id="185" creationId="{64A962DC-8323-4AC9-95A4-4A33DE234132}"/>
          </ac:cxnSpMkLst>
        </pc:cxnChg>
        <pc:cxnChg chg="del">
          <ac:chgData name="zur bonsen georg" userId="5444515566c7376a" providerId="LiveId" clId="{18CD7E6B-2C8E-405B-A237-843B9FC9D457}" dt="2022-04-18T06:07:38.085" v="3406" actId="478"/>
          <ac:cxnSpMkLst>
            <pc:docMk/>
            <pc:sldMk cId="552021000" sldId="509"/>
            <ac:cxnSpMk id="191" creationId="{E4EB1583-7CE0-4BDB-925A-E28DB063FA2A}"/>
          </ac:cxnSpMkLst>
        </pc:cxnChg>
        <pc:cxnChg chg="del">
          <ac:chgData name="zur bonsen georg" userId="5444515566c7376a" providerId="LiveId" clId="{18CD7E6B-2C8E-405B-A237-843B9FC9D457}" dt="2022-04-18T06:07:38.085" v="3406" actId="478"/>
          <ac:cxnSpMkLst>
            <pc:docMk/>
            <pc:sldMk cId="552021000" sldId="509"/>
            <ac:cxnSpMk id="197" creationId="{98F933B7-C865-4BE4-8353-B74A62EA369E}"/>
          </ac:cxnSpMkLst>
        </pc:cxnChg>
        <pc:cxnChg chg="del">
          <ac:chgData name="zur bonsen georg" userId="5444515566c7376a" providerId="LiveId" clId="{18CD7E6B-2C8E-405B-A237-843B9FC9D457}" dt="2022-04-18T06:07:38.085" v="3406" actId="478"/>
          <ac:cxnSpMkLst>
            <pc:docMk/>
            <pc:sldMk cId="552021000" sldId="509"/>
            <ac:cxnSpMk id="203" creationId="{55D7DB27-69AA-4407-AA7E-D4B7F7E1E04F}"/>
          </ac:cxnSpMkLst>
        </pc:cxnChg>
        <pc:cxnChg chg="del">
          <ac:chgData name="zur bonsen georg" userId="5444515566c7376a" providerId="LiveId" clId="{18CD7E6B-2C8E-405B-A237-843B9FC9D457}" dt="2022-04-18T06:07:38.085" v="3406" actId="478"/>
          <ac:cxnSpMkLst>
            <pc:docMk/>
            <pc:sldMk cId="552021000" sldId="509"/>
            <ac:cxnSpMk id="207" creationId="{253D21A1-7E4B-49C2-AD35-8F2B46E3E1DF}"/>
          </ac:cxnSpMkLst>
        </pc:cxnChg>
        <pc:cxnChg chg="del">
          <ac:chgData name="zur bonsen georg" userId="5444515566c7376a" providerId="LiveId" clId="{18CD7E6B-2C8E-405B-A237-843B9FC9D457}" dt="2022-04-18T06:07:38.085" v="3406" actId="478"/>
          <ac:cxnSpMkLst>
            <pc:docMk/>
            <pc:sldMk cId="552021000" sldId="509"/>
            <ac:cxnSpMk id="208" creationId="{83495546-1FA7-4E39-B7E0-51E9A4997CFA}"/>
          </ac:cxnSpMkLst>
        </pc:cxnChg>
      </pc:sldChg>
      <pc:sldChg chg="addSp delSp modSp add del mod">
        <pc:chgData name="zur bonsen georg" userId="5444515566c7376a" providerId="LiveId" clId="{18CD7E6B-2C8E-405B-A237-843B9FC9D457}" dt="2022-04-18T13:07:24.864" v="7114" actId="47"/>
        <pc:sldMkLst>
          <pc:docMk/>
          <pc:sldMk cId="4220607238" sldId="510"/>
        </pc:sldMkLst>
        <pc:spChg chg="mod">
          <ac:chgData name="zur bonsen georg" userId="5444515566c7376a" providerId="LiveId" clId="{18CD7E6B-2C8E-405B-A237-843B9FC9D457}" dt="2022-04-18T13:06:57.092" v="7110" actId="20577"/>
          <ac:spMkLst>
            <pc:docMk/>
            <pc:sldMk cId="4220607238" sldId="510"/>
            <ac:spMk id="2" creationId="{00000000-0000-0000-0000-000000000000}"/>
          </ac:spMkLst>
        </pc:spChg>
        <pc:spChg chg="del">
          <ac:chgData name="zur bonsen georg" userId="5444515566c7376a" providerId="LiveId" clId="{18CD7E6B-2C8E-405B-A237-843B9FC9D457}" dt="2022-04-18T07:06:02.291" v="6182"/>
          <ac:spMkLst>
            <pc:docMk/>
            <pc:sldMk cId="4220607238" sldId="510"/>
            <ac:spMk id="3" creationId="{86FE369B-291F-45A8-89B4-64E68138EEA5}"/>
          </ac:spMkLst>
        </pc:spChg>
        <pc:spChg chg="del">
          <ac:chgData name="zur bonsen georg" userId="5444515566c7376a" providerId="LiveId" clId="{18CD7E6B-2C8E-405B-A237-843B9FC9D457}" dt="2022-04-18T07:06:02.291" v="6182"/>
          <ac:spMkLst>
            <pc:docMk/>
            <pc:sldMk cId="4220607238" sldId="510"/>
            <ac:spMk id="4" creationId="{1046A89F-E586-4B65-833B-B056A52959D5}"/>
          </ac:spMkLst>
        </pc:spChg>
        <pc:spChg chg="del mod">
          <ac:chgData name="zur bonsen georg" userId="5444515566c7376a" providerId="LiveId" clId="{18CD7E6B-2C8E-405B-A237-843B9FC9D457}" dt="2022-04-18T07:35:37.755" v="6845" actId="478"/>
          <ac:spMkLst>
            <pc:docMk/>
            <pc:sldMk cId="4220607238" sldId="510"/>
            <ac:spMk id="58" creationId="{D8C210A5-F5EF-4821-A905-C2AC5EC6B7F3}"/>
          </ac:spMkLst>
        </pc:spChg>
        <pc:spChg chg="add del mod">
          <ac:chgData name="zur bonsen georg" userId="5444515566c7376a" providerId="LiveId" clId="{18CD7E6B-2C8E-405B-A237-843B9FC9D457}" dt="2022-04-18T07:06:53.333" v="6198" actId="478"/>
          <ac:spMkLst>
            <pc:docMk/>
            <pc:sldMk cId="4220607238" sldId="510"/>
            <ac:spMk id="59" creationId="{560AD3B0-8C9E-4628-950B-F671725C0141}"/>
          </ac:spMkLst>
        </pc:spChg>
        <pc:spChg chg="add del mod">
          <ac:chgData name="zur bonsen georg" userId="5444515566c7376a" providerId="LiveId" clId="{18CD7E6B-2C8E-405B-A237-843B9FC9D457}" dt="2022-04-18T07:06:53.333" v="6198" actId="478"/>
          <ac:spMkLst>
            <pc:docMk/>
            <pc:sldMk cId="4220607238" sldId="510"/>
            <ac:spMk id="60" creationId="{6CCC2926-2D86-4099-88D3-5BD4E122BA6A}"/>
          </ac:spMkLst>
        </pc:spChg>
        <pc:spChg chg="add del mod">
          <ac:chgData name="zur bonsen georg" userId="5444515566c7376a" providerId="LiveId" clId="{18CD7E6B-2C8E-405B-A237-843B9FC9D457}" dt="2022-04-18T07:35:36.183" v="6844" actId="478"/>
          <ac:spMkLst>
            <pc:docMk/>
            <pc:sldMk cId="4220607238" sldId="510"/>
            <ac:spMk id="61" creationId="{131AAD5E-493D-4C5A-814D-3CD4588BBD32}"/>
          </ac:spMkLst>
        </pc:spChg>
        <pc:spChg chg="add del mod">
          <ac:chgData name="zur bonsen georg" userId="5444515566c7376a" providerId="LiveId" clId="{18CD7E6B-2C8E-405B-A237-843B9FC9D457}" dt="2022-04-18T07:06:52.004" v="6197" actId="478"/>
          <ac:spMkLst>
            <pc:docMk/>
            <pc:sldMk cId="4220607238" sldId="510"/>
            <ac:spMk id="62" creationId="{77EA0E5C-8136-4381-A81A-1E39FEC2162A}"/>
          </ac:spMkLst>
        </pc:spChg>
        <pc:spChg chg="del">
          <ac:chgData name="zur bonsen georg" userId="5444515566c7376a" providerId="LiveId" clId="{18CD7E6B-2C8E-405B-A237-843B9FC9D457}" dt="2022-04-18T07:06:02.291" v="6182"/>
          <ac:spMkLst>
            <pc:docMk/>
            <pc:sldMk cId="4220607238" sldId="510"/>
            <ac:spMk id="63" creationId="{59D6DF6A-90B4-4CE3-AF8D-19DBC262DF35}"/>
          </ac:spMkLst>
        </pc:spChg>
        <pc:spChg chg="del">
          <ac:chgData name="zur bonsen georg" userId="5444515566c7376a" providerId="LiveId" clId="{18CD7E6B-2C8E-405B-A237-843B9FC9D457}" dt="2022-04-18T07:06:02.291" v="6182"/>
          <ac:spMkLst>
            <pc:docMk/>
            <pc:sldMk cId="4220607238" sldId="510"/>
            <ac:spMk id="64" creationId="{FA6A6686-7669-4E63-8D4C-551D23F14592}"/>
          </ac:spMkLst>
        </pc:spChg>
        <pc:spChg chg="del">
          <ac:chgData name="zur bonsen georg" userId="5444515566c7376a" providerId="LiveId" clId="{18CD7E6B-2C8E-405B-A237-843B9FC9D457}" dt="2022-04-18T07:06:02.291" v="6182"/>
          <ac:spMkLst>
            <pc:docMk/>
            <pc:sldMk cId="4220607238" sldId="510"/>
            <ac:spMk id="65" creationId="{F024CBB8-422C-44F4-B717-C9DEC68FB0FF}"/>
          </ac:spMkLst>
        </pc:spChg>
        <pc:spChg chg="del">
          <ac:chgData name="zur bonsen georg" userId="5444515566c7376a" providerId="LiveId" clId="{18CD7E6B-2C8E-405B-A237-843B9FC9D457}" dt="2022-04-18T07:05:12.522" v="6178" actId="478"/>
          <ac:spMkLst>
            <pc:docMk/>
            <pc:sldMk cId="4220607238" sldId="510"/>
            <ac:spMk id="66" creationId="{D7C282CA-03E0-432E-90D2-46A21ADDEB6B}"/>
          </ac:spMkLst>
        </pc:spChg>
        <pc:spChg chg="del">
          <ac:chgData name="zur bonsen georg" userId="5444515566c7376a" providerId="LiveId" clId="{18CD7E6B-2C8E-405B-A237-843B9FC9D457}" dt="2022-04-18T07:05:12.522" v="6178" actId="478"/>
          <ac:spMkLst>
            <pc:docMk/>
            <pc:sldMk cId="4220607238" sldId="510"/>
            <ac:spMk id="67" creationId="{6E8CDEE8-8744-46BF-ADBE-5DBFE1910F6C}"/>
          </ac:spMkLst>
        </pc:spChg>
        <pc:spChg chg="del">
          <ac:chgData name="zur bonsen georg" userId="5444515566c7376a" providerId="LiveId" clId="{18CD7E6B-2C8E-405B-A237-843B9FC9D457}" dt="2022-04-18T07:05:16.066" v="6179" actId="478"/>
          <ac:spMkLst>
            <pc:docMk/>
            <pc:sldMk cId="4220607238" sldId="510"/>
            <ac:spMk id="68" creationId="{24EADCBD-36BA-455B-9DA5-C3EA6132198B}"/>
          </ac:spMkLst>
        </pc:spChg>
        <pc:spChg chg="del">
          <ac:chgData name="zur bonsen georg" userId="5444515566c7376a" providerId="LiveId" clId="{18CD7E6B-2C8E-405B-A237-843B9FC9D457}" dt="2022-04-18T07:05:16.066" v="6179" actId="478"/>
          <ac:spMkLst>
            <pc:docMk/>
            <pc:sldMk cId="4220607238" sldId="510"/>
            <ac:spMk id="69" creationId="{7D2C2B39-C74C-421A-972B-4BBF9B6796F3}"/>
          </ac:spMkLst>
        </pc:spChg>
        <pc:spChg chg="del">
          <ac:chgData name="zur bonsen georg" userId="5444515566c7376a" providerId="LiveId" clId="{18CD7E6B-2C8E-405B-A237-843B9FC9D457}" dt="2022-04-18T07:05:16.066" v="6179" actId="478"/>
          <ac:spMkLst>
            <pc:docMk/>
            <pc:sldMk cId="4220607238" sldId="510"/>
            <ac:spMk id="70" creationId="{9B2BE8EB-3FF3-4D8B-98EB-75AE6CE91B7F}"/>
          </ac:spMkLst>
        </pc:spChg>
        <pc:spChg chg="del">
          <ac:chgData name="zur bonsen georg" userId="5444515566c7376a" providerId="LiveId" clId="{18CD7E6B-2C8E-405B-A237-843B9FC9D457}" dt="2022-04-18T07:05:16.066" v="6179" actId="478"/>
          <ac:spMkLst>
            <pc:docMk/>
            <pc:sldMk cId="4220607238" sldId="510"/>
            <ac:spMk id="71" creationId="{E699835E-791E-4EE6-90C5-4F747C440860}"/>
          </ac:spMkLst>
        </pc:spChg>
        <pc:spChg chg="del">
          <ac:chgData name="zur bonsen georg" userId="5444515566c7376a" providerId="LiveId" clId="{18CD7E6B-2C8E-405B-A237-843B9FC9D457}" dt="2022-04-18T07:05:16.066" v="6179" actId="478"/>
          <ac:spMkLst>
            <pc:docMk/>
            <pc:sldMk cId="4220607238" sldId="510"/>
            <ac:spMk id="72" creationId="{3297C2DF-28DE-418C-8B2F-3AA00F6A167D}"/>
          </ac:spMkLst>
        </pc:spChg>
        <pc:spChg chg="del">
          <ac:chgData name="zur bonsen georg" userId="5444515566c7376a" providerId="LiveId" clId="{18CD7E6B-2C8E-405B-A237-843B9FC9D457}" dt="2022-04-18T07:05:16.066" v="6179" actId="478"/>
          <ac:spMkLst>
            <pc:docMk/>
            <pc:sldMk cId="4220607238" sldId="510"/>
            <ac:spMk id="73" creationId="{27ECAD0F-6088-4E3F-A5C6-0A315AC6440A}"/>
          </ac:spMkLst>
        </pc:spChg>
        <pc:spChg chg="del">
          <ac:chgData name="zur bonsen georg" userId="5444515566c7376a" providerId="LiveId" clId="{18CD7E6B-2C8E-405B-A237-843B9FC9D457}" dt="2022-04-18T07:05:16.066" v="6179" actId="478"/>
          <ac:spMkLst>
            <pc:docMk/>
            <pc:sldMk cId="4220607238" sldId="510"/>
            <ac:spMk id="74" creationId="{6650F46B-68FE-467B-A67C-65354DE5EFC8}"/>
          </ac:spMkLst>
        </pc:spChg>
        <pc:spChg chg="del">
          <ac:chgData name="zur bonsen georg" userId="5444515566c7376a" providerId="LiveId" clId="{18CD7E6B-2C8E-405B-A237-843B9FC9D457}" dt="2022-04-18T07:05:16.066" v="6179" actId="478"/>
          <ac:spMkLst>
            <pc:docMk/>
            <pc:sldMk cId="4220607238" sldId="510"/>
            <ac:spMk id="75" creationId="{A1501889-DF3B-413D-8BF2-F9085FFD27A9}"/>
          </ac:spMkLst>
        </pc:spChg>
        <pc:spChg chg="del">
          <ac:chgData name="zur bonsen georg" userId="5444515566c7376a" providerId="LiveId" clId="{18CD7E6B-2C8E-405B-A237-843B9FC9D457}" dt="2022-04-18T07:05:16.066" v="6179" actId="478"/>
          <ac:spMkLst>
            <pc:docMk/>
            <pc:sldMk cId="4220607238" sldId="510"/>
            <ac:spMk id="76" creationId="{C161AAA1-F453-49C0-8095-E72264352C0E}"/>
          </ac:spMkLst>
        </pc:spChg>
        <pc:spChg chg="del">
          <ac:chgData name="zur bonsen georg" userId="5444515566c7376a" providerId="LiveId" clId="{18CD7E6B-2C8E-405B-A237-843B9FC9D457}" dt="2022-04-18T07:05:16.066" v="6179" actId="478"/>
          <ac:spMkLst>
            <pc:docMk/>
            <pc:sldMk cId="4220607238" sldId="510"/>
            <ac:spMk id="77" creationId="{A45AF967-822E-4103-852D-168CE2E5153B}"/>
          </ac:spMkLst>
        </pc:spChg>
        <pc:spChg chg="del">
          <ac:chgData name="zur bonsen georg" userId="5444515566c7376a" providerId="LiveId" clId="{18CD7E6B-2C8E-405B-A237-843B9FC9D457}" dt="2022-04-18T07:05:16.066" v="6179" actId="478"/>
          <ac:spMkLst>
            <pc:docMk/>
            <pc:sldMk cId="4220607238" sldId="510"/>
            <ac:spMk id="78" creationId="{B673E06C-21EA-4533-B3C6-26AF672E1587}"/>
          </ac:spMkLst>
        </pc:spChg>
        <pc:spChg chg="del">
          <ac:chgData name="zur bonsen georg" userId="5444515566c7376a" providerId="LiveId" clId="{18CD7E6B-2C8E-405B-A237-843B9FC9D457}" dt="2022-04-18T07:05:16.066" v="6179" actId="478"/>
          <ac:spMkLst>
            <pc:docMk/>
            <pc:sldMk cId="4220607238" sldId="510"/>
            <ac:spMk id="79" creationId="{8B13D5CF-57EF-457A-9962-ED8814EA3851}"/>
          </ac:spMkLst>
        </pc:spChg>
        <pc:spChg chg="del">
          <ac:chgData name="zur bonsen georg" userId="5444515566c7376a" providerId="LiveId" clId="{18CD7E6B-2C8E-405B-A237-843B9FC9D457}" dt="2022-04-18T07:05:16.066" v="6179" actId="478"/>
          <ac:spMkLst>
            <pc:docMk/>
            <pc:sldMk cId="4220607238" sldId="510"/>
            <ac:spMk id="80" creationId="{C77BE7FB-FA68-43E1-986A-F243BFD806BC}"/>
          </ac:spMkLst>
        </pc:spChg>
        <pc:spChg chg="del">
          <ac:chgData name="zur bonsen georg" userId="5444515566c7376a" providerId="LiveId" clId="{18CD7E6B-2C8E-405B-A237-843B9FC9D457}" dt="2022-04-18T07:05:16.066" v="6179" actId="478"/>
          <ac:spMkLst>
            <pc:docMk/>
            <pc:sldMk cId="4220607238" sldId="510"/>
            <ac:spMk id="81" creationId="{25AB34E7-371E-4C85-B4D8-731F3244EE03}"/>
          </ac:spMkLst>
        </pc:spChg>
        <pc:spChg chg="add del mod">
          <ac:chgData name="zur bonsen georg" userId="5444515566c7376a" providerId="LiveId" clId="{18CD7E6B-2C8E-405B-A237-843B9FC9D457}" dt="2022-04-18T07:06:52.004" v="6197" actId="478"/>
          <ac:spMkLst>
            <pc:docMk/>
            <pc:sldMk cId="4220607238" sldId="510"/>
            <ac:spMk id="82" creationId="{BBCF788B-9FD7-466E-9174-234B028D9D5E}"/>
          </ac:spMkLst>
        </pc:spChg>
        <pc:spChg chg="add del mod">
          <ac:chgData name="zur bonsen georg" userId="5444515566c7376a" providerId="LiveId" clId="{18CD7E6B-2C8E-405B-A237-843B9FC9D457}" dt="2022-04-18T07:35:36.183" v="6844" actId="478"/>
          <ac:spMkLst>
            <pc:docMk/>
            <pc:sldMk cId="4220607238" sldId="510"/>
            <ac:spMk id="83" creationId="{673E8FAB-BE94-4B58-80D1-0B1061A90ECF}"/>
          </ac:spMkLst>
        </pc:spChg>
        <pc:spChg chg="add del mod">
          <ac:chgData name="zur bonsen georg" userId="5444515566c7376a" providerId="LiveId" clId="{18CD7E6B-2C8E-405B-A237-843B9FC9D457}" dt="2022-04-18T07:06:50.486" v="6196" actId="478"/>
          <ac:spMkLst>
            <pc:docMk/>
            <pc:sldMk cId="4220607238" sldId="510"/>
            <ac:spMk id="84" creationId="{37F83997-21ED-4F7C-803C-F0A3D14F6561}"/>
          </ac:spMkLst>
        </pc:spChg>
        <pc:spChg chg="del">
          <ac:chgData name="zur bonsen georg" userId="5444515566c7376a" providerId="LiveId" clId="{18CD7E6B-2C8E-405B-A237-843B9FC9D457}" dt="2022-04-18T07:05:16.066" v="6179" actId="478"/>
          <ac:spMkLst>
            <pc:docMk/>
            <pc:sldMk cId="4220607238" sldId="510"/>
            <ac:spMk id="85" creationId="{F8883378-1B0D-4E32-BBF2-A3D8BBD4621E}"/>
          </ac:spMkLst>
        </pc:spChg>
        <pc:spChg chg="del">
          <ac:chgData name="zur bonsen georg" userId="5444515566c7376a" providerId="LiveId" clId="{18CD7E6B-2C8E-405B-A237-843B9FC9D457}" dt="2022-04-18T07:05:16.066" v="6179" actId="478"/>
          <ac:spMkLst>
            <pc:docMk/>
            <pc:sldMk cId="4220607238" sldId="510"/>
            <ac:spMk id="86" creationId="{BDF35AB9-BEB8-426F-91C3-EE70A8B8E5A7}"/>
          </ac:spMkLst>
        </pc:spChg>
        <pc:spChg chg="del">
          <ac:chgData name="zur bonsen georg" userId="5444515566c7376a" providerId="LiveId" clId="{18CD7E6B-2C8E-405B-A237-843B9FC9D457}" dt="2022-04-18T07:05:16.066" v="6179" actId="478"/>
          <ac:spMkLst>
            <pc:docMk/>
            <pc:sldMk cId="4220607238" sldId="510"/>
            <ac:spMk id="87" creationId="{5F811C55-C066-4D33-A253-5A901D75DDEC}"/>
          </ac:spMkLst>
        </pc:spChg>
        <pc:spChg chg="del">
          <ac:chgData name="zur bonsen georg" userId="5444515566c7376a" providerId="LiveId" clId="{18CD7E6B-2C8E-405B-A237-843B9FC9D457}" dt="2022-04-18T07:05:16.066" v="6179" actId="478"/>
          <ac:spMkLst>
            <pc:docMk/>
            <pc:sldMk cId="4220607238" sldId="510"/>
            <ac:spMk id="88" creationId="{654BC8F4-365C-4AFC-91A5-AC7FE1356F0C}"/>
          </ac:spMkLst>
        </pc:spChg>
        <pc:spChg chg="del">
          <ac:chgData name="zur bonsen georg" userId="5444515566c7376a" providerId="LiveId" clId="{18CD7E6B-2C8E-405B-A237-843B9FC9D457}" dt="2022-04-18T07:06:02.291" v="6182"/>
          <ac:spMkLst>
            <pc:docMk/>
            <pc:sldMk cId="4220607238" sldId="510"/>
            <ac:spMk id="89" creationId="{90BDBA5A-3D0E-47A3-B284-CEF26F60B1B0}"/>
          </ac:spMkLst>
        </pc:spChg>
        <pc:spChg chg="del">
          <ac:chgData name="zur bonsen georg" userId="5444515566c7376a" providerId="LiveId" clId="{18CD7E6B-2C8E-405B-A237-843B9FC9D457}" dt="2022-04-18T07:05:16.066" v="6179" actId="478"/>
          <ac:spMkLst>
            <pc:docMk/>
            <pc:sldMk cId="4220607238" sldId="510"/>
            <ac:spMk id="90" creationId="{43C45C2E-950A-43A4-955E-B7837A1957E5}"/>
          </ac:spMkLst>
        </pc:spChg>
        <pc:spChg chg="del">
          <ac:chgData name="zur bonsen georg" userId="5444515566c7376a" providerId="LiveId" clId="{18CD7E6B-2C8E-405B-A237-843B9FC9D457}" dt="2022-04-18T07:05:16.066" v="6179" actId="478"/>
          <ac:spMkLst>
            <pc:docMk/>
            <pc:sldMk cId="4220607238" sldId="510"/>
            <ac:spMk id="91" creationId="{4B6288E5-5141-4C33-A87C-4BEA2577B312}"/>
          </ac:spMkLst>
        </pc:spChg>
        <pc:spChg chg="add del mod">
          <ac:chgData name="zur bonsen georg" userId="5444515566c7376a" providerId="LiveId" clId="{18CD7E6B-2C8E-405B-A237-843B9FC9D457}" dt="2022-04-18T07:06:50.486" v="6196" actId="478"/>
          <ac:spMkLst>
            <pc:docMk/>
            <pc:sldMk cId="4220607238" sldId="510"/>
            <ac:spMk id="92" creationId="{C1170FD1-E248-461F-ACF3-615910D3A1F5}"/>
          </ac:spMkLst>
        </pc:spChg>
        <pc:spChg chg="add del mod">
          <ac:chgData name="zur bonsen georg" userId="5444515566c7376a" providerId="LiveId" clId="{18CD7E6B-2C8E-405B-A237-843B9FC9D457}" dt="2022-04-18T07:16:44.854" v="6422" actId="478"/>
          <ac:spMkLst>
            <pc:docMk/>
            <pc:sldMk cId="4220607238" sldId="510"/>
            <ac:spMk id="93" creationId="{65F549A5-29AA-4FE2-8B85-6829F1670962}"/>
          </ac:spMkLst>
        </pc:spChg>
        <pc:spChg chg="add del mod">
          <ac:chgData name="zur bonsen georg" userId="5444515566c7376a" providerId="LiveId" clId="{18CD7E6B-2C8E-405B-A237-843B9FC9D457}" dt="2022-04-18T07:06:49.093" v="6195" actId="478"/>
          <ac:spMkLst>
            <pc:docMk/>
            <pc:sldMk cId="4220607238" sldId="510"/>
            <ac:spMk id="94" creationId="{9E99C6BC-24D4-461B-8B0A-7719C7DE6D5F}"/>
          </ac:spMkLst>
        </pc:spChg>
        <pc:spChg chg="del">
          <ac:chgData name="zur bonsen georg" userId="5444515566c7376a" providerId="LiveId" clId="{18CD7E6B-2C8E-405B-A237-843B9FC9D457}" dt="2022-04-18T07:05:16.066" v="6179" actId="478"/>
          <ac:spMkLst>
            <pc:docMk/>
            <pc:sldMk cId="4220607238" sldId="510"/>
            <ac:spMk id="95" creationId="{1876A4DD-C6B9-4911-95AE-A1BDFC478F6E}"/>
          </ac:spMkLst>
        </pc:spChg>
        <pc:spChg chg="del">
          <ac:chgData name="zur bonsen georg" userId="5444515566c7376a" providerId="LiveId" clId="{18CD7E6B-2C8E-405B-A237-843B9FC9D457}" dt="2022-04-18T07:06:02.291" v="6182"/>
          <ac:spMkLst>
            <pc:docMk/>
            <pc:sldMk cId="4220607238" sldId="510"/>
            <ac:spMk id="96" creationId="{24A7322F-FDF6-41F4-A1B5-4739450DDE81}"/>
          </ac:spMkLst>
        </pc:spChg>
        <pc:spChg chg="del">
          <ac:chgData name="zur bonsen georg" userId="5444515566c7376a" providerId="LiveId" clId="{18CD7E6B-2C8E-405B-A237-843B9FC9D457}" dt="2022-04-18T07:05:16.066" v="6179" actId="478"/>
          <ac:spMkLst>
            <pc:docMk/>
            <pc:sldMk cId="4220607238" sldId="510"/>
            <ac:spMk id="97" creationId="{4FA8C883-FC7E-4903-8C53-43AF5E6B216A}"/>
          </ac:spMkLst>
        </pc:spChg>
        <pc:spChg chg="del">
          <ac:chgData name="zur bonsen georg" userId="5444515566c7376a" providerId="LiveId" clId="{18CD7E6B-2C8E-405B-A237-843B9FC9D457}" dt="2022-04-18T07:05:16.066" v="6179" actId="478"/>
          <ac:spMkLst>
            <pc:docMk/>
            <pc:sldMk cId="4220607238" sldId="510"/>
            <ac:spMk id="98" creationId="{CD73203E-F856-4AB1-BD01-006A1C4DA755}"/>
          </ac:spMkLst>
        </pc:spChg>
        <pc:spChg chg="add del mod">
          <ac:chgData name="zur bonsen georg" userId="5444515566c7376a" providerId="LiveId" clId="{18CD7E6B-2C8E-405B-A237-843B9FC9D457}" dt="2022-04-18T07:06:49.093" v="6195" actId="478"/>
          <ac:spMkLst>
            <pc:docMk/>
            <pc:sldMk cId="4220607238" sldId="510"/>
            <ac:spMk id="99" creationId="{5FE28197-D84C-4C3E-A605-37D65EC34E4F}"/>
          </ac:spMkLst>
        </pc:spChg>
        <pc:spChg chg="del">
          <ac:chgData name="zur bonsen georg" userId="5444515566c7376a" providerId="LiveId" clId="{18CD7E6B-2C8E-405B-A237-843B9FC9D457}" dt="2022-04-18T07:05:16.066" v="6179" actId="478"/>
          <ac:spMkLst>
            <pc:docMk/>
            <pc:sldMk cId="4220607238" sldId="510"/>
            <ac:spMk id="100" creationId="{D9E524F6-DEDE-40A9-AAC7-E7013ED2F6F9}"/>
          </ac:spMkLst>
        </pc:spChg>
        <pc:spChg chg="del">
          <ac:chgData name="zur bonsen georg" userId="5444515566c7376a" providerId="LiveId" clId="{18CD7E6B-2C8E-405B-A237-843B9FC9D457}" dt="2022-04-18T07:05:16.066" v="6179" actId="478"/>
          <ac:spMkLst>
            <pc:docMk/>
            <pc:sldMk cId="4220607238" sldId="510"/>
            <ac:spMk id="101" creationId="{B97C9082-A171-4F93-89EE-C286EE6C509C}"/>
          </ac:spMkLst>
        </pc:spChg>
        <pc:spChg chg="del">
          <ac:chgData name="zur bonsen georg" userId="5444515566c7376a" providerId="LiveId" clId="{18CD7E6B-2C8E-405B-A237-843B9FC9D457}" dt="2022-04-18T07:05:16.066" v="6179" actId="478"/>
          <ac:spMkLst>
            <pc:docMk/>
            <pc:sldMk cId="4220607238" sldId="510"/>
            <ac:spMk id="102" creationId="{609712B9-1A6D-42B9-8683-72AA648F7FCE}"/>
          </ac:spMkLst>
        </pc:spChg>
        <pc:spChg chg="del">
          <ac:chgData name="zur bonsen georg" userId="5444515566c7376a" providerId="LiveId" clId="{18CD7E6B-2C8E-405B-A237-843B9FC9D457}" dt="2022-04-18T07:05:16.066" v="6179" actId="478"/>
          <ac:spMkLst>
            <pc:docMk/>
            <pc:sldMk cId="4220607238" sldId="510"/>
            <ac:spMk id="103" creationId="{EAEFE983-4976-4C8B-88F0-B563C8E71F08}"/>
          </ac:spMkLst>
        </pc:spChg>
        <pc:spChg chg="del">
          <ac:chgData name="zur bonsen georg" userId="5444515566c7376a" providerId="LiveId" clId="{18CD7E6B-2C8E-405B-A237-843B9FC9D457}" dt="2022-04-18T07:05:12.522" v="6178" actId="478"/>
          <ac:spMkLst>
            <pc:docMk/>
            <pc:sldMk cId="4220607238" sldId="510"/>
            <ac:spMk id="104" creationId="{BDBFE104-73F4-4BA9-A3EF-E0F1D3D78B3B}"/>
          </ac:spMkLst>
        </pc:spChg>
        <pc:spChg chg="add del mod">
          <ac:chgData name="zur bonsen georg" userId="5444515566c7376a" providerId="LiveId" clId="{18CD7E6B-2C8E-405B-A237-843B9FC9D457}" dt="2022-04-18T07:17:03.249" v="6428" actId="478"/>
          <ac:spMkLst>
            <pc:docMk/>
            <pc:sldMk cId="4220607238" sldId="510"/>
            <ac:spMk id="105" creationId="{D980BB7D-C63A-4AA1-926A-758DE8EF4EDA}"/>
          </ac:spMkLst>
        </pc:spChg>
        <pc:spChg chg="add del mod">
          <ac:chgData name="zur bonsen georg" userId="5444515566c7376a" providerId="LiveId" clId="{18CD7E6B-2C8E-405B-A237-843B9FC9D457}" dt="2022-04-18T07:06:47.356" v="6194" actId="478"/>
          <ac:spMkLst>
            <pc:docMk/>
            <pc:sldMk cId="4220607238" sldId="510"/>
            <ac:spMk id="106" creationId="{7C2A1977-1665-4FEE-9001-A70CEB5AC834}"/>
          </ac:spMkLst>
        </pc:spChg>
        <pc:spChg chg="del">
          <ac:chgData name="zur bonsen georg" userId="5444515566c7376a" providerId="LiveId" clId="{18CD7E6B-2C8E-405B-A237-843B9FC9D457}" dt="2022-04-18T07:06:02.291" v="6182"/>
          <ac:spMkLst>
            <pc:docMk/>
            <pc:sldMk cId="4220607238" sldId="510"/>
            <ac:spMk id="107" creationId="{F826416E-AB9E-4F96-BB8D-2C93727FE696}"/>
          </ac:spMkLst>
        </pc:spChg>
        <pc:spChg chg="del">
          <ac:chgData name="zur bonsen georg" userId="5444515566c7376a" providerId="LiveId" clId="{18CD7E6B-2C8E-405B-A237-843B9FC9D457}" dt="2022-04-18T07:05:12.522" v="6178" actId="478"/>
          <ac:spMkLst>
            <pc:docMk/>
            <pc:sldMk cId="4220607238" sldId="510"/>
            <ac:spMk id="108" creationId="{9E0E2376-6D13-4DDE-9364-CF47A8A51392}"/>
          </ac:spMkLst>
        </pc:spChg>
        <pc:spChg chg="del">
          <ac:chgData name="zur bonsen georg" userId="5444515566c7376a" providerId="LiveId" clId="{18CD7E6B-2C8E-405B-A237-843B9FC9D457}" dt="2022-04-18T07:05:12.522" v="6178" actId="478"/>
          <ac:spMkLst>
            <pc:docMk/>
            <pc:sldMk cId="4220607238" sldId="510"/>
            <ac:spMk id="109" creationId="{D74EEDAB-9C7B-497C-9AE9-2B40C560D2FF}"/>
          </ac:spMkLst>
        </pc:spChg>
        <pc:spChg chg="del">
          <ac:chgData name="zur bonsen georg" userId="5444515566c7376a" providerId="LiveId" clId="{18CD7E6B-2C8E-405B-A237-843B9FC9D457}" dt="2022-04-18T07:05:12.522" v="6178" actId="478"/>
          <ac:spMkLst>
            <pc:docMk/>
            <pc:sldMk cId="4220607238" sldId="510"/>
            <ac:spMk id="110" creationId="{CB9C0CD7-0523-4FC2-BAC1-403F4784D435}"/>
          </ac:spMkLst>
        </pc:spChg>
        <pc:spChg chg="del">
          <ac:chgData name="zur bonsen georg" userId="5444515566c7376a" providerId="LiveId" clId="{18CD7E6B-2C8E-405B-A237-843B9FC9D457}" dt="2022-04-18T07:05:32.489" v="6181" actId="478"/>
          <ac:spMkLst>
            <pc:docMk/>
            <pc:sldMk cId="4220607238" sldId="510"/>
            <ac:spMk id="111" creationId="{46C68534-E818-4A52-BF2A-9F97522765AC}"/>
          </ac:spMkLst>
        </pc:spChg>
        <pc:spChg chg="del">
          <ac:chgData name="zur bonsen georg" userId="5444515566c7376a" providerId="LiveId" clId="{18CD7E6B-2C8E-405B-A237-843B9FC9D457}" dt="2022-04-18T07:05:16.066" v="6179" actId="478"/>
          <ac:spMkLst>
            <pc:docMk/>
            <pc:sldMk cId="4220607238" sldId="510"/>
            <ac:spMk id="112" creationId="{1653CB6D-C51F-4D27-A010-85080B6CF3C8}"/>
          </ac:spMkLst>
        </pc:spChg>
        <pc:spChg chg="add del mod">
          <ac:chgData name="zur bonsen georg" userId="5444515566c7376a" providerId="LiveId" clId="{18CD7E6B-2C8E-405B-A237-843B9FC9D457}" dt="2022-04-18T07:06:47.356" v="6194" actId="478"/>
          <ac:spMkLst>
            <pc:docMk/>
            <pc:sldMk cId="4220607238" sldId="510"/>
            <ac:spMk id="113" creationId="{F8439C68-5574-4D5B-A35E-187CC2665D55}"/>
          </ac:spMkLst>
        </pc:spChg>
        <pc:spChg chg="add del mod">
          <ac:chgData name="zur bonsen georg" userId="5444515566c7376a" providerId="LiveId" clId="{18CD7E6B-2C8E-405B-A237-843B9FC9D457}" dt="2022-04-18T07:35:36.183" v="6844" actId="478"/>
          <ac:spMkLst>
            <pc:docMk/>
            <pc:sldMk cId="4220607238" sldId="510"/>
            <ac:spMk id="114" creationId="{E7DAEEE5-58B8-4FD7-8420-93B4F4EB60D4}"/>
          </ac:spMkLst>
        </pc:spChg>
        <pc:spChg chg="del">
          <ac:chgData name="zur bonsen georg" userId="5444515566c7376a" providerId="LiveId" clId="{18CD7E6B-2C8E-405B-A237-843B9FC9D457}" dt="2022-04-18T07:05:16.066" v="6179" actId="478"/>
          <ac:spMkLst>
            <pc:docMk/>
            <pc:sldMk cId="4220607238" sldId="510"/>
            <ac:spMk id="115" creationId="{6EEB48F0-9767-4B6E-8752-5D32AC4B5587}"/>
          </ac:spMkLst>
        </pc:spChg>
        <pc:spChg chg="del">
          <ac:chgData name="zur bonsen georg" userId="5444515566c7376a" providerId="LiveId" clId="{18CD7E6B-2C8E-405B-A237-843B9FC9D457}" dt="2022-04-18T07:05:16.066" v="6179" actId="478"/>
          <ac:spMkLst>
            <pc:docMk/>
            <pc:sldMk cId="4220607238" sldId="510"/>
            <ac:spMk id="116" creationId="{D69C167F-671D-4562-AFB3-E29E0EC84331}"/>
          </ac:spMkLst>
        </pc:spChg>
        <pc:spChg chg="del">
          <ac:chgData name="zur bonsen georg" userId="5444515566c7376a" providerId="LiveId" clId="{18CD7E6B-2C8E-405B-A237-843B9FC9D457}" dt="2022-04-18T07:05:16.066" v="6179" actId="478"/>
          <ac:spMkLst>
            <pc:docMk/>
            <pc:sldMk cId="4220607238" sldId="510"/>
            <ac:spMk id="117" creationId="{C4D49D88-C573-4F51-B773-846CE4C78E56}"/>
          </ac:spMkLst>
        </pc:spChg>
        <pc:spChg chg="add del mod">
          <ac:chgData name="zur bonsen georg" userId="5444515566c7376a" providerId="LiveId" clId="{18CD7E6B-2C8E-405B-A237-843B9FC9D457}" dt="2022-04-18T07:06:45.415" v="6193" actId="478"/>
          <ac:spMkLst>
            <pc:docMk/>
            <pc:sldMk cId="4220607238" sldId="510"/>
            <ac:spMk id="118" creationId="{CAA323EA-BDB7-4A44-9CE4-288731FFFDC9}"/>
          </ac:spMkLst>
        </pc:spChg>
        <pc:spChg chg="del">
          <ac:chgData name="zur bonsen georg" userId="5444515566c7376a" providerId="LiveId" clId="{18CD7E6B-2C8E-405B-A237-843B9FC9D457}" dt="2022-04-18T07:05:16.066" v="6179" actId="478"/>
          <ac:spMkLst>
            <pc:docMk/>
            <pc:sldMk cId="4220607238" sldId="510"/>
            <ac:spMk id="119" creationId="{41F5A948-DB75-479F-B47B-7F08A21026E6}"/>
          </ac:spMkLst>
        </pc:spChg>
        <pc:spChg chg="add del mod">
          <ac:chgData name="zur bonsen georg" userId="5444515566c7376a" providerId="LiveId" clId="{18CD7E6B-2C8E-405B-A237-843B9FC9D457}" dt="2022-04-18T07:06:45.415" v="6193" actId="478"/>
          <ac:spMkLst>
            <pc:docMk/>
            <pc:sldMk cId="4220607238" sldId="510"/>
            <ac:spMk id="120" creationId="{2923AF21-FF94-4710-9E27-526AFF1A13C2}"/>
          </ac:spMkLst>
        </pc:spChg>
        <pc:spChg chg="del">
          <ac:chgData name="zur bonsen georg" userId="5444515566c7376a" providerId="LiveId" clId="{18CD7E6B-2C8E-405B-A237-843B9FC9D457}" dt="2022-04-18T07:05:12.522" v="6178" actId="478"/>
          <ac:spMkLst>
            <pc:docMk/>
            <pc:sldMk cId="4220607238" sldId="510"/>
            <ac:spMk id="121" creationId="{ACC0399D-17F5-4015-863B-0EC1D5A2291E}"/>
          </ac:spMkLst>
        </pc:spChg>
        <pc:spChg chg="del">
          <ac:chgData name="zur bonsen georg" userId="5444515566c7376a" providerId="LiveId" clId="{18CD7E6B-2C8E-405B-A237-843B9FC9D457}" dt="2022-04-18T07:06:02.291" v="6182"/>
          <ac:spMkLst>
            <pc:docMk/>
            <pc:sldMk cId="4220607238" sldId="510"/>
            <ac:spMk id="122" creationId="{E21C2135-4099-490D-B8F0-B1CF2F71C05B}"/>
          </ac:spMkLst>
        </pc:spChg>
        <pc:spChg chg="del">
          <ac:chgData name="zur bonsen georg" userId="5444515566c7376a" providerId="LiveId" clId="{18CD7E6B-2C8E-405B-A237-843B9FC9D457}" dt="2022-04-18T07:06:02.291" v="6182"/>
          <ac:spMkLst>
            <pc:docMk/>
            <pc:sldMk cId="4220607238" sldId="510"/>
            <ac:spMk id="123" creationId="{16F5CE86-CF18-47F5-8E97-AA127F11F262}"/>
          </ac:spMkLst>
        </pc:spChg>
        <pc:spChg chg="add del mod">
          <ac:chgData name="zur bonsen georg" userId="5444515566c7376a" providerId="LiveId" clId="{18CD7E6B-2C8E-405B-A237-843B9FC9D457}" dt="2022-04-18T07:35:36.183" v="6844" actId="478"/>
          <ac:spMkLst>
            <pc:docMk/>
            <pc:sldMk cId="4220607238" sldId="510"/>
            <ac:spMk id="124" creationId="{E519EE81-7A6D-4DAA-A59A-BD5F0E2DD9A9}"/>
          </ac:spMkLst>
        </pc:spChg>
        <pc:spChg chg="add del mod">
          <ac:chgData name="zur bonsen georg" userId="5444515566c7376a" providerId="LiveId" clId="{18CD7E6B-2C8E-405B-A237-843B9FC9D457}" dt="2022-04-18T07:07:01.046" v="6199" actId="478"/>
          <ac:spMkLst>
            <pc:docMk/>
            <pc:sldMk cId="4220607238" sldId="510"/>
            <ac:spMk id="125" creationId="{69028DA1-4D25-44E3-A4CD-1A73E2189D53}"/>
          </ac:spMkLst>
        </pc:spChg>
        <pc:spChg chg="del">
          <ac:chgData name="zur bonsen georg" userId="5444515566c7376a" providerId="LiveId" clId="{18CD7E6B-2C8E-405B-A237-843B9FC9D457}" dt="2022-04-18T07:05:12.522" v="6178" actId="478"/>
          <ac:spMkLst>
            <pc:docMk/>
            <pc:sldMk cId="4220607238" sldId="510"/>
            <ac:spMk id="126" creationId="{CF876EC3-C55E-4ADE-B4B5-52D24FD7AA60}"/>
          </ac:spMkLst>
        </pc:spChg>
        <pc:spChg chg="add del mod">
          <ac:chgData name="zur bonsen georg" userId="5444515566c7376a" providerId="LiveId" clId="{18CD7E6B-2C8E-405B-A237-843B9FC9D457}" dt="2022-04-18T07:06:36.476" v="6189" actId="478"/>
          <ac:spMkLst>
            <pc:docMk/>
            <pc:sldMk cId="4220607238" sldId="510"/>
            <ac:spMk id="127" creationId="{33A81002-1FF0-4733-B8F7-25028A642E1B}"/>
          </ac:spMkLst>
        </pc:spChg>
        <pc:spChg chg="del">
          <ac:chgData name="zur bonsen georg" userId="5444515566c7376a" providerId="LiveId" clId="{18CD7E6B-2C8E-405B-A237-843B9FC9D457}" dt="2022-04-18T07:05:16.066" v="6179" actId="478"/>
          <ac:spMkLst>
            <pc:docMk/>
            <pc:sldMk cId="4220607238" sldId="510"/>
            <ac:spMk id="128" creationId="{28845DD6-129C-49B1-B1FD-BB207A1F423F}"/>
          </ac:spMkLst>
        </pc:spChg>
        <pc:spChg chg="add del mod">
          <ac:chgData name="zur bonsen georg" userId="5444515566c7376a" providerId="LiveId" clId="{18CD7E6B-2C8E-405B-A237-843B9FC9D457}" dt="2022-04-18T07:35:36.183" v="6844" actId="478"/>
          <ac:spMkLst>
            <pc:docMk/>
            <pc:sldMk cId="4220607238" sldId="510"/>
            <ac:spMk id="129" creationId="{8226D38C-ACD0-4900-8D11-5826098E043D}"/>
          </ac:spMkLst>
        </pc:spChg>
        <pc:spChg chg="del">
          <ac:chgData name="zur bonsen georg" userId="5444515566c7376a" providerId="LiveId" clId="{18CD7E6B-2C8E-405B-A237-843B9FC9D457}" dt="2022-04-18T07:06:02.291" v="6182"/>
          <ac:spMkLst>
            <pc:docMk/>
            <pc:sldMk cId="4220607238" sldId="510"/>
            <ac:spMk id="130" creationId="{63D1935B-2F88-4B27-A250-B7A19EB0DD0E}"/>
          </ac:spMkLst>
        </pc:spChg>
        <pc:spChg chg="del">
          <ac:chgData name="zur bonsen georg" userId="5444515566c7376a" providerId="LiveId" clId="{18CD7E6B-2C8E-405B-A237-843B9FC9D457}" dt="2022-04-18T07:05:12.522" v="6178" actId="478"/>
          <ac:spMkLst>
            <pc:docMk/>
            <pc:sldMk cId="4220607238" sldId="510"/>
            <ac:spMk id="131" creationId="{E468455B-7FD0-4EFE-B29D-9815F3D10ADD}"/>
          </ac:spMkLst>
        </pc:spChg>
        <pc:spChg chg="add del mod">
          <ac:chgData name="zur bonsen georg" userId="5444515566c7376a" providerId="LiveId" clId="{18CD7E6B-2C8E-405B-A237-843B9FC9D457}" dt="2022-04-18T07:07:01.046" v="6199" actId="478"/>
          <ac:spMkLst>
            <pc:docMk/>
            <pc:sldMk cId="4220607238" sldId="510"/>
            <ac:spMk id="132" creationId="{8A09FF53-FA88-45DC-99D4-C702C595A73C}"/>
          </ac:spMkLst>
        </pc:spChg>
        <pc:spChg chg="add del mod">
          <ac:chgData name="zur bonsen georg" userId="5444515566c7376a" providerId="LiveId" clId="{18CD7E6B-2C8E-405B-A237-843B9FC9D457}" dt="2022-04-18T07:06:36.476" v="6189" actId="478"/>
          <ac:spMkLst>
            <pc:docMk/>
            <pc:sldMk cId="4220607238" sldId="510"/>
            <ac:spMk id="133" creationId="{0B1399AF-F161-4DD7-A309-E7CA5227DC94}"/>
          </ac:spMkLst>
        </pc:spChg>
        <pc:spChg chg="del mod">
          <ac:chgData name="zur bonsen georg" userId="5444515566c7376a" providerId="LiveId" clId="{18CD7E6B-2C8E-405B-A237-843B9FC9D457}" dt="2022-04-18T07:35:36.183" v="6844" actId="478"/>
          <ac:spMkLst>
            <pc:docMk/>
            <pc:sldMk cId="4220607238" sldId="510"/>
            <ac:spMk id="134" creationId="{592D29B2-9FA3-4252-B0FC-8834EE654D8F}"/>
          </ac:spMkLst>
        </pc:spChg>
        <pc:spChg chg="add del mod">
          <ac:chgData name="zur bonsen georg" userId="5444515566c7376a" providerId="LiveId" clId="{18CD7E6B-2C8E-405B-A237-843B9FC9D457}" dt="2022-04-18T07:06:53.333" v="6198" actId="478"/>
          <ac:spMkLst>
            <pc:docMk/>
            <pc:sldMk cId="4220607238" sldId="510"/>
            <ac:spMk id="135" creationId="{07F09A49-E77C-4FAE-85F7-45E32DA44F46}"/>
          </ac:spMkLst>
        </pc:spChg>
        <pc:spChg chg="add del mod">
          <ac:chgData name="zur bonsen georg" userId="5444515566c7376a" providerId="LiveId" clId="{18CD7E6B-2C8E-405B-A237-843B9FC9D457}" dt="2022-04-18T07:06:52.004" v="6197" actId="478"/>
          <ac:spMkLst>
            <pc:docMk/>
            <pc:sldMk cId="4220607238" sldId="510"/>
            <ac:spMk id="136" creationId="{D056833B-0C90-43BC-A4DC-2E9B44D7F6F1}"/>
          </ac:spMkLst>
        </pc:spChg>
        <pc:spChg chg="add del mod">
          <ac:chgData name="zur bonsen georg" userId="5444515566c7376a" providerId="LiveId" clId="{18CD7E6B-2C8E-405B-A237-843B9FC9D457}" dt="2022-04-18T07:06:50.486" v="6196" actId="478"/>
          <ac:spMkLst>
            <pc:docMk/>
            <pc:sldMk cId="4220607238" sldId="510"/>
            <ac:spMk id="137" creationId="{36FC4D0C-B232-4898-9BDD-6DAB3D8440EA}"/>
          </ac:spMkLst>
        </pc:spChg>
        <pc:spChg chg="add del mod">
          <ac:chgData name="zur bonsen georg" userId="5444515566c7376a" providerId="LiveId" clId="{18CD7E6B-2C8E-405B-A237-843B9FC9D457}" dt="2022-04-18T07:06:49.093" v="6195" actId="478"/>
          <ac:spMkLst>
            <pc:docMk/>
            <pc:sldMk cId="4220607238" sldId="510"/>
            <ac:spMk id="138" creationId="{AA706DB2-1148-48B5-A559-D0C02ADAA5A2}"/>
          </ac:spMkLst>
        </pc:spChg>
        <pc:spChg chg="add del mod">
          <ac:chgData name="zur bonsen georg" userId="5444515566c7376a" providerId="LiveId" clId="{18CD7E6B-2C8E-405B-A237-843B9FC9D457}" dt="2022-04-18T07:06:47.356" v="6194" actId="478"/>
          <ac:spMkLst>
            <pc:docMk/>
            <pc:sldMk cId="4220607238" sldId="510"/>
            <ac:spMk id="139" creationId="{9E69848F-7CC2-4C19-AB46-15281C24AF5E}"/>
          </ac:spMkLst>
        </pc:spChg>
        <pc:spChg chg="add del mod">
          <ac:chgData name="zur bonsen georg" userId="5444515566c7376a" providerId="LiveId" clId="{18CD7E6B-2C8E-405B-A237-843B9FC9D457}" dt="2022-04-18T07:06:45.415" v="6193" actId="478"/>
          <ac:spMkLst>
            <pc:docMk/>
            <pc:sldMk cId="4220607238" sldId="510"/>
            <ac:spMk id="140" creationId="{ED4B7F27-8BD4-4BCB-9D43-0D22F3A1F4E4}"/>
          </ac:spMkLst>
        </pc:spChg>
        <pc:spChg chg="add del mod">
          <ac:chgData name="zur bonsen georg" userId="5444515566c7376a" providerId="LiveId" clId="{18CD7E6B-2C8E-405B-A237-843B9FC9D457}" dt="2022-04-18T07:06:42.419" v="6192" actId="478"/>
          <ac:spMkLst>
            <pc:docMk/>
            <pc:sldMk cId="4220607238" sldId="510"/>
            <ac:spMk id="141" creationId="{6781BCA1-0C6B-4527-A529-491310521B21}"/>
          </ac:spMkLst>
        </pc:spChg>
        <pc:spChg chg="add del mod">
          <ac:chgData name="zur bonsen georg" userId="5444515566c7376a" providerId="LiveId" clId="{18CD7E6B-2C8E-405B-A237-843B9FC9D457}" dt="2022-04-18T07:06:42.419" v="6192" actId="478"/>
          <ac:spMkLst>
            <pc:docMk/>
            <pc:sldMk cId="4220607238" sldId="510"/>
            <ac:spMk id="142" creationId="{9F88BDD0-8CD6-4169-96B4-04DEB6DD682D}"/>
          </ac:spMkLst>
        </pc:spChg>
        <pc:spChg chg="add del mod">
          <ac:chgData name="zur bonsen georg" userId="5444515566c7376a" providerId="LiveId" clId="{18CD7E6B-2C8E-405B-A237-843B9FC9D457}" dt="2022-04-18T07:06:36.476" v="6189" actId="478"/>
          <ac:spMkLst>
            <pc:docMk/>
            <pc:sldMk cId="4220607238" sldId="510"/>
            <ac:spMk id="143" creationId="{25AE7D99-2ECE-4CF7-AC9C-64D48A8CD391}"/>
          </ac:spMkLst>
        </pc:spChg>
        <pc:spChg chg="add del mod">
          <ac:chgData name="zur bonsen georg" userId="5444515566c7376a" providerId="LiveId" clId="{18CD7E6B-2C8E-405B-A237-843B9FC9D457}" dt="2022-04-18T07:06:36.476" v="6189" actId="478"/>
          <ac:spMkLst>
            <pc:docMk/>
            <pc:sldMk cId="4220607238" sldId="510"/>
            <ac:spMk id="144" creationId="{38E97B82-590C-4257-BA08-248A285B1259}"/>
          </ac:spMkLst>
        </pc:spChg>
        <pc:spChg chg="add del mod">
          <ac:chgData name="zur bonsen georg" userId="5444515566c7376a" providerId="LiveId" clId="{18CD7E6B-2C8E-405B-A237-843B9FC9D457}" dt="2022-04-18T07:06:36.476" v="6189" actId="478"/>
          <ac:spMkLst>
            <pc:docMk/>
            <pc:sldMk cId="4220607238" sldId="510"/>
            <ac:spMk id="145" creationId="{FF7DBF71-41BE-422E-88B9-3E9C4C32E7A7}"/>
          </ac:spMkLst>
        </pc:spChg>
        <pc:spChg chg="add del mod">
          <ac:chgData name="zur bonsen georg" userId="5444515566c7376a" providerId="LiveId" clId="{18CD7E6B-2C8E-405B-A237-843B9FC9D457}" dt="2022-04-18T07:06:36.476" v="6189" actId="478"/>
          <ac:spMkLst>
            <pc:docMk/>
            <pc:sldMk cId="4220607238" sldId="510"/>
            <ac:spMk id="146" creationId="{C54D2A64-8B0C-4D5A-8F76-400072AA8A70}"/>
          </ac:spMkLst>
        </pc:spChg>
        <pc:spChg chg="add del mod">
          <ac:chgData name="zur bonsen georg" userId="5444515566c7376a" providerId="LiveId" clId="{18CD7E6B-2C8E-405B-A237-843B9FC9D457}" dt="2022-04-18T07:06:36.476" v="6189" actId="478"/>
          <ac:spMkLst>
            <pc:docMk/>
            <pc:sldMk cId="4220607238" sldId="510"/>
            <ac:spMk id="147" creationId="{4A590ED2-4F28-4F12-9219-141058A408B6}"/>
          </ac:spMkLst>
        </pc:spChg>
        <pc:spChg chg="add del mod">
          <ac:chgData name="zur bonsen georg" userId="5444515566c7376a" providerId="LiveId" clId="{18CD7E6B-2C8E-405B-A237-843B9FC9D457}" dt="2022-04-18T07:06:36.476" v="6189" actId="478"/>
          <ac:spMkLst>
            <pc:docMk/>
            <pc:sldMk cId="4220607238" sldId="510"/>
            <ac:spMk id="148" creationId="{916E3F56-5FDE-492E-9759-6DDD51AA26E7}"/>
          </ac:spMkLst>
        </pc:spChg>
        <pc:spChg chg="add del mod">
          <ac:chgData name="zur bonsen georg" userId="5444515566c7376a" providerId="LiveId" clId="{18CD7E6B-2C8E-405B-A237-843B9FC9D457}" dt="2022-04-18T07:06:36.476" v="6189" actId="478"/>
          <ac:spMkLst>
            <pc:docMk/>
            <pc:sldMk cId="4220607238" sldId="510"/>
            <ac:spMk id="149" creationId="{AA52CD07-AC5E-4DE0-BDF3-7C75E5B06523}"/>
          </ac:spMkLst>
        </pc:spChg>
        <pc:spChg chg="add del mod">
          <ac:chgData name="zur bonsen georg" userId="5444515566c7376a" providerId="LiveId" clId="{18CD7E6B-2C8E-405B-A237-843B9FC9D457}" dt="2022-04-18T07:06:36.476" v="6189" actId="478"/>
          <ac:spMkLst>
            <pc:docMk/>
            <pc:sldMk cId="4220607238" sldId="510"/>
            <ac:spMk id="150" creationId="{DFD6C420-5B70-4309-AB11-A0D2300E5D93}"/>
          </ac:spMkLst>
        </pc:spChg>
        <pc:spChg chg="add del mod">
          <ac:chgData name="zur bonsen georg" userId="5444515566c7376a" providerId="LiveId" clId="{18CD7E6B-2C8E-405B-A237-843B9FC9D457}" dt="2022-04-18T07:06:36.476" v="6189" actId="478"/>
          <ac:spMkLst>
            <pc:docMk/>
            <pc:sldMk cId="4220607238" sldId="510"/>
            <ac:spMk id="151" creationId="{1FB47A4D-DECF-4B8F-863E-4FD49151F8F6}"/>
          </ac:spMkLst>
        </pc:spChg>
        <pc:spChg chg="add del mod">
          <ac:chgData name="zur bonsen georg" userId="5444515566c7376a" providerId="LiveId" clId="{18CD7E6B-2C8E-405B-A237-843B9FC9D457}" dt="2022-04-18T07:06:36.476" v="6189" actId="478"/>
          <ac:spMkLst>
            <pc:docMk/>
            <pc:sldMk cId="4220607238" sldId="510"/>
            <ac:spMk id="152" creationId="{AD77F57C-9A3D-4D68-8F3F-4CCD2E35CDE7}"/>
          </ac:spMkLst>
        </pc:spChg>
        <pc:spChg chg="add del mod">
          <ac:chgData name="zur bonsen georg" userId="5444515566c7376a" providerId="LiveId" clId="{18CD7E6B-2C8E-405B-A237-843B9FC9D457}" dt="2022-04-18T07:06:36.476" v="6189" actId="478"/>
          <ac:spMkLst>
            <pc:docMk/>
            <pc:sldMk cId="4220607238" sldId="510"/>
            <ac:spMk id="153" creationId="{F7E0BFDE-6772-4367-97FF-A559B5B90792}"/>
          </ac:spMkLst>
        </pc:spChg>
        <pc:spChg chg="add del mod">
          <ac:chgData name="zur bonsen georg" userId="5444515566c7376a" providerId="LiveId" clId="{18CD7E6B-2C8E-405B-A237-843B9FC9D457}" dt="2022-04-18T07:35:36.183" v="6844" actId="478"/>
          <ac:spMkLst>
            <pc:docMk/>
            <pc:sldMk cId="4220607238" sldId="510"/>
            <ac:spMk id="154" creationId="{4F57BDB7-B198-4BE9-96AD-7428DD5990A6}"/>
          </ac:spMkLst>
        </pc:spChg>
        <pc:spChg chg="add del mod">
          <ac:chgData name="zur bonsen georg" userId="5444515566c7376a" providerId="LiveId" clId="{18CD7E6B-2C8E-405B-A237-843B9FC9D457}" dt="2022-04-18T07:35:36.183" v="6844" actId="478"/>
          <ac:spMkLst>
            <pc:docMk/>
            <pc:sldMk cId="4220607238" sldId="510"/>
            <ac:spMk id="155" creationId="{C042B73F-AAED-40DF-9747-122F64E4EAEC}"/>
          </ac:spMkLst>
        </pc:spChg>
        <pc:spChg chg="add mod">
          <ac:chgData name="zur bonsen georg" userId="5444515566c7376a" providerId="LiveId" clId="{18CD7E6B-2C8E-405B-A237-843B9FC9D457}" dt="2022-04-18T07:35:44.702" v="6905" actId="1038"/>
          <ac:spMkLst>
            <pc:docMk/>
            <pc:sldMk cId="4220607238" sldId="510"/>
            <ac:spMk id="156" creationId="{8493E1A5-8B26-43CE-A1E6-61FD2E483E6D}"/>
          </ac:spMkLst>
        </pc:spChg>
        <pc:spChg chg="add mod">
          <ac:chgData name="zur bonsen georg" userId="5444515566c7376a" providerId="LiveId" clId="{18CD7E6B-2C8E-405B-A237-843B9FC9D457}" dt="2022-04-18T07:35:44.702" v="6905" actId="1038"/>
          <ac:spMkLst>
            <pc:docMk/>
            <pc:sldMk cId="4220607238" sldId="510"/>
            <ac:spMk id="157" creationId="{2D0FCB26-230E-4691-B54D-B72743856595}"/>
          </ac:spMkLst>
        </pc:spChg>
        <pc:spChg chg="add mod">
          <ac:chgData name="zur bonsen georg" userId="5444515566c7376a" providerId="LiveId" clId="{18CD7E6B-2C8E-405B-A237-843B9FC9D457}" dt="2022-04-18T07:35:44.702" v="6905" actId="1038"/>
          <ac:spMkLst>
            <pc:docMk/>
            <pc:sldMk cId="4220607238" sldId="510"/>
            <ac:spMk id="158" creationId="{9C13A307-FF7C-4BE6-805F-1FDAC9C8408E}"/>
          </ac:spMkLst>
        </pc:spChg>
        <pc:spChg chg="add mod">
          <ac:chgData name="zur bonsen georg" userId="5444515566c7376a" providerId="LiveId" clId="{18CD7E6B-2C8E-405B-A237-843B9FC9D457}" dt="2022-04-18T07:35:44.702" v="6905" actId="1038"/>
          <ac:spMkLst>
            <pc:docMk/>
            <pc:sldMk cId="4220607238" sldId="510"/>
            <ac:spMk id="159" creationId="{7CEDB247-21EE-4DA9-8F76-88C1B43D3DF9}"/>
          </ac:spMkLst>
        </pc:spChg>
        <pc:spChg chg="add mod">
          <ac:chgData name="zur bonsen georg" userId="5444515566c7376a" providerId="LiveId" clId="{18CD7E6B-2C8E-405B-A237-843B9FC9D457}" dt="2022-04-18T07:35:44.702" v="6905" actId="1038"/>
          <ac:spMkLst>
            <pc:docMk/>
            <pc:sldMk cId="4220607238" sldId="510"/>
            <ac:spMk id="160" creationId="{DC303F1B-6CB6-499B-A53D-404771516221}"/>
          </ac:spMkLst>
        </pc:spChg>
        <pc:spChg chg="add mod">
          <ac:chgData name="zur bonsen georg" userId="5444515566c7376a" providerId="LiveId" clId="{18CD7E6B-2C8E-405B-A237-843B9FC9D457}" dt="2022-04-18T07:35:44.702" v="6905" actId="1038"/>
          <ac:spMkLst>
            <pc:docMk/>
            <pc:sldMk cId="4220607238" sldId="510"/>
            <ac:spMk id="161" creationId="{2E1C3BCF-1A07-4EA1-A416-8A223289A649}"/>
          </ac:spMkLst>
        </pc:spChg>
        <pc:spChg chg="add mod">
          <ac:chgData name="zur bonsen georg" userId="5444515566c7376a" providerId="LiveId" clId="{18CD7E6B-2C8E-405B-A237-843B9FC9D457}" dt="2022-04-18T07:35:44.702" v="6905" actId="1038"/>
          <ac:spMkLst>
            <pc:docMk/>
            <pc:sldMk cId="4220607238" sldId="510"/>
            <ac:spMk id="162" creationId="{7CA23823-B9CB-4626-8BA0-C6D268A4D096}"/>
          </ac:spMkLst>
        </pc:spChg>
        <pc:spChg chg="add mod">
          <ac:chgData name="zur bonsen georg" userId="5444515566c7376a" providerId="LiveId" clId="{18CD7E6B-2C8E-405B-A237-843B9FC9D457}" dt="2022-04-18T07:35:44.702" v="6905" actId="1038"/>
          <ac:spMkLst>
            <pc:docMk/>
            <pc:sldMk cId="4220607238" sldId="510"/>
            <ac:spMk id="163" creationId="{29C8BEB1-1888-484C-A7D3-85D07CCE4D85}"/>
          </ac:spMkLst>
        </pc:spChg>
        <pc:spChg chg="add mod">
          <ac:chgData name="zur bonsen georg" userId="5444515566c7376a" providerId="LiveId" clId="{18CD7E6B-2C8E-405B-A237-843B9FC9D457}" dt="2022-04-18T07:35:44.702" v="6905" actId="1038"/>
          <ac:spMkLst>
            <pc:docMk/>
            <pc:sldMk cId="4220607238" sldId="510"/>
            <ac:spMk id="164" creationId="{FCFCFECF-2E05-4835-8E54-3DA7DA413999}"/>
          </ac:spMkLst>
        </pc:spChg>
        <pc:spChg chg="del">
          <ac:chgData name="zur bonsen georg" userId="5444515566c7376a" providerId="LiveId" clId="{18CD7E6B-2C8E-405B-A237-843B9FC9D457}" dt="2022-04-18T07:05:31.464" v="6180" actId="478"/>
          <ac:spMkLst>
            <pc:docMk/>
            <pc:sldMk cId="4220607238" sldId="510"/>
            <ac:spMk id="179" creationId="{38AF722D-27F3-4D5F-B4E0-D6786BD9D459}"/>
          </ac:spMkLst>
        </pc:spChg>
      </pc:sldChg>
      <pc:sldChg chg="delSp modSp add del mod ord">
        <pc:chgData name="zur bonsen georg" userId="5444515566c7376a" providerId="LiveId" clId="{18CD7E6B-2C8E-405B-A237-843B9FC9D457}" dt="2022-04-18T07:17:09.448" v="6430" actId="47"/>
        <pc:sldMkLst>
          <pc:docMk/>
          <pc:sldMk cId="2121871362" sldId="511"/>
        </pc:sldMkLst>
        <pc:spChg chg="del">
          <ac:chgData name="zur bonsen georg" userId="5444515566c7376a" providerId="LiveId" clId="{18CD7E6B-2C8E-405B-A237-843B9FC9D457}" dt="2022-04-18T07:16:12.702" v="6418"/>
          <ac:spMkLst>
            <pc:docMk/>
            <pc:sldMk cId="2121871362" sldId="511"/>
            <ac:spMk id="3" creationId="{86FE369B-291F-45A8-89B4-64E68138EEA5}"/>
          </ac:spMkLst>
        </pc:spChg>
        <pc:spChg chg="del">
          <ac:chgData name="zur bonsen georg" userId="5444515566c7376a" providerId="LiveId" clId="{18CD7E6B-2C8E-405B-A237-843B9FC9D457}" dt="2022-04-18T07:16:12.702" v="6418"/>
          <ac:spMkLst>
            <pc:docMk/>
            <pc:sldMk cId="2121871362" sldId="511"/>
            <ac:spMk id="4" creationId="{1046A89F-E586-4B65-833B-B056A52959D5}"/>
          </ac:spMkLst>
        </pc:spChg>
        <pc:spChg chg="mod">
          <ac:chgData name="zur bonsen georg" userId="5444515566c7376a" providerId="LiveId" clId="{18CD7E6B-2C8E-405B-A237-843B9FC9D457}" dt="2022-04-18T07:16:15.103" v="6419" actId="207"/>
          <ac:spMkLst>
            <pc:docMk/>
            <pc:sldMk cId="2121871362" sldId="511"/>
            <ac:spMk id="58" creationId="{CF38DBF6-E01B-4242-A748-F1DD224310A9}"/>
          </ac:spMkLst>
        </pc:spChg>
        <pc:spChg chg="mod">
          <ac:chgData name="zur bonsen georg" userId="5444515566c7376a" providerId="LiveId" clId="{18CD7E6B-2C8E-405B-A237-843B9FC9D457}" dt="2022-04-18T07:16:15.103" v="6419" actId="207"/>
          <ac:spMkLst>
            <pc:docMk/>
            <pc:sldMk cId="2121871362" sldId="511"/>
            <ac:spMk id="59" creationId="{A3E37A0D-8076-49F4-8572-03F0DDCCBFFD}"/>
          </ac:spMkLst>
        </pc:spChg>
        <pc:spChg chg="mod">
          <ac:chgData name="zur bonsen georg" userId="5444515566c7376a" providerId="LiveId" clId="{18CD7E6B-2C8E-405B-A237-843B9FC9D457}" dt="2022-04-18T07:16:15.103" v="6419" actId="207"/>
          <ac:spMkLst>
            <pc:docMk/>
            <pc:sldMk cId="2121871362" sldId="511"/>
            <ac:spMk id="60" creationId="{627A3F0B-E211-4C6D-9CCB-87FB3BAAB604}"/>
          </ac:spMkLst>
        </pc:spChg>
        <pc:spChg chg="mod">
          <ac:chgData name="zur bonsen georg" userId="5444515566c7376a" providerId="LiveId" clId="{18CD7E6B-2C8E-405B-A237-843B9FC9D457}" dt="2022-04-18T07:16:15.103" v="6419" actId="207"/>
          <ac:spMkLst>
            <pc:docMk/>
            <pc:sldMk cId="2121871362" sldId="511"/>
            <ac:spMk id="61" creationId="{DD88F335-FBDF-49D2-8BF9-70FB2FF3E851}"/>
          </ac:spMkLst>
        </pc:spChg>
        <pc:spChg chg="mod">
          <ac:chgData name="zur bonsen georg" userId="5444515566c7376a" providerId="LiveId" clId="{18CD7E6B-2C8E-405B-A237-843B9FC9D457}" dt="2022-04-18T07:16:15.103" v="6419" actId="207"/>
          <ac:spMkLst>
            <pc:docMk/>
            <pc:sldMk cId="2121871362" sldId="511"/>
            <ac:spMk id="62" creationId="{C0E67101-3987-4810-B614-291DAAE4A47F}"/>
          </ac:spMkLst>
        </pc:spChg>
        <pc:spChg chg="del">
          <ac:chgData name="zur bonsen georg" userId="5444515566c7376a" providerId="LiveId" clId="{18CD7E6B-2C8E-405B-A237-843B9FC9D457}" dt="2022-04-18T07:16:12.702" v="6418"/>
          <ac:spMkLst>
            <pc:docMk/>
            <pc:sldMk cId="2121871362" sldId="511"/>
            <ac:spMk id="63" creationId="{59D6DF6A-90B4-4CE3-AF8D-19DBC262DF35}"/>
          </ac:spMkLst>
        </pc:spChg>
        <pc:spChg chg="del">
          <ac:chgData name="zur bonsen georg" userId="5444515566c7376a" providerId="LiveId" clId="{18CD7E6B-2C8E-405B-A237-843B9FC9D457}" dt="2022-04-18T07:16:12.702" v="6418"/>
          <ac:spMkLst>
            <pc:docMk/>
            <pc:sldMk cId="2121871362" sldId="511"/>
            <ac:spMk id="64" creationId="{FA6A6686-7669-4E63-8D4C-551D23F14592}"/>
          </ac:spMkLst>
        </pc:spChg>
        <pc:spChg chg="del">
          <ac:chgData name="zur bonsen georg" userId="5444515566c7376a" providerId="LiveId" clId="{18CD7E6B-2C8E-405B-A237-843B9FC9D457}" dt="2022-04-18T07:16:12.702" v="6418"/>
          <ac:spMkLst>
            <pc:docMk/>
            <pc:sldMk cId="2121871362" sldId="511"/>
            <ac:spMk id="65" creationId="{F024CBB8-422C-44F4-B717-C9DEC68FB0FF}"/>
          </ac:spMkLst>
        </pc:spChg>
        <pc:spChg chg="del">
          <ac:chgData name="zur bonsen georg" userId="5444515566c7376a" providerId="LiveId" clId="{18CD7E6B-2C8E-405B-A237-843B9FC9D457}" dt="2022-04-18T07:16:02.079" v="6417" actId="478"/>
          <ac:spMkLst>
            <pc:docMk/>
            <pc:sldMk cId="2121871362" sldId="511"/>
            <ac:spMk id="66" creationId="{D7C282CA-03E0-432E-90D2-46A21ADDEB6B}"/>
          </ac:spMkLst>
        </pc:spChg>
        <pc:spChg chg="del">
          <ac:chgData name="zur bonsen georg" userId="5444515566c7376a" providerId="LiveId" clId="{18CD7E6B-2C8E-405B-A237-843B9FC9D457}" dt="2022-04-18T07:16:02.079" v="6417" actId="478"/>
          <ac:spMkLst>
            <pc:docMk/>
            <pc:sldMk cId="2121871362" sldId="511"/>
            <ac:spMk id="67" creationId="{6E8CDEE8-8744-46BF-ADBE-5DBFE1910F6C}"/>
          </ac:spMkLst>
        </pc:spChg>
        <pc:spChg chg="del">
          <ac:chgData name="zur bonsen georg" userId="5444515566c7376a" providerId="LiveId" clId="{18CD7E6B-2C8E-405B-A237-843B9FC9D457}" dt="2022-04-18T07:15:05.608" v="6411" actId="478"/>
          <ac:spMkLst>
            <pc:docMk/>
            <pc:sldMk cId="2121871362" sldId="511"/>
            <ac:spMk id="68" creationId="{24EADCBD-36BA-455B-9DA5-C3EA6132198B}"/>
          </ac:spMkLst>
        </pc:spChg>
        <pc:spChg chg="del">
          <ac:chgData name="zur bonsen georg" userId="5444515566c7376a" providerId="LiveId" clId="{18CD7E6B-2C8E-405B-A237-843B9FC9D457}" dt="2022-04-18T07:15:05.608" v="6411" actId="478"/>
          <ac:spMkLst>
            <pc:docMk/>
            <pc:sldMk cId="2121871362" sldId="511"/>
            <ac:spMk id="69" creationId="{7D2C2B39-C74C-421A-972B-4BBF9B6796F3}"/>
          </ac:spMkLst>
        </pc:spChg>
        <pc:spChg chg="del">
          <ac:chgData name="zur bonsen georg" userId="5444515566c7376a" providerId="LiveId" clId="{18CD7E6B-2C8E-405B-A237-843B9FC9D457}" dt="2022-04-18T07:15:05.608" v="6411" actId="478"/>
          <ac:spMkLst>
            <pc:docMk/>
            <pc:sldMk cId="2121871362" sldId="511"/>
            <ac:spMk id="70" creationId="{9B2BE8EB-3FF3-4D8B-98EB-75AE6CE91B7F}"/>
          </ac:spMkLst>
        </pc:spChg>
        <pc:spChg chg="del">
          <ac:chgData name="zur bonsen georg" userId="5444515566c7376a" providerId="LiveId" clId="{18CD7E6B-2C8E-405B-A237-843B9FC9D457}" dt="2022-04-18T07:15:05.608" v="6411" actId="478"/>
          <ac:spMkLst>
            <pc:docMk/>
            <pc:sldMk cId="2121871362" sldId="511"/>
            <ac:spMk id="71" creationId="{E699835E-791E-4EE6-90C5-4F747C440860}"/>
          </ac:spMkLst>
        </pc:spChg>
        <pc:spChg chg="del">
          <ac:chgData name="zur bonsen georg" userId="5444515566c7376a" providerId="LiveId" clId="{18CD7E6B-2C8E-405B-A237-843B9FC9D457}" dt="2022-04-18T07:15:05.608" v="6411" actId="478"/>
          <ac:spMkLst>
            <pc:docMk/>
            <pc:sldMk cId="2121871362" sldId="511"/>
            <ac:spMk id="72" creationId="{3297C2DF-28DE-418C-8B2F-3AA00F6A167D}"/>
          </ac:spMkLst>
        </pc:spChg>
        <pc:spChg chg="del">
          <ac:chgData name="zur bonsen georg" userId="5444515566c7376a" providerId="LiveId" clId="{18CD7E6B-2C8E-405B-A237-843B9FC9D457}" dt="2022-04-18T07:15:05.608" v="6411" actId="478"/>
          <ac:spMkLst>
            <pc:docMk/>
            <pc:sldMk cId="2121871362" sldId="511"/>
            <ac:spMk id="73" creationId="{27ECAD0F-6088-4E3F-A5C6-0A315AC6440A}"/>
          </ac:spMkLst>
        </pc:spChg>
        <pc:spChg chg="del">
          <ac:chgData name="zur bonsen georg" userId="5444515566c7376a" providerId="LiveId" clId="{18CD7E6B-2C8E-405B-A237-843B9FC9D457}" dt="2022-04-18T07:15:05.608" v="6411" actId="478"/>
          <ac:spMkLst>
            <pc:docMk/>
            <pc:sldMk cId="2121871362" sldId="511"/>
            <ac:spMk id="74" creationId="{6650F46B-68FE-467B-A67C-65354DE5EFC8}"/>
          </ac:spMkLst>
        </pc:spChg>
        <pc:spChg chg="del">
          <ac:chgData name="zur bonsen georg" userId="5444515566c7376a" providerId="LiveId" clId="{18CD7E6B-2C8E-405B-A237-843B9FC9D457}" dt="2022-04-18T07:15:05.608" v="6411" actId="478"/>
          <ac:spMkLst>
            <pc:docMk/>
            <pc:sldMk cId="2121871362" sldId="511"/>
            <ac:spMk id="75" creationId="{A1501889-DF3B-413D-8BF2-F9085FFD27A9}"/>
          </ac:spMkLst>
        </pc:spChg>
        <pc:spChg chg="del">
          <ac:chgData name="zur bonsen georg" userId="5444515566c7376a" providerId="LiveId" clId="{18CD7E6B-2C8E-405B-A237-843B9FC9D457}" dt="2022-04-18T07:15:05.608" v="6411" actId="478"/>
          <ac:spMkLst>
            <pc:docMk/>
            <pc:sldMk cId="2121871362" sldId="511"/>
            <ac:spMk id="76" creationId="{C161AAA1-F453-49C0-8095-E72264352C0E}"/>
          </ac:spMkLst>
        </pc:spChg>
        <pc:spChg chg="del">
          <ac:chgData name="zur bonsen georg" userId="5444515566c7376a" providerId="LiveId" clId="{18CD7E6B-2C8E-405B-A237-843B9FC9D457}" dt="2022-04-18T07:15:05.608" v="6411" actId="478"/>
          <ac:spMkLst>
            <pc:docMk/>
            <pc:sldMk cId="2121871362" sldId="511"/>
            <ac:spMk id="77" creationId="{A45AF967-822E-4103-852D-168CE2E5153B}"/>
          </ac:spMkLst>
        </pc:spChg>
        <pc:spChg chg="del">
          <ac:chgData name="zur bonsen georg" userId="5444515566c7376a" providerId="LiveId" clId="{18CD7E6B-2C8E-405B-A237-843B9FC9D457}" dt="2022-04-18T07:15:05.608" v="6411" actId="478"/>
          <ac:spMkLst>
            <pc:docMk/>
            <pc:sldMk cId="2121871362" sldId="511"/>
            <ac:spMk id="78" creationId="{B673E06C-21EA-4533-B3C6-26AF672E1587}"/>
          </ac:spMkLst>
        </pc:spChg>
        <pc:spChg chg="del">
          <ac:chgData name="zur bonsen georg" userId="5444515566c7376a" providerId="LiveId" clId="{18CD7E6B-2C8E-405B-A237-843B9FC9D457}" dt="2022-04-18T07:15:05.608" v="6411" actId="478"/>
          <ac:spMkLst>
            <pc:docMk/>
            <pc:sldMk cId="2121871362" sldId="511"/>
            <ac:spMk id="79" creationId="{8B13D5CF-57EF-457A-9962-ED8814EA3851}"/>
          </ac:spMkLst>
        </pc:spChg>
        <pc:spChg chg="del">
          <ac:chgData name="zur bonsen georg" userId="5444515566c7376a" providerId="LiveId" clId="{18CD7E6B-2C8E-405B-A237-843B9FC9D457}" dt="2022-04-18T07:15:05.608" v="6411" actId="478"/>
          <ac:spMkLst>
            <pc:docMk/>
            <pc:sldMk cId="2121871362" sldId="511"/>
            <ac:spMk id="80" creationId="{C77BE7FB-FA68-43E1-986A-F243BFD806BC}"/>
          </ac:spMkLst>
        </pc:spChg>
        <pc:spChg chg="del">
          <ac:chgData name="zur bonsen georg" userId="5444515566c7376a" providerId="LiveId" clId="{18CD7E6B-2C8E-405B-A237-843B9FC9D457}" dt="2022-04-18T07:15:05.608" v="6411" actId="478"/>
          <ac:spMkLst>
            <pc:docMk/>
            <pc:sldMk cId="2121871362" sldId="511"/>
            <ac:spMk id="81" creationId="{25AB34E7-371E-4C85-B4D8-731F3244EE03}"/>
          </ac:spMkLst>
        </pc:spChg>
        <pc:spChg chg="mod">
          <ac:chgData name="zur bonsen georg" userId="5444515566c7376a" providerId="LiveId" clId="{18CD7E6B-2C8E-405B-A237-843B9FC9D457}" dt="2022-04-18T07:16:15.103" v="6419" actId="207"/>
          <ac:spMkLst>
            <pc:docMk/>
            <pc:sldMk cId="2121871362" sldId="511"/>
            <ac:spMk id="82" creationId="{59333C49-EEF4-42B0-B836-D98635744F30}"/>
          </ac:spMkLst>
        </pc:spChg>
        <pc:spChg chg="mod">
          <ac:chgData name="zur bonsen georg" userId="5444515566c7376a" providerId="LiveId" clId="{18CD7E6B-2C8E-405B-A237-843B9FC9D457}" dt="2022-04-18T07:16:15.103" v="6419" actId="207"/>
          <ac:spMkLst>
            <pc:docMk/>
            <pc:sldMk cId="2121871362" sldId="511"/>
            <ac:spMk id="83" creationId="{0E737970-3BB7-4F25-A1A5-E5C098B4173F}"/>
          </ac:spMkLst>
        </pc:spChg>
        <pc:spChg chg="mod">
          <ac:chgData name="zur bonsen georg" userId="5444515566c7376a" providerId="LiveId" clId="{18CD7E6B-2C8E-405B-A237-843B9FC9D457}" dt="2022-04-18T07:16:15.103" v="6419" actId="207"/>
          <ac:spMkLst>
            <pc:docMk/>
            <pc:sldMk cId="2121871362" sldId="511"/>
            <ac:spMk id="84" creationId="{0A29EE43-C5C1-49C3-8B93-8F98C3752FAD}"/>
          </ac:spMkLst>
        </pc:spChg>
        <pc:spChg chg="del">
          <ac:chgData name="zur bonsen georg" userId="5444515566c7376a" providerId="LiveId" clId="{18CD7E6B-2C8E-405B-A237-843B9FC9D457}" dt="2022-04-18T07:15:05.608" v="6411" actId="478"/>
          <ac:spMkLst>
            <pc:docMk/>
            <pc:sldMk cId="2121871362" sldId="511"/>
            <ac:spMk id="85" creationId="{F8883378-1B0D-4E32-BBF2-A3D8BBD4621E}"/>
          </ac:spMkLst>
        </pc:spChg>
        <pc:spChg chg="del">
          <ac:chgData name="zur bonsen georg" userId="5444515566c7376a" providerId="LiveId" clId="{18CD7E6B-2C8E-405B-A237-843B9FC9D457}" dt="2022-04-18T07:15:05.608" v="6411" actId="478"/>
          <ac:spMkLst>
            <pc:docMk/>
            <pc:sldMk cId="2121871362" sldId="511"/>
            <ac:spMk id="86" creationId="{BDF35AB9-BEB8-426F-91C3-EE70A8B8E5A7}"/>
          </ac:spMkLst>
        </pc:spChg>
        <pc:spChg chg="del">
          <ac:chgData name="zur bonsen georg" userId="5444515566c7376a" providerId="LiveId" clId="{18CD7E6B-2C8E-405B-A237-843B9FC9D457}" dt="2022-04-18T07:15:05.608" v="6411" actId="478"/>
          <ac:spMkLst>
            <pc:docMk/>
            <pc:sldMk cId="2121871362" sldId="511"/>
            <ac:spMk id="87" creationId="{5F811C55-C066-4D33-A253-5A901D75DDEC}"/>
          </ac:spMkLst>
        </pc:spChg>
        <pc:spChg chg="del">
          <ac:chgData name="zur bonsen georg" userId="5444515566c7376a" providerId="LiveId" clId="{18CD7E6B-2C8E-405B-A237-843B9FC9D457}" dt="2022-04-18T07:15:05.608" v="6411" actId="478"/>
          <ac:spMkLst>
            <pc:docMk/>
            <pc:sldMk cId="2121871362" sldId="511"/>
            <ac:spMk id="88" creationId="{654BC8F4-365C-4AFC-91A5-AC7FE1356F0C}"/>
          </ac:spMkLst>
        </pc:spChg>
        <pc:spChg chg="del mod">
          <ac:chgData name="zur bonsen georg" userId="5444515566c7376a" providerId="LiveId" clId="{18CD7E6B-2C8E-405B-A237-843B9FC9D457}" dt="2022-04-18T07:16:12.702" v="6418"/>
          <ac:spMkLst>
            <pc:docMk/>
            <pc:sldMk cId="2121871362" sldId="511"/>
            <ac:spMk id="89" creationId="{90BDBA5A-3D0E-47A3-B284-CEF26F60B1B0}"/>
          </ac:spMkLst>
        </pc:spChg>
        <pc:spChg chg="del">
          <ac:chgData name="zur bonsen georg" userId="5444515566c7376a" providerId="LiveId" clId="{18CD7E6B-2C8E-405B-A237-843B9FC9D457}" dt="2022-04-18T07:15:05.608" v="6411" actId="478"/>
          <ac:spMkLst>
            <pc:docMk/>
            <pc:sldMk cId="2121871362" sldId="511"/>
            <ac:spMk id="90" creationId="{43C45C2E-950A-43A4-955E-B7837A1957E5}"/>
          </ac:spMkLst>
        </pc:spChg>
        <pc:spChg chg="del">
          <ac:chgData name="zur bonsen georg" userId="5444515566c7376a" providerId="LiveId" clId="{18CD7E6B-2C8E-405B-A237-843B9FC9D457}" dt="2022-04-18T07:15:05.608" v="6411" actId="478"/>
          <ac:spMkLst>
            <pc:docMk/>
            <pc:sldMk cId="2121871362" sldId="511"/>
            <ac:spMk id="91" creationId="{4B6288E5-5141-4C33-A87C-4BEA2577B312}"/>
          </ac:spMkLst>
        </pc:spChg>
        <pc:spChg chg="mod">
          <ac:chgData name="zur bonsen georg" userId="5444515566c7376a" providerId="LiveId" clId="{18CD7E6B-2C8E-405B-A237-843B9FC9D457}" dt="2022-04-18T07:16:15.103" v="6419" actId="207"/>
          <ac:spMkLst>
            <pc:docMk/>
            <pc:sldMk cId="2121871362" sldId="511"/>
            <ac:spMk id="92" creationId="{BA6A8E4F-1865-4810-A934-CD116C5824BA}"/>
          </ac:spMkLst>
        </pc:spChg>
        <pc:spChg chg="mod">
          <ac:chgData name="zur bonsen georg" userId="5444515566c7376a" providerId="LiveId" clId="{18CD7E6B-2C8E-405B-A237-843B9FC9D457}" dt="2022-04-18T07:16:15.103" v="6419" actId="207"/>
          <ac:spMkLst>
            <pc:docMk/>
            <pc:sldMk cId="2121871362" sldId="511"/>
            <ac:spMk id="93" creationId="{A476589A-6C67-4F8A-AE6D-615DC4F051EC}"/>
          </ac:spMkLst>
        </pc:spChg>
        <pc:spChg chg="mod">
          <ac:chgData name="zur bonsen georg" userId="5444515566c7376a" providerId="LiveId" clId="{18CD7E6B-2C8E-405B-A237-843B9FC9D457}" dt="2022-04-18T07:16:15.103" v="6419" actId="207"/>
          <ac:spMkLst>
            <pc:docMk/>
            <pc:sldMk cId="2121871362" sldId="511"/>
            <ac:spMk id="94" creationId="{1BB1B783-4484-4165-9430-B1231B5014CB}"/>
          </ac:spMkLst>
        </pc:spChg>
        <pc:spChg chg="del">
          <ac:chgData name="zur bonsen georg" userId="5444515566c7376a" providerId="LiveId" clId="{18CD7E6B-2C8E-405B-A237-843B9FC9D457}" dt="2022-04-18T07:15:05.608" v="6411" actId="478"/>
          <ac:spMkLst>
            <pc:docMk/>
            <pc:sldMk cId="2121871362" sldId="511"/>
            <ac:spMk id="95" creationId="{1876A4DD-C6B9-4911-95AE-A1BDFC478F6E}"/>
          </ac:spMkLst>
        </pc:spChg>
        <pc:spChg chg="del">
          <ac:chgData name="zur bonsen georg" userId="5444515566c7376a" providerId="LiveId" clId="{18CD7E6B-2C8E-405B-A237-843B9FC9D457}" dt="2022-04-18T07:16:12.702" v="6418"/>
          <ac:spMkLst>
            <pc:docMk/>
            <pc:sldMk cId="2121871362" sldId="511"/>
            <ac:spMk id="96" creationId="{24A7322F-FDF6-41F4-A1B5-4739450DDE81}"/>
          </ac:spMkLst>
        </pc:spChg>
        <pc:spChg chg="del">
          <ac:chgData name="zur bonsen georg" userId="5444515566c7376a" providerId="LiveId" clId="{18CD7E6B-2C8E-405B-A237-843B9FC9D457}" dt="2022-04-18T07:15:05.608" v="6411" actId="478"/>
          <ac:spMkLst>
            <pc:docMk/>
            <pc:sldMk cId="2121871362" sldId="511"/>
            <ac:spMk id="97" creationId="{4FA8C883-FC7E-4903-8C53-43AF5E6B216A}"/>
          </ac:spMkLst>
        </pc:spChg>
        <pc:spChg chg="del">
          <ac:chgData name="zur bonsen georg" userId="5444515566c7376a" providerId="LiveId" clId="{18CD7E6B-2C8E-405B-A237-843B9FC9D457}" dt="2022-04-18T07:15:05.608" v="6411" actId="478"/>
          <ac:spMkLst>
            <pc:docMk/>
            <pc:sldMk cId="2121871362" sldId="511"/>
            <ac:spMk id="98" creationId="{CD73203E-F856-4AB1-BD01-006A1C4DA755}"/>
          </ac:spMkLst>
        </pc:spChg>
        <pc:spChg chg="mod">
          <ac:chgData name="zur bonsen georg" userId="5444515566c7376a" providerId="LiveId" clId="{18CD7E6B-2C8E-405B-A237-843B9FC9D457}" dt="2022-04-18T07:16:15.103" v="6419" actId="207"/>
          <ac:spMkLst>
            <pc:docMk/>
            <pc:sldMk cId="2121871362" sldId="511"/>
            <ac:spMk id="99" creationId="{63821C04-B5CE-459C-960A-ED4732838BA7}"/>
          </ac:spMkLst>
        </pc:spChg>
        <pc:spChg chg="del">
          <ac:chgData name="zur bonsen georg" userId="5444515566c7376a" providerId="LiveId" clId="{18CD7E6B-2C8E-405B-A237-843B9FC9D457}" dt="2022-04-18T07:15:05.608" v="6411" actId="478"/>
          <ac:spMkLst>
            <pc:docMk/>
            <pc:sldMk cId="2121871362" sldId="511"/>
            <ac:spMk id="100" creationId="{D9E524F6-DEDE-40A9-AAC7-E7013ED2F6F9}"/>
          </ac:spMkLst>
        </pc:spChg>
        <pc:spChg chg="del">
          <ac:chgData name="zur bonsen georg" userId="5444515566c7376a" providerId="LiveId" clId="{18CD7E6B-2C8E-405B-A237-843B9FC9D457}" dt="2022-04-18T07:15:05.608" v="6411" actId="478"/>
          <ac:spMkLst>
            <pc:docMk/>
            <pc:sldMk cId="2121871362" sldId="511"/>
            <ac:spMk id="101" creationId="{B97C9082-A171-4F93-89EE-C286EE6C509C}"/>
          </ac:spMkLst>
        </pc:spChg>
        <pc:spChg chg="del">
          <ac:chgData name="zur bonsen georg" userId="5444515566c7376a" providerId="LiveId" clId="{18CD7E6B-2C8E-405B-A237-843B9FC9D457}" dt="2022-04-18T07:15:05.608" v="6411" actId="478"/>
          <ac:spMkLst>
            <pc:docMk/>
            <pc:sldMk cId="2121871362" sldId="511"/>
            <ac:spMk id="102" creationId="{609712B9-1A6D-42B9-8683-72AA648F7FCE}"/>
          </ac:spMkLst>
        </pc:spChg>
        <pc:spChg chg="del">
          <ac:chgData name="zur bonsen georg" userId="5444515566c7376a" providerId="LiveId" clId="{18CD7E6B-2C8E-405B-A237-843B9FC9D457}" dt="2022-04-18T07:15:05.608" v="6411" actId="478"/>
          <ac:spMkLst>
            <pc:docMk/>
            <pc:sldMk cId="2121871362" sldId="511"/>
            <ac:spMk id="103" creationId="{EAEFE983-4976-4C8B-88F0-B563C8E71F08}"/>
          </ac:spMkLst>
        </pc:spChg>
        <pc:spChg chg="del">
          <ac:chgData name="zur bonsen georg" userId="5444515566c7376a" providerId="LiveId" clId="{18CD7E6B-2C8E-405B-A237-843B9FC9D457}" dt="2022-04-18T07:16:02.079" v="6417" actId="478"/>
          <ac:spMkLst>
            <pc:docMk/>
            <pc:sldMk cId="2121871362" sldId="511"/>
            <ac:spMk id="104" creationId="{BDBFE104-73F4-4BA9-A3EF-E0F1D3D78B3B}"/>
          </ac:spMkLst>
        </pc:spChg>
        <pc:spChg chg="mod">
          <ac:chgData name="zur bonsen georg" userId="5444515566c7376a" providerId="LiveId" clId="{18CD7E6B-2C8E-405B-A237-843B9FC9D457}" dt="2022-04-18T07:16:15.103" v="6419" actId="207"/>
          <ac:spMkLst>
            <pc:docMk/>
            <pc:sldMk cId="2121871362" sldId="511"/>
            <ac:spMk id="105" creationId="{F28A269B-76D8-4873-9D9D-A79FDFF241FF}"/>
          </ac:spMkLst>
        </pc:spChg>
        <pc:spChg chg="mod">
          <ac:chgData name="zur bonsen georg" userId="5444515566c7376a" providerId="LiveId" clId="{18CD7E6B-2C8E-405B-A237-843B9FC9D457}" dt="2022-04-18T07:16:15.103" v="6419" actId="207"/>
          <ac:spMkLst>
            <pc:docMk/>
            <pc:sldMk cId="2121871362" sldId="511"/>
            <ac:spMk id="106" creationId="{166950B1-E093-4961-B59D-C5F05AF142CB}"/>
          </ac:spMkLst>
        </pc:spChg>
        <pc:spChg chg="del">
          <ac:chgData name="zur bonsen georg" userId="5444515566c7376a" providerId="LiveId" clId="{18CD7E6B-2C8E-405B-A237-843B9FC9D457}" dt="2022-04-18T07:16:12.702" v="6418"/>
          <ac:spMkLst>
            <pc:docMk/>
            <pc:sldMk cId="2121871362" sldId="511"/>
            <ac:spMk id="107" creationId="{F826416E-AB9E-4F96-BB8D-2C93727FE696}"/>
          </ac:spMkLst>
        </pc:spChg>
        <pc:spChg chg="del">
          <ac:chgData name="zur bonsen georg" userId="5444515566c7376a" providerId="LiveId" clId="{18CD7E6B-2C8E-405B-A237-843B9FC9D457}" dt="2022-04-18T07:16:02.079" v="6417" actId="478"/>
          <ac:spMkLst>
            <pc:docMk/>
            <pc:sldMk cId="2121871362" sldId="511"/>
            <ac:spMk id="108" creationId="{9E0E2376-6D13-4DDE-9364-CF47A8A51392}"/>
          </ac:spMkLst>
        </pc:spChg>
        <pc:spChg chg="del">
          <ac:chgData name="zur bonsen georg" userId="5444515566c7376a" providerId="LiveId" clId="{18CD7E6B-2C8E-405B-A237-843B9FC9D457}" dt="2022-04-18T07:16:02.079" v="6417" actId="478"/>
          <ac:spMkLst>
            <pc:docMk/>
            <pc:sldMk cId="2121871362" sldId="511"/>
            <ac:spMk id="109" creationId="{D74EEDAB-9C7B-497C-9AE9-2B40C560D2FF}"/>
          </ac:spMkLst>
        </pc:spChg>
        <pc:spChg chg="del">
          <ac:chgData name="zur bonsen georg" userId="5444515566c7376a" providerId="LiveId" clId="{18CD7E6B-2C8E-405B-A237-843B9FC9D457}" dt="2022-04-18T07:16:02.079" v="6417" actId="478"/>
          <ac:spMkLst>
            <pc:docMk/>
            <pc:sldMk cId="2121871362" sldId="511"/>
            <ac:spMk id="110" creationId="{CB9C0CD7-0523-4FC2-BAC1-403F4784D435}"/>
          </ac:spMkLst>
        </pc:spChg>
        <pc:spChg chg="del">
          <ac:chgData name="zur bonsen georg" userId="5444515566c7376a" providerId="LiveId" clId="{18CD7E6B-2C8E-405B-A237-843B9FC9D457}" dt="2022-04-18T07:15:05.608" v="6411" actId="478"/>
          <ac:spMkLst>
            <pc:docMk/>
            <pc:sldMk cId="2121871362" sldId="511"/>
            <ac:spMk id="112" creationId="{1653CB6D-C51F-4D27-A010-85080B6CF3C8}"/>
          </ac:spMkLst>
        </pc:spChg>
        <pc:spChg chg="mod">
          <ac:chgData name="zur bonsen georg" userId="5444515566c7376a" providerId="LiveId" clId="{18CD7E6B-2C8E-405B-A237-843B9FC9D457}" dt="2022-04-18T07:16:15.103" v="6419" actId="207"/>
          <ac:spMkLst>
            <pc:docMk/>
            <pc:sldMk cId="2121871362" sldId="511"/>
            <ac:spMk id="113" creationId="{57D5BD9F-710E-4BC3-9894-29D6A8D5486D}"/>
          </ac:spMkLst>
        </pc:spChg>
        <pc:spChg chg="mod">
          <ac:chgData name="zur bonsen georg" userId="5444515566c7376a" providerId="LiveId" clId="{18CD7E6B-2C8E-405B-A237-843B9FC9D457}" dt="2022-04-18T07:16:15.103" v="6419" actId="207"/>
          <ac:spMkLst>
            <pc:docMk/>
            <pc:sldMk cId="2121871362" sldId="511"/>
            <ac:spMk id="114" creationId="{35B34DBC-2418-449F-958F-A4ADDF9776D2}"/>
          </ac:spMkLst>
        </pc:spChg>
        <pc:spChg chg="del">
          <ac:chgData name="zur bonsen georg" userId="5444515566c7376a" providerId="LiveId" clId="{18CD7E6B-2C8E-405B-A237-843B9FC9D457}" dt="2022-04-18T07:15:05.608" v="6411" actId="478"/>
          <ac:spMkLst>
            <pc:docMk/>
            <pc:sldMk cId="2121871362" sldId="511"/>
            <ac:spMk id="115" creationId="{6EEB48F0-9767-4B6E-8752-5D32AC4B5587}"/>
          </ac:spMkLst>
        </pc:spChg>
        <pc:spChg chg="del">
          <ac:chgData name="zur bonsen georg" userId="5444515566c7376a" providerId="LiveId" clId="{18CD7E6B-2C8E-405B-A237-843B9FC9D457}" dt="2022-04-18T07:15:05.608" v="6411" actId="478"/>
          <ac:spMkLst>
            <pc:docMk/>
            <pc:sldMk cId="2121871362" sldId="511"/>
            <ac:spMk id="116" creationId="{D69C167F-671D-4562-AFB3-E29E0EC84331}"/>
          </ac:spMkLst>
        </pc:spChg>
        <pc:spChg chg="del">
          <ac:chgData name="zur bonsen georg" userId="5444515566c7376a" providerId="LiveId" clId="{18CD7E6B-2C8E-405B-A237-843B9FC9D457}" dt="2022-04-18T07:15:05.608" v="6411" actId="478"/>
          <ac:spMkLst>
            <pc:docMk/>
            <pc:sldMk cId="2121871362" sldId="511"/>
            <ac:spMk id="117" creationId="{C4D49D88-C573-4F51-B773-846CE4C78E56}"/>
          </ac:spMkLst>
        </pc:spChg>
        <pc:spChg chg="mod">
          <ac:chgData name="zur bonsen georg" userId="5444515566c7376a" providerId="LiveId" clId="{18CD7E6B-2C8E-405B-A237-843B9FC9D457}" dt="2022-04-18T07:16:15.103" v="6419" actId="207"/>
          <ac:spMkLst>
            <pc:docMk/>
            <pc:sldMk cId="2121871362" sldId="511"/>
            <ac:spMk id="118" creationId="{436A7008-A71A-4BA3-B6BE-18362D665872}"/>
          </ac:spMkLst>
        </pc:spChg>
        <pc:spChg chg="del">
          <ac:chgData name="zur bonsen georg" userId="5444515566c7376a" providerId="LiveId" clId="{18CD7E6B-2C8E-405B-A237-843B9FC9D457}" dt="2022-04-18T07:15:05.608" v="6411" actId="478"/>
          <ac:spMkLst>
            <pc:docMk/>
            <pc:sldMk cId="2121871362" sldId="511"/>
            <ac:spMk id="119" creationId="{41F5A948-DB75-479F-B47B-7F08A21026E6}"/>
          </ac:spMkLst>
        </pc:spChg>
        <pc:spChg chg="mod">
          <ac:chgData name="zur bonsen georg" userId="5444515566c7376a" providerId="LiveId" clId="{18CD7E6B-2C8E-405B-A237-843B9FC9D457}" dt="2022-04-18T07:16:15.103" v="6419" actId="207"/>
          <ac:spMkLst>
            <pc:docMk/>
            <pc:sldMk cId="2121871362" sldId="511"/>
            <ac:spMk id="120" creationId="{FA165834-DA54-43B3-9DE7-12A3300B254C}"/>
          </ac:spMkLst>
        </pc:spChg>
        <pc:spChg chg="del">
          <ac:chgData name="zur bonsen georg" userId="5444515566c7376a" providerId="LiveId" clId="{18CD7E6B-2C8E-405B-A237-843B9FC9D457}" dt="2022-04-18T07:16:02.079" v="6417" actId="478"/>
          <ac:spMkLst>
            <pc:docMk/>
            <pc:sldMk cId="2121871362" sldId="511"/>
            <ac:spMk id="121" creationId="{ACC0399D-17F5-4015-863B-0EC1D5A2291E}"/>
          </ac:spMkLst>
        </pc:spChg>
        <pc:spChg chg="del">
          <ac:chgData name="zur bonsen georg" userId="5444515566c7376a" providerId="LiveId" clId="{18CD7E6B-2C8E-405B-A237-843B9FC9D457}" dt="2022-04-18T07:16:12.702" v="6418"/>
          <ac:spMkLst>
            <pc:docMk/>
            <pc:sldMk cId="2121871362" sldId="511"/>
            <ac:spMk id="122" creationId="{E21C2135-4099-490D-B8F0-B1CF2F71C05B}"/>
          </ac:spMkLst>
        </pc:spChg>
        <pc:spChg chg="del">
          <ac:chgData name="zur bonsen georg" userId="5444515566c7376a" providerId="LiveId" clId="{18CD7E6B-2C8E-405B-A237-843B9FC9D457}" dt="2022-04-18T07:16:12.702" v="6418"/>
          <ac:spMkLst>
            <pc:docMk/>
            <pc:sldMk cId="2121871362" sldId="511"/>
            <ac:spMk id="123" creationId="{16F5CE86-CF18-47F5-8E97-AA127F11F262}"/>
          </ac:spMkLst>
        </pc:spChg>
        <pc:spChg chg="mod">
          <ac:chgData name="zur bonsen georg" userId="5444515566c7376a" providerId="LiveId" clId="{18CD7E6B-2C8E-405B-A237-843B9FC9D457}" dt="2022-04-18T07:16:15.103" v="6419" actId="207"/>
          <ac:spMkLst>
            <pc:docMk/>
            <pc:sldMk cId="2121871362" sldId="511"/>
            <ac:spMk id="124" creationId="{AE476042-D2FE-410B-ADCF-D517E8FEC1EE}"/>
          </ac:spMkLst>
        </pc:spChg>
        <pc:spChg chg="mod">
          <ac:chgData name="zur bonsen georg" userId="5444515566c7376a" providerId="LiveId" clId="{18CD7E6B-2C8E-405B-A237-843B9FC9D457}" dt="2022-04-18T07:16:15.103" v="6419" actId="207"/>
          <ac:spMkLst>
            <pc:docMk/>
            <pc:sldMk cId="2121871362" sldId="511"/>
            <ac:spMk id="125" creationId="{15CA060F-5837-4D31-80B7-D15909EC2C11}"/>
          </ac:spMkLst>
        </pc:spChg>
        <pc:spChg chg="del mod">
          <ac:chgData name="zur bonsen georg" userId="5444515566c7376a" providerId="LiveId" clId="{18CD7E6B-2C8E-405B-A237-843B9FC9D457}" dt="2022-04-18T07:16:02.079" v="6417" actId="478"/>
          <ac:spMkLst>
            <pc:docMk/>
            <pc:sldMk cId="2121871362" sldId="511"/>
            <ac:spMk id="126" creationId="{CF876EC3-C55E-4ADE-B4B5-52D24FD7AA60}"/>
          </ac:spMkLst>
        </pc:spChg>
        <pc:spChg chg="mod">
          <ac:chgData name="zur bonsen georg" userId="5444515566c7376a" providerId="LiveId" clId="{18CD7E6B-2C8E-405B-A237-843B9FC9D457}" dt="2022-04-18T07:16:15.103" v="6419" actId="207"/>
          <ac:spMkLst>
            <pc:docMk/>
            <pc:sldMk cId="2121871362" sldId="511"/>
            <ac:spMk id="127" creationId="{E33C57B2-19D7-4AE0-ADD2-A379C573CEA6}"/>
          </ac:spMkLst>
        </pc:spChg>
        <pc:spChg chg="del">
          <ac:chgData name="zur bonsen georg" userId="5444515566c7376a" providerId="LiveId" clId="{18CD7E6B-2C8E-405B-A237-843B9FC9D457}" dt="2022-04-18T07:15:05.608" v="6411" actId="478"/>
          <ac:spMkLst>
            <pc:docMk/>
            <pc:sldMk cId="2121871362" sldId="511"/>
            <ac:spMk id="128" creationId="{28845DD6-129C-49B1-B1FD-BB207A1F423F}"/>
          </ac:spMkLst>
        </pc:spChg>
        <pc:spChg chg="mod">
          <ac:chgData name="zur bonsen georg" userId="5444515566c7376a" providerId="LiveId" clId="{18CD7E6B-2C8E-405B-A237-843B9FC9D457}" dt="2022-04-18T07:16:15.103" v="6419" actId="207"/>
          <ac:spMkLst>
            <pc:docMk/>
            <pc:sldMk cId="2121871362" sldId="511"/>
            <ac:spMk id="129" creationId="{1CD42276-D8A7-4AAE-99A8-007847383A36}"/>
          </ac:spMkLst>
        </pc:spChg>
        <pc:spChg chg="del">
          <ac:chgData name="zur bonsen georg" userId="5444515566c7376a" providerId="LiveId" clId="{18CD7E6B-2C8E-405B-A237-843B9FC9D457}" dt="2022-04-18T07:16:12.702" v="6418"/>
          <ac:spMkLst>
            <pc:docMk/>
            <pc:sldMk cId="2121871362" sldId="511"/>
            <ac:spMk id="130" creationId="{63D1935B-2F88-4B27-A250-B7A19EB0DD0E}"/>
          </ac:spMkLst>
        </pc:spChg>
        <pc:spChg chg="del mod">
          <ac:chgData name="zur bonsen georg" userId="5444515566c7376a" providerId="LiveId" clId="{18CD7E6B-2C8E-405B-A237-843B9FC9D457}" dt="2022-04-18T07:16:02.079" v="6417" actId="478"/>
          <ac:spMkLst>
            <pc:docMk/>
            <pc:sldMk cId="2121871362" sldId="511"/>
            <ac:spMk id="131" creationId="{E468455B-7FD0-4EFE-B29D-9815F3D10ADD}"/>
          </ac:spMkLst>
        </pc:spChg>
        <pc:spChg chg="mod">
          <ac:chgData name="zur bonsen georg" userId="5444515566c7376a" providerId="LiveId" clId="{18CD7E6B-2C8E-405B-A237-843B9FC9D457}" dt="2022-04-18T07:16:15.103" v="6419" actId="207"/>
          <ac:spMkLst>
            <pc:docMk/>
            <pc:sldMk cId="2121871362" sldId="511"/>
            <ac:spMk id="132" creationId="{E4870832-4308-480A-A3F7-2639467AD9BA}"/>
          </ac:spMkLst>
        </pc:spChg>
        <pc:spChg chg="mod">
          <ac:chgData name="zur bonsen georg" userId="5444515566c7376a" providerId="LiveId" clId="{18CD7E6B-2C8E-405B-A237-843B9FC9D457}" dt="2022-04-18T07:16:15.103" v="6419" actId="207"/>
          <ac:spMkLst>
            <pc:docMk/>
            <pc:sldMk cId="2121871362" sldId="511"/>
            <ac:spMk id="133" creationId="{55C3F75F-EA66-4454-A641-C7890DE1A725}"/>
          </ac:spMkLst>
        </pc:spChg>
        <pc:spChg chg="mod">
          <ac:chgData name="zur bonsen georg" userId="5444515566c7376a" providerId="LiveId" clId="{18CD7E6B-2C8E-405B-A237-843B9FC9D457}" dt="2022-04-18T07:16:15.103" v="6419" actId="207"/>
          <ac:spMkLst>
            <pc:docMk/>
            <pc:sldMk cId="2121871362" sldId="511"/>
            <ac:spMk id="134" creationId="{3A916003-D483-4DC0-BE22-18A6862DE5E2}"/>
          </ac:spMkLst>
        </pc:spChg>
        <pc:spChg chg="mod">
          <ac:chgData name="zur bonsen georg" userId="5444515566c7376a" providerId="LiveId" clId="{18CD7E6B-2C8E-405B-A237-843B9FC9D457}" dt="2022-04-18T07:16:15.103" v="6419" actId="207"/>
          <ac:spMkLst>
            <pc:docMk/>
            <pc:sldMk cId="2121871362" sldId="511"/>
            <ac:spMk id="135" creationId="{456990E0-6F46-457F-985A-A1155474A517}"/>
          </ac:spMkLst>
        </pc:spChg>
        <pc:spChg chg="mod">
          <ac:chgData name="zur bonsen georg" userId="5444515566c7376a" providerId="LiveId" clId="{18CD7E6B-2C8E-405B-A237-843B9FC9D457}" dt="2022-04-18T07:16:15.103" v="6419" actId="207"/>
          <ac:spMkLst>
            <pc:docMk/>
            <pc:sldMk cId="2121871362" sldId="511"/>
            <ac:spMk id="136" creationId="{2F458AD8-84F0-432C-8208-696FD05454A3}"/>
          </ac:spMkLst>
        </pc:spChg>
        <pc:spChg chg="mod">
          <ac:chgData name="zur bonsen georg" userId="5444515566c7376a" providerId="LiveId" clId="{18CD7E6B-2C8E-405B-A237-843B9FC9D457}" dt="2022-04-18T07:16:15.103" v="6419" actId="207"/>
          <ac:spMkLst>
            <pc:docMk/>
            <pc:sldMk cId="2121871362" sldId="511"/>
            <ac:spMk id="137" creationId="{180F3513-B43C-4F4C-B3C8-D498C06E3452}"/>
          </ac:spMkLst>
        </pc:spChg>
        <pc:spChg chg="mod">
          <ac:chgData name="zur bonsen georg" userId="5444515566c7376a" providerId="LiveId" clId="{18CD7E6B-2C8E-405B-A237-843B9FC9D457}" dt="2022-04-18T07:16:15.103" v="6419" actId="207"/>
          <ac:spMkLst>
            <pc:docMk/>
            <pc:sldMk cId="2121871362" sldId="511"/>
            <ac:spMk id="138" creationId="{0CE766B9-B0DE-4EC2-ADAD-34C56316F956}"/>
          </ac:spMkLst>
        </pc:spChg>
        <pc:spChg chg="mod">
          <ac:chgData name="zur bonsen georg" userId="5444515566c7376a" providerId="LiveId" clId="{18CD7E6B-2C8E-405B-A237-843B9FC9D457}" dt="2022-04-18T07:16:15.103" v="6419" actId="207"/>
          <ac:spMkLst>
            <pc:docMk/>
            <pc:sldMk cId="2121871362" sldId="511"/>
            <ac:spMk id="139" creationId="{33EBF292-A896-4C28-8545-137607D91B84}"/>
          </ac:spMkLst>
        </pc:spChg>
        <pc:spChg chg="mod">
          <ac:chgData name="zur bonsen georg" userId="5444515566c7376a" providerId="LiveId" clId="{18CD7E6B-2C8E-405B-A237-843B9FC9D457}" dt="2022-04-18T07:16:15.103" v="6419" actId="207"/>
          <ac:spMkLst>
            <pc:docMk/>
            <pc:sldMk cId="2121871362" sldId="511"/>
            <ac:spMk id="140" creationId="{60828C8C-F2F1-4AB6-8EEF-58D911577CFE}"/>
          </ac:spMkLst>
        </pc:spChg>
        <pc:spChg chg="mod">
          <ac:chgData name="zur bonsen georg" userId="5444515566c7376a" providerId="LiveId" clId="{18CD7E6B-2C8E-405B-A237-843B9FC9D457}" dt="2022-04-18T07:16:15.103" v="6419" actId="207"/>
          <ac:spMkLst>
            <pc:docMk/>
            <pc:sldMk cId="2121871362" sldId="511"/>
            <ac:spMk id="141" creationId="{9F930BFE-AACB-4FF7-831A-45FA0D44A2B5}"/>
          </ac:spMkLst>
        </pc:spChg>
        <pc:spChg chg="mod">
          <ac:chgData name="zur bonsen georg" userId="5444515566c7376a" providerId="LiveId" clId="{18CD7E6B-2C8E-405B-A237-843B9FC9D457}" dt="2022-04-18T07:16:15.103" v="6419" actId="207"/>
          <ac:spMkLst>
            <pc:docMk/>
            <pc:sldMk cId="2121871362" sldId="511"/>
            <ac:spMk id="142" creationId="{7F9869AA-4453-42AC-8B27-FC735AE12EF6}"/>
          </ac:spMkLst>
        </pc:spChg>
      </pc:sldChg>
      <pc:sldChg chg="addSp delSp modSp add mod ord">
        <pc:chgData name="zur bonsen georg" userId="5444515566c7376a" providerId="LiveId" clId="{18CD7E6B-2C8E-405B-A237-843B9FC9D457}" dt="2022-04-24T09:05:55.246" v="9840" actId="20577"/>
        <pc:sldMkLst>
          <pc:docMk/>
          <pc:sldMk cId="2757764999" sldId="512"/>
        </pc:sldMkLst>
        <pc:spChg chg="mod">
          <ac:chgData name="zur bonsen georg" userId="5444515566c7376a" providerId="LiveId" clId="{18CD7E6B-2C8E-405B-A237-843B9FC9D457}" dt="2022-04-24T09:05:55.246" v="9840" actId="20577"/>
          <ac:spMkLst>
            <pc:docMk/>
            <pc:sldMk cId="2757764999" sldId="512"/>
            <ac:spMk id="2" creationId="{00000000-0000-0000-0000-000000000000}"/>
          </ac:spMkLst>
        </pc:spChg>
        <pc:spChg chg="del mod">
          <ac:chgData name="zur bonsen georg" userId="5444515566c7376a" providerId="LiveId" clId="{18CD7E6B-2C8E-405B-A237-843B9FC9D457}" dt="2022-04-18T07:35:57.714" v="6915" actId="478"/>
          <ac:spMkLst>
            <pc:docMk/>
            <pc:sldMk cId="2757764999" sldId="512"/>
            <ac:spMk id="3" creationId="{86FE369B-291F-45A8-89B4-64E68138EEA5}"/>
          </ac:spMkLst>
        </pc:spChg>
        <pc:spChg chg="mod">
          <ac:chgData name="zur bonsen georg" userId="5444515566c7376a" providerId="LiveId" clId="{18CD7E6B-2C8E-405B-A237-843B9FC9D457}" dt="2022-04-18T12:35:38.059" v="7032" actId="1038"/>
          <ac:spMkLst>
            <pc:docMk/>
            <pc:sldMk cId="2757764999" sldId="512"/>
            <ac:spMk id="4" creationId="{1046A89F-E586-4B65-833B-B056A52959D5}"/>
          </ac:spMkLst>
        </pc:spChg>
        <pc:spChg chg="add del mod">
          <ac:chgData name="zur bonsen georg" userId="5444515566c7376a" providerId="LiveId" clId="{18CD7E6B-2C8E-405B-A237-843B9FC9D457}" dt="2022-04-24T09:02:33.812" v="9688" actId="478"/>
          <ac:spMkLst>
            <pc:docMk/>
            <pc:sldMk cId="2757764999" sldId="512"/>
            <ac:spMk id="58" creationId="{E50990EA-EDBD-44C2-A1C9-466ED8B1F00A}"/>
          </ac:spMkLst>
        </pc:spChg>
        <pc:spChg chg="add del mod">
          <ac:chgData name="zur bonsen georg" userId="5444515566c7376a" providerId="LiveId" clId="{18CD7E6B-2C8E-405B-A237-843B9FC9D457}" dt="2022-04-24T09:02:33.812" v="9688" actId="478"/>
          <ac:spMkLst>
            <pc:docMk/>
            <pc:sldMk cId="2757764999" sldId="512"/>
            <ac:spMk id="59" creationId="{7ACD7D9C-0C85-4147-AF12-031603C2F2BF}"/>
          </ac:spMkLst>
        </pc:spChg>
        <pc:spChg chg="add del mod">
          <ac:chgData name="zur bonsen georg" userId="5444515566c7376a" providerId="LiveId" clId="{18CD7E6B-2C8E-405B-A237-843B9FC9D457}" dt="2022-04-24T09:02:33.812" v="9688" actId="478"/>
          <ac:spMkLst>
            <pc:docMk/>
            <pc:sldMk cId="2757764999" sldId="512"/>
            <ac:spMk id="60" creationId="{40BAE191-3136-45FE-B517-34A86D34CB92}"/>
          </ac:spMkLst>
        </pc:spChg>
        <pc:spChg chg="add del mod">
          <ac:chgData name="zur bonsen georg" userId="5444515566c7376a" providerId="LiveId" clId="{18CD7E6B-2C8E-405B-A237-843B9FC9D457}" dt="2022-04-24T09:02:33.812" v="9688" actId="478"/>
          <ac:spMkLst>
            <pc:docMk/>
            <pc:sldMk cId="2757764999" sldId="512"/>
            <ac:spMk id="61" creationId="{CD145C06-E09C-463F-B390-D48FB9684BB2}"/>
          </ac:spMkLst>
        </pc:spChg>
        <pc:spChg chg="add del mod">
          <ac:chgData name="zur bonsen georg" userId="5444515566c7376a" providerId="LiveId" clId="{18CD7E6B-2C8E-405B-A237-843B9FC9D457}" dt="2022-04-24T09:02:33.812" v="9688" actId="478"/>
          <ac:spMkLst>
            <pc:docMk/>
            <pc:sldMk cId="2757764999" sldId="512"/>
            <ac:spMk id="62" creationId="{7301D8F5-AA49-468A-9CEC-1B5B26F2E790}"/>
          </ac:spMkLst>
        </pc:spChg>
        <pc:spChg chg="del mod">
          <ac:chgData name="zur bonsen georg" userId="5444515566c7376a" providerId="LiveId" clId="{18CD7E6B-2C8E-405B-A237-843B9FC9D457}" dt="2022-04-24T09:02:33.812" v="9688" actId="478"/>
          <ac:spMkLst>
            <pc:docMk/>
            <pc:sldMk cId="2757764999" sldId="512"/>
            <ac:spMk id="63" creationId="{59D6DF6A-90B4-4CE3-AF8D-19DBC262DF35}"/>
          </ac:spMkLst>
        </pc:spChg>
        <pc:spChg chg="del mod">
          <ac:chgData name="zur bonsen georg" userId="5444515566c7376a" providerId="LiveId" clId="{18CD7E6B-2C8E-405B-A237-843B9FC9D457}" dt="2022-04-24T09:02:33.812" v="9688" actId="478"/>
          <ac:spMkLst>
            <pc:docMk/>
            <pc:sldMk cId="2757764999" sldId="512"/>
            <ac:spMk id="64" creationId="{FA6A6686-7669-4E63-8D4C-551D23F14592}"/>
          </ac:spMkLst>
        </pc:spChg>
        <pc:spChg chg="del mod">
          <ac:chgData name="zur bonsen georg" userId="5444515566c7376a" providerId="LiveId" clId="{18CD7E6B-2C8E-405B-A237-843B9FC9D457}" dt="2022-04-18T07:30:14.659" v="6598" actId="478"/>
          <ac:spMkLst>
            <pc:docMk/>
            <pc:sldMk cId="2757764999" sldId="512"/>
            <ac:spMk id="65" creationId="{F024CBB8-422C-44F4-B717-C9DEC68FB0FF}"/>
          </ac:spMkLst>
        </pc:spChg>
        <pc:spChg chg="mod ord">
          <ac:chgData name="zur bonsen georg" userId="5444515566c7376a" providerId="LiveId" clId="{18CD7E6B-2C8E-405B-A237-843B9FC9D457}" dt="2022-04-23T07:29:11.024" v="9627" actId="20577"/>
          <ac:spMkLst>
            <pc:docMk/>
            <pc:sldMk cId="2757764999" sldId="512"/>
            <ac:spMk id="66" creationId="{D7C282CA-03E0-432E-90D2-46A21ADDEB6B}"/>
          </ac:spMkLst>
        </pc:spChg>
        <pc:spChg chg="del mod ord">
          <ac:chgData name="zur bonsen georg" userId="5444515566c7376a" providerId="LiveId" clId="{18CD7E6B-2C8E-405B-A237-843B9FC9D457}" dt="2022-04-24T09:02:33.812" v="9688" actId="478"/>
          <ac:spMkLst>
            <pc:docMk/>
            <pc:sldMk cId="2757764999" sldId="512"/>
            <ac:spMk id="67" creationId="{6E8CDEE8-8744-46BF-ADBE-5DBFE1910F6C}"/>
          </ac:spMkLst>
        </pc:spChg>
        <pc:spChg chg="del mod">
          <ac:chgData name="zur bonsen georg" userId="5444515566c7376a" providerId="LiveId" clId="{18CD7E6B-2C8E-405B-A237-843B9FC9D457}" dt="2022-04-24T09:02:33.812" v="9688" actId="478"/>
          <ac:spMkLst>
            <pc:docMk/>
            <pc:sldMk cId="2757764999" sldId="512"/>
            <ac:spMk id="68" creationId="{24EADCBD-36BA-455B-9DA5-C3EA6132198B}"/>
          </ac:spMkLst>
        </pc:spChg>
        <pc:spChg chg="del mod">
          <ac:chgData name="zur bonsen georg" userId="5444515566c7376a" providerId="LiveId" clId="{18CD7E6B-2C8E-405B-A237-843B9FC9D457}" dt="2022-04-24T09:02:33.812" v="9688" actId="478"/>
          <ac:spMkLst>
            <pc:docMk/>
            <pc:sldMk cId="2757764999" sldId="512"/>
            <ac:spMk id="69" creationId="{7D2C2B39-C74C-421A-972B-4BBF9B6796F3}"/>
          </ac:spMkLst>
        </pc:spChg>
        <pc:spChg chg="mod">
          <ac:chgData name="zur bonsen georg" userId="5444515566c7376a" providerId="LiveId" clId="{18CD7E6B-2C8E-405B-A237-843B9FC9D457}" dt="2022-04-18T12:35:38.059" v="7032" actId="1038"/>
          <ac:spMkLst>
            <pc:docMk/>
            <pc:sldMk cId="2757764999" sldId="512"/>
            <ac:spMk id="70" creationId="{9B2BE8EB-3FF3-4D8B-98EB-75AE6CE91B7F}"/>
          </ac:spMkLst>
        </pc:spChg>
        <pc:spChg chg="mod">
          <ac:chgData name="zur bonsen georg" userId="5444515566c7376a" providerId="LiveId" clId="{18CD7E6B-2C8E-405B-A237-843B9FC9D457}" dt="2022-04-18T12:35:38.059" v="7032" actId="1038"/>
          <ac:spMkLst>
            <pc:docMk/>
            <pc:sldMk cId="2757764999" sldId="512"/>
            <ac:spMk id="71" creationId="{E699835E-791E-4EE6-90C5-4F747C440860}"/>
          </ac:spMkLst>
        </pc:spChg>
        <pc:spChg chg="mod">
          <ac:chgData name="zur bonsen georg" userId="5444515566c7376a" providerId="LiveId" clId="{18CD7E6B-2C8E-405B-A237-843B9FC9D457}" dt="2022-04-18T12:35:38.059" v="7032" actId="1038"/>
          <ac:spMkLst>
            <pc:docMk/>
            <pc:sldMk cId="2757764999" sldId="512"/>
            <ac:spMk id="72" creationId="{3297C2DF-28DE-418C-8B2F-3AA00F6A167D}"/>
          </ac:spMkLst>
        </pc:spChg>
        <pc:spChg chg="mod">
          <ac:chgData name="zur bonsen georg" userId="5444515566c7376a" providerId="LiveId" clId="{18CD7E6B-2C8E-405B-A237-843B9FC9D457}" dt="2022-04-18T12:35:38.059" v="7032" actId="1038"/>
          <ac:spMkLst>
            <pc:docMk/>
            <pc:sldMk cId="2757764999" sldId="512"/>
            <ac:spMk id="73" creationId="{27ECAD0F-6088-4E3F-A5C6-0A315AC6440A}"/>
          </ac:spMkLst>
        </pc:spChg>
        <pc:spChg chg="mod">
          <ac:chgData name="zur bonsen georg" userId="5444515566c7376a" providerId="LiveId" clId="{18CD7E6B-2C8E-405B-A237-843B9FC9D457}" dt="2022-04-18T12:35:38.059" v="7032" actId="1038"/>
          <ac:spMkLst>
            <pc:docMk/>
            <pc:sldMk cId="2757764999" sldId="512"/>
            <ac:spMk id="74" creationId="{6650F46B-68FE-467B-A67C-65354DE5EFC8}"/>
          </ac:spMkLst>
        </pc:spChg>
        <pc:spChg chg="del mod">
          <ac:chgData name="zur bonsen georg" userId="5444515566c7376a" providerId="LiveId" clId="{18CD7E6B-2C8E-405B-A237-843B9FC9D457}" dt="2022-04-24T09:02:33.812" v="9688" actId="478"/>
          <ac:spMkLst>
            <pc:docMk/>
            <pc:sldMk cId="2757764999" sldId="512"/>
            <ac:spMk id="75" creationId="{A1501889-DF3B-413D-8BF2-F9085FFD27A9}"/>
          </ac:spMkLst>
        </pc:spChg>
        <pc:spChg chg="del mod">
          <ac:chgData name="zur bonsen georg" userId="5444515566c7376a" providerId="LiveId" clId="{18CD7E6B-2C8E-405B-A237-843B9FC9D457}" dt="2022-04-24T09:02:33.812" v="9688" actId="478"/>
          <ac:spMkLst>
            <pc:docMk/>
            <pc:sldMk cId="2757764999" sldId="512"/>
            <ac:spMk id="76" creationId="{C161AAA1-F453-49C0-8095-E72264352C0E}"/>
          </ac:spMkLst>
        </pc:spChg>
        <pc:spChg chg="del mod">
          <ac:chgData name="zur bonsen georg" userId="5444515566c7376a" providerId="LiveId" clId="{18CD7E6B-2C8E-405B-A237-843B9FC9D457}" dt="2022-04-24T09:02:33.812" v="9688" actId="478"/>
          <ac:spMkLst>
            <pc:docMk/>
            <pc:sldMk cId="2757764999" sldId="512"/>
            <ac:spMk id="77" creationId="{A45AF967-822E-4103-852D-168CE2E5153B}"/>
          </ac:spMkLst>
        </pc:spChg>
        <pc:spChg chg="del mod">
          <ac:chgData name="zur bonsen georg" userId="5444515566c7376a" providerId="LiveId" clId="{18CD7E6B-2C8E-405B-A237-843B9FC9D457}" dt="2022-04-24T09:02:33.812" v="9688" actId="478"/>
          <ac:spMkLst>
            <pc:docMk/>
            <pc:sldMk cId="2757764999" sldId="512"/>
            <ac:spMk id="78" creationId="{B673E06C-21EA-4533-B3C6-26AF672E1587}"/>
          </ac:spMkLst>
        </pc:spChg>
        <pc:spChg chg="del mod">
          <ac:chgData name="zur bonsen georg" userId="5444515566c7376a" providerId="LiveId" clId="{18CD7E6B-2C8E-405B-A237-843B9FC9D457}" dt="2022-04-24T09:02:33.812" v="9688" actId="478"/>
          <ac:spMkLst>
            <pc:docMk/>
            <pc:sldMk cId="2757764999" sldId="512"/>
            <ac:spMk id="79" creationId="{8B13D5CF-57EF-457A-9962-ED8814EA3851}"/>
          </ac:spMkLst>
        </pc:spChg>
        <pc:spChg chg="del mod">
          <ac:chgData name="zur bonsen georg" userId="5444515566c7376a" providerId="LiveId" clId="{18CD7E6B-2C8E-405B-A237-843B9FC9D457}" dt="2022-04-24T09:02:33.812" v="9688" actId="478"/>
          <ac:spMkLst>
            <pc:docMk/>
            <pc:sldMk cId="2757764999" sldId="512"/>
            <ac:spMk id="80" creationId="{C77BE7FB-FA68-43E1-986A-F243BFD806BC}"/>
          </ac:spMkLst>
        </pc:spChg>
        <pc:spChg chg="del mod">
          <ac:chgData name="zur bonsen georg" userId="5444515566c7376a" providerId="LiveId" clId="{18CD7E6B-2C8E-405B-A237-843B9FC9D457}" dt="2022-04-24T09:02:33.812" v="9688" actId="478"/>
          <ac:spMkLst>
            <pc:docMk/>
            <pc:sldMk cId="2757764999" sldId="512"/>
            <ac:spMk id="81" creationId="{25AB34E7-371E-4C85-B4D8-731F3244EE03}"/>
          </ac:spMkLst>
        </pc:spChg>
        <pc:spChg chg="add del mod">
          <ac:chgData name="zur bonsen georg" userId="5444515566c7376a" providerId="LiveId" clId="{18CD7E6B-2C8E-405B-A237-843B9FC9D457}" dt="2022-04-24T09:02:33.812" v="9688" actId="478"/>
          <ac:spMkLst>
            <pc:docMk/>
            <pc:sldMk cId="2757764999" sldId="512"/>
            <ac:spMk id="82" creationId="{1FC4342C-1269-43DA-AC5E-B329F1629E75}"/>
          </ac:spMkLst>
        </pc:spChg>
        <pc:spChg chg="del mod">
          <ac:chgData name="zur bonsen georg" userId="5444515566c7376a" providerId="LiveId" clId="{18CD7E6B-2C8E-405B-A237-843B9FC9D457}" dt="2022-04-24T09:02:33.812" v="9688" actId="478"/>
          <ac:spMkLst>
            <pc:docMk/>
            <pc:sldMk cId="2757764999" sldId="512"/>
            <ac:spMk id="85" creationId="{F8883378-1B0D-4E32-BBF2-A3D8BBD4621E}"/>
          </ac:spMkLst>
        </pc:spChg>
        <pc:spChg chg="del mod">
          <ac:chgData name="zur bonsen georg" userId="5444515566c7376a" providerId="LiveId" clId="{18CD7E6B-2C8E-405B-A237-843B9FC9D457}" dt="2022-04-24T09:02:33.812" v="9688" actId="478"/>
          <ac:spMkLst>
            <pc:docMk/>
            <pc:sldMk cId="2757764999" sldId="512"/>
            <ac:spMk id="86" creationId="{BDF35AB9-BEB8-426F-91C3-EE70A8B8E5A7}"/>
          </ac:spMkLst>
        </pc:spChg>
        <pc:spChg chg="del mod">
          <ac:chgData name="zur bonsen georg" userId="5444515566c7376a" providerId="LiveId" clId="{18CD7E6B-2C8E-405B-A237-843B9FC9D457}" dt="2022-04-24T09:02:33.812" v="9688" actId="478"/>
          <ac:spMkLst>
            <pc:docMk/>
            <pc:sldMk cId="2757764999" sldId="512"/>
            <ac:spMk id="87" creationId="{5F811C55-C066-4D33-A253-5A901D75DDEC}"/>
          </ac:spMkLst>
        </pc:spChg>
        <pc:spChg chg="del mod">
          <ac:chgData name="zur bonsen georg" userId="5444515566c7376a" providerId="LiveId" clId="{18CD7E6B-2C8E-405B-A237-843B9FC9D457}" dt="2022-04-24T09:02:33.812" v="9688" actId="478"/>
          <ac:spMkLst>
            <pc:docMk/>
            <pc:sldMk cId="2757764999" sldId="512"/>
            <ac:spMk id="88" creationId="{654BC8F4-365C-4AFC-91A5-AC7FE1356F0C}"/>
          </ac:spMkLst>
        </pc:spChg>
        <pc:spChg chg="del mod">
          <ac:chgData name="zur bonsen georg" userId="5444515566c7376a" providerId="LiveId" clId="{18CD7E6B-2C8E-405B-A237-843B9FC9D457}" dt="2022-04-24T09:02:33.812" v="9688" actId="478"/>
          <ac:spMkLst>
            <pc:docMk/>
            <pc:sldMk cId="2757764999" sldId="512"/>
            <ac:spMk id="89" creationId="{90BDBA5A-3D0E-47A3-B284-CEF26F60B1B0}"/>
          </ac:spMkLst>
        </pc:spChg>
        <pc:spChg chg="del mod">
          <ac:chgData name="zur bonsen georg" userId="5444515566c7376a" providerId="LiveId" clId="{18CD7E6B-2C8E-405B-A237-843B9FC9D457}" dt="2022-04-24T09:02:33.812" v="9688" actId="478"/>
          <ac:spMkLst>
            <pc:docMk/>
            <pc:sldMk cId="2757764999" sldId="512"/>
            <ac:spMk id="90" creationId="{43C45C2E-950A-43A4-955E-B7837A1957E5}"/>
          </ac:spMkLst>
        </pc:spChg>
        <pc:spChg chg="del mod">
          <ac:chgData name="zur bonsen georg" userId="5444515566c7376a" providerId="LiveId" clId="{18CD7E6B-2C8E-405B-A237-843B9FC9D457}" dt="2022-04-24T09:02:33.812" v="9688" actId="478"/>
          <ac:spMkLst>
            <pc:docMk/>
            <pc:sldMk cId="2757764999" sldId="512"/>
            <ac:spMk id="91" creationId="{4B6288E5-5141-4C33-A87C-4BEA2577B312}"/>
          </ac:spMkLst>
        </pc:spChg>
        <pc:spChg chg="add del mod ord">
          <ac:chgData name="zur bonsen georg" userId="5444515566c7376a" providerId="LiveId" clId="{18CD7E6B-2C8E-405B-A237-843B9FC9D457}" dt="2022-04-24T09:02:33.812" v="9688" actId="478"/>
          <ac:spMkLst>
            <pc:docMk/>
            <pc:sldMk cId="2757764999" sldId="512"/>
            <ac:spMk id="92" creationId="{35491E2C-336A-455A-844B-E7F6A785097D}"/>
          </ac:spMkLst>
        </pc:spChg>
        <pc:spChg chg="add del mod ord">
          <ac:chgData name="zur bonsen georg" userId="5444515566c7376a" providerId="LiveId" clId="{18CD7E6B-2C8E-405B-A237-843B9FC9D457}" dt="2022-04-24T09:02:33.812" v="9688" actId="478"/>
          <ac:spMkLst>
            <pc:docMk/>
            <pc:sldMk cId="2757764999" sldId="512"/>
            <ac:spMk id="93" creationId="{D568A228-18DC-4D4F-AE7F-18EF2142D8FC}"/>
          </ac:spMkLst>
        </pc:spChg>
        <pc:spChg chg="add del mod ord">
          <ac:chgData name="zur bonsen georg" userId="5444515566c7376a" providerId="LiveId" clId="{18CD7E6B-2C8E-405B-A237-843B9FC9D457}" dt="2022-04-24T09:02:33.812" v="9688" actId="478"/>
          <ac:spMkLst>
            <pc:docMk/>
            <pc:sldMk cId="2757764999" sldId="512"/>
            <ac:spMk id="94" creationId="{A34DCA84-5437-4953-A41F-7D1F8BBEDDAE}"/>
          </ac:spMkLst>
        </pc:spChg>
        <pc:spChg chg="del mod">
          <ac:chgData name="zur bonsen georg" userId="5444515566c7376a" providerId="LiveId" clId="{18CD7E6B-2C8E-405B-A237-843B9FC9D457}" dt="2022-04-24T09:02:33.812" v="9688" actId="478"/>
          <ac:spMkLst>
            <pc:docMk/>
            <pc:sldMk cId="2757764999" sldId="512"/>
            <ac:spMk id="95" creationId="{1876A4DD-C6B9-4911-95AE-A1BDFC478F6E}"/>
          </ac:spMkLst>
        </pc:spChg>
        <pc:spChg chg="del mod">
          <ac:chgData name="zur bonsen georg" userId="5444515566c7376a" providerId="LiveId" clId="{18CD7E6B-2C8E-405B-A237-843B9FC9D457}" dt="2022-04-24T09:02:33.812" v="9688" actId="478"/>
          <ac:spMkLst>
            <pc:docMk/>
            <pc:sldMk cId="2757764999" sldId="512"/>
            <ac:spMk id="96" creationId="{24A7322F-FDF6-41F4-A1B5-4739450DDE81}"/>
          </ac:spMkLst>
        </pc:spChg>
        <pc:spChg chg="del mod">
          <ac:chgData name="zur bonsen georg" userId="5444515566c7376a" providerId="LiveId" clId="{18CD7E6B-2C8E-405B-A237-843B9FC9D457}" dt="2022-04-24T09:02:54.223" v="9693" actId="478"/>
          <ac:spMkLst>
            <pc:docMk/>
            <pc:sldMk cId="2757764999" sldId="512"/>
            <ac:spMk id="97" creationId="{4FA8C883-FC7E-4903-8C53-43AF5E6B216A}"/>
          </ac:spMkLst>
        </pc:spChg>
        <pc:spChg chg="del mod">
          <ac:chgData name="zur bonsen georg" userId="5444515566c7376a" providerId="LiveId" clId="{18CD7E6B-2C8E-405B-A237-843B9FC9D457}" dt="2022-04-24T09:02:28.697" v="9687" actId="478"/>
          <ac:spMkLst>
            <pc:docMk/>
            <pc:sldMk cId="2757764999" sldId="512"/>
            <ac:spMk id="98" creationId="{CD73203E-F856-4AB1-BD01-006A1C4DA755}"/>
          </ac:spMkLst>
        </pc:spChg>
        <pc:spChg chg="add del mod ord">
          <ac:chgData name="zur bonsen georg" userId="5444515566c7376a" providerId="LiveId" clId="{18CD7E6B-2C8E-405B-A237-843B9FC9D457}" dt="2022-04-24T09:02:33.812" v="9688" actId="478"/>
          <ac:spMkLst>
            <pc:docMk/>
            <pc:sldMk cId="2757764999" sldId="512"/>
            <ac:spMk id="99" creationId="{A698C1F8-199C-4FB3-BB50-DDCB9059E9DE}"/>
          </ac:spMkLst>
        </pc:spChg>
        <pc:spChg chg="del mod">
          <ac:chgData name="zur bonsen georg" userId="5444515566c7376a" providerId="LiveId" clId="{18CD7E6B-2C8E-405B-A237-843B9FC9D457}" dt="2022-04-24T09:02:28.697" v="9687" actId="478"/>
          <ac:spMkLst>
            <pc:docMk/>
            <pc:sldMk cId="2757764999" sldId="512"/>
            <ac:spMk id="100" creationId="{D9E524F6-DEDE-40A9-AAC7-E7013ED2F6F9}"/>
          </ac:spMkLst>
        </pc:spChg>
        <pc:spChg chg="del mod">
          <ac:chgData name="zur bonsen georg" userId="5444515566c7376a" providerId="LiveId" clId="{18CD7E6B-2C8E-405B-A237-843B9FC9D457}" dt="2022-04-24T09:02:28.697" v="9687" actId="478"/>
          <ac:spMkLst>
            <pc:docMk/>
            <pc:sldMk cId="2757764999" sldId="512"/>
            <ac:spMk id="101" creationId="{B97C9082-A171-4F93-89EE-C286EE6C509C}"/>
          </ac:spMkLst>
        </pc:spChg>
        <pc:spChg chg="del mod">
          <ac:chgData name="zur bonsen georg" userId="5444515566c7376a" providerId="LiveId" clId="{18CD7E6B-2C8E-405B-A237-843B9FC9D457}" dt="2022-04-24T09:02:28.697" v="9687" actId="478"/>
          <ac:spMkLst>
            <pc:docMk/>
            <pc:sldMk cId="2757764999" sldId="512"/>
            <ac:spMk id="102" creationId="{609712B9-1A6D-42B9-8683-72AA648F7FCE}"/>
          </ac:spMkLst>
        </pc:spChg>
        <pc:spChg chg="del mod">
          <ac:chgData name="zur bonsen georg" userId="5444515566c7376a" providerId="LiveId" clId="{18CD7E6B-2C8E-405B-A237-843B9FC9D457}" dt="2022-04-24T09:02:28.697" v="9687" actId="478"/>
          <ac:spMkLst>
            <pc:docMk/>
            <pc:sldMk cId="2757764999" sldId="512"/>
            <ac:spMk id="103" creationId="{EAEFE983-4976-4C8B-88F0-B563C8E71F08}"/>
          </ac:spMkLst>
        </pc:spChg>
        <pc:spChg chg="del mod ord">
          <ac:chgData name="zur bonsen georg" userId="5444515566c7376a" providerId="LiveId" clId="{18CD7E6B-2C8E-405B-A237-843B9FC9D457}" dt="2022-04-24T09:02:56.014" v="9694" actId="478"/>
          <ac:spMkLst>
            <pc:docMk/>
            <pc:sldMk cId="2757764999" sldId="512"/>
            <ac:spMk id="104" creationId="{BDBFE104-73F4-4BA9-A3EF-E0F1D3D78B3B}"/>
          </ac:spMkLst>
        </pc:spChg>
        <pc:spChg chg="add del mod ord">
          <ac:chgData name="zur bonsen georg" userId="5444515566c7376a" providerId="LiveId" clId="{18CD7E6B-2C8E-405B-A237-843B9FC9D457}" dt="2022-04-24T09:02:33.812" v="9688" actId="478"/>
          <ac:spMkLst>
            <pc:docMk/>
            <pc:sldMk cId="2757764999" sldId="512"/>
            <ac:spMk id="105" creationId="{8E8E6FDA-300F-460E-8FEC-6E3085517C9B}"/>
          </ac:spMkLst>
        </pc:spChg>
        <pc:spChg chg="add del mod ord">
          <ac:chgData name="zur bonsen georg" userId="5444515566c7376a" providerId="LiveId" clId="{18CD7E6B-2C8E-405B-A237-843B9FC9D457}" dt="2022-04-24T09:02:33.812" v="9688" actId="478"/>
          <ac:spMkLst>
            <pc:docMk/>
            <pc:sldMk cId="2757764999" sldId="512"/>
            <ac:spMk id="106" creationId="{BB504CEA-D9B8-4E12-8D94-D86CD7632D65}"/>
          </ac:spMkLst>
        </pc:spChg>
        <pc:spChg chg="add mod">
          <ac:chgData name="zur bonsen georg" userId="5444515566c7376a" providerId="LiveId" clId="{18CD7E6B-2C8E-405B-A237-843B9FC9D457}" dt="2022-04-24T09:03:08.895" v="9698" actId="207"/>
          <ac:spMkLst>
            <pc:docMk/>
            <pc:sldMk cId="2757764999" sldId="512"/>
            <ac:spMk id="107" creationId="{0DDE6D13-B62D-4CEB-8A20-F43F2EEB41CF}"/>
          </ac:spMkLst>
        </pc:spChg>
        <pc:spChg chg="add del mod">
          <ac:chgData name="zur bonsen georg" userId="5444515566c7376a" providerId="LiveId" clId="{18CD7E6B-2C8E-405B-A237-843B9FC9D457}" dt="2022-04-23T07:28:57.274" v="9615" actId="478"/>
          <ac:spMkLst>
            <pc:docMk/>
            <pc:sldMk cId="2757764999" sldId="512"/>
            <ac:spMk id="107" creationId="{C73711D5-FF61-4BA2-8853-F499F81336A3}"/>
          </ac:spMkLst>
        </pc:spChg>
        <pc:spChg chg="del mod">
          <ac:chgData name="zur bonsen georg" userId="5444515566c7376a" providerId="LiveId" clId="{18CD7E6B-2C8E-405B-A237-843B9FC9D457}" dt="2022-04-18T07:29:24.825" v="6581" actId="478"/>
          <ac:spMkLst>
            <pc:docMk/>
            <pc:sldMk cId="2757764999" sldId="512"/>
            <ac:spMk id="107" creationId="{F826416E-AB9E-4F96-BB8D-2C93727FE696}"/>
          </ac:spMkLst>
        </pc:spChg>
        <pc:spChg chg="del mod ord">
          <ac:chgData name="zur bonsen georg" userId="5444515566c7376a" providerId="LiveId" clId="{18CD7E6B-2C8E-405B-A237-843B9FC9D457}" dt="2022-04-24T09:02:33.812" v="9688" actId="478"/>
          <ac:spMkLst>
            <pc:docMk/>
            <pc:sldMk cId="2757764999" sldId="512"/>
            <ac:spMk id="108" creationId="{9E0E2376-6D13-4DDE-9364-CF47A8A51392}"/>
          </ac:spMkLst>
        </pc:spChg>
        <pc:spChg chg="del mod ord">
          <ac:chgData name="zur bonsen georg" userId="5444515566c7376a" providerId="LiveId" clId="{18CD7E6B-2C8E-405B-A237-843B9FC9D457}" dt="2022-04-24T09:02:33.812" v="9688" actId="478"/>
          <ac:spMkLst>
            <pc:docMk/>
            <pc:sldMk cId="2757764999" sldId="512"/>
            <ac:spMk id="109" creationId="{D74EEDAB-9C7B-497C-9AE9-2B40C560D2FF}"/>
          </ac:spMkLst>
        </pc:spChg>
        <pc:spChg chg="del mod ord">
          <ac:chgData name="zur bonsen georg" userId="5444515566c7376a" providerId="LiveId" clId="{18CD7E6B-2C8E-405B-A237-843B9FC9D457}" dt="2022-04-24T09:02:33.812" v="9688" actId="478"/>
          <ac:spMkLst>
            <pc:docMk/>
            <pc:sldMk cId="2757764999" sldId="512"/>
            <ac:spMk id="110" creationId="{CB9C0CD7-0523-4FC2-BAC1-403F4784D435}"/>
          </ac:spMkLst>
        </pc:spChg>
        <pc:spChg chg="del mod">
          <ac:chgData name="zur bonsen georg" userId="5444515566c7376a" providerId="LiveId" clId="{18CD7E6B-2C8E-405B-A237-843B9FC9D457}" dt="2022-04-18T07:28:31.227" v="6566" actId="478"/>
          <ac:spMkLst>
            <pc:docMk/>
            <pc:sldMk cId="2757764999" sldId="512"/>
            <ac:spMk id="111" creationId="{46C68534-E818-4A52-BF2A-9F97522765AC}"/>
          </ac:spMkLst>
        </pc:spChg>
        <pc:spChg chg="add mod">
          <ac:chgData name="zur bonsen georg" userId="5444515566c7376a" providerId="LiveId" clId="{18CD7E6B-2C8E-405B-A237-843B9FC9D457}" dt="2022-04-24T09:03:47.534" v="9703" actId="207"/>
          <ac:spMkLst>
            <pc:docMk/>
            <pc:sldMk cId="2757764999" sldId="512"/>
            <ac:spMk id="111" creationId="{A86F7565-72CC-4699-85A8-101E8531EA50}"/>
          </ac:spMkLst>
        </pc:spChg>
        <pc:spChg chg="add del mod">
          <ac:chgData name="zur bonsen georg" userId="5444515566c7376a" providerId="LiveId" clId="{18CD7E6B-2C8E-405B-A237-843B9FC9D457}" dt="2022-04-23T07:28:57.274" v="9615" actId="478"/>
          <ac:spMkLst>
            <pc:docMk/>
            <pc:sldMk cId="2757764999" sldId="512"/>
            <ac:spMk id="111" creationId="{FA7935A8-B660-4479-B3C9-74804DEAE252}"/>
          </ac:spMkLst>
        </pc:spChg>
        <pc:spChg chg="del mod">
          <ac:chgData name="zur bonsen georg" userId="5444515566c7376a" providerId="LiveId" clId="{18CD7E6B-2C8E-405B-A237-843B9FC9D457}" dt="2022-04-24T09:02:28.697" v="9687" actId="478"/>
          <ac:spMkLst>
            <pc:docMk/>
            <pc:sldMk cId="2757764999" sldId="512"/>
            <ac:spMk id="112" creationId="{1653CB6D-C51F-4D27-A010-85080B6CF3C8}"/>
          </ac:spMkLst>
        </pc:spChg>
        <pc:spChg chg="add del mod ord">
          <ac:chgData name="zur bonsen georg" userId="5444515566c7376a" providerId="LiveId" clId="{18CD7E6B-2C8E-405B-A237-843B9FC9D457}" dt="2022-04-24T09:02:33.812" v="9688" actId="478"/>
          <ac:spMkLst>
            <pc:docMk/>
            <pc:sldMk cId="2757764999" sldId="512"/>
            <ac:spMk id="113" creationId="{676EFBA8-330D-49EE-A600-C5EE81C07661}"/>
          </ac:spMkLst>
        </pc:spChg>
        <pc:spChg chg="add mod ord">
          <ac:chgData name="zur bonsen georg" userId="5444515566c7376a" providerId="LiveId" clId="{18CD7E6B-2C8E-405B-A237-843B9FC9D457}" dt="2022-04-24T09:03:08.895" v="9698" actId="207"/>
          <ac:spMkLst>
            <pc:docMk/>
            <pc:sldMk cId="2757764999" sldId="512"/>
            <ac:spMk id="114" creationId="{3DA04AD8-6FFA-4120-B8CB-96631CA4F6EC}"/>
          </ac:spMkLst>
        </pc:spChg>
        <pc:spChg chg="del mod">
          <ac:chgData name="zur bonsen georg" userId="5444515566c7376a" providerId="LiveId" clId="{18CD7E6B-2C8E-405B-A237-843B9FC9D457}" dt="2022-04-24T09:02:28.697" v="9687" actId="478"/>
          <ac:spMkLst>
            <pc:docMk/>
            <pc:sldMk cId="2757764999" sldId="512"/>
            <ac:spMk id="115" creationId="{6EEB48F0-9767-4B6E-8752-5D32AC4B5587}"/>
          </ac:spMkLst>
        </pc:spChg>
        <pc:spChg chg="add del mod">
          <ac:chgData name="zur bonsen georg" userId="5444515566c7376a" providerId="LiveId" clId="{18CD7E6B-2C8E-405B-A237-843B9FC9D457}" dt="2022-04-23T07:28:57.274" v="9615" actId="478"/>
          <ac:spMkLst>
            <pc:docMk/>
            <pc:sldMk cId="2757764999" sldId="512"/>
            <ac:spMk id="116" creationId="{0A5E1826-56B8-43DE-A7C5-E57F77F8DD1F}"/>
          </ac:spMkLst>
        </pc:spChg>
        <pc:spChg chg="add mod">
          <ac:chgData name="zur bonsen georg" userId="5444515566c7376a" providerId="LiveId" clId="{18CD7E6B-2C8E-405B-A237-843B9FC9D457}" dt="2022-04-24T09:03:47.534" v="9703" actId="207"/>
          <ac:spMkLst>
            <pc:docMk/>
            <pc:sldMk cId="2757764999" sldId="512"/>
            <ac:spMk id="116" creationId="{C286942D-6C66-4E0F-919D-41D66046381C}"/>
          </ac:spMkLst>
        </pc:spChg>
        <pc:spChg chg="del">
          <ac:chgData name="zur bonsen georg" userId="5444515566c7376a" providerId="LiveId" clId="{18CD7E6B-2C8E-405B-A237-843B9FC9D457}" dt="2022-04-18T07:27:11.183" v="6549" actId="478"/>
          <ac:spMkLst>
            <pc:docMk/>
            <pc:sldMk cId="2757764999" sldId="512"/>
            <ac:spMk id="116" creationId="{D69C167F-671D-4562-AFB3-E29E0EC84331}"/>
          </ac:spMkLst>
        </pc:spChg>
        <pc:spChg chg="add del mod">
          <ac:chgData name="zur bonsen georg" userId="5444515566c7376a" providerId="LiveId" clId="{18CD7E6B-2C8E-405B-A237-843B9FC9D457}" dt="2022-04-24T09:03:15.336" v="9699" actId="478"/>
          <ac:spMkLst>
            <pc:docMk/>
            <pc:sldMk cId="2757764999" sldId="512"/>
            <ac:spMk id="117" creationId="{96F544E8-57B1-4858-A14E-319D74AA3AF0}"/>
          </ac:spMkLst>
        </pc:spChg>
        <pc:spChg chg="del">
          <ac:chgData name="zur bonsen georg" userId="5444515566c7376a" providerId="LiveId" clId="{18CD7E6B-2C8E-405B-A237-843B9FC9D457}" dt="2022-04-18T07:27:11.183" v="6549" actId="478"/>
          <ac:spMkLst>
            <pc:docMk/>
            <pc:sldMk cId="2757764999" sldId="512"/>
            <ac:spMk id="117" creationId="{C4D49D88-C573-4F51-B773-846CE4C78E56}"/>
          </ac:spMkLst>
        </pc:spChg>
        <pc:spChg chg="add mod ord">
          <ac:chgData name="zur bonsen georg" userId="5444515566c7376a" providerId="LiveId" clId="{18CD7E6B-2C8E-405B-A237-843B9FC9D457}" dt="2022-04-18T12:35:38.059" v="7032" actId="1038"/>
          <ac:spMkLst>
            <pc:docMk/>
            <pc:sldMk cId="2757764999" sldId="512"/>
            <ac:spMk id="118" creationId="{D61B8508-F712-4996-95BB-E6F99C77E3AB}"/>
          </ac:spMkLst>
        </pc:spChg>
        <pc:spChg chg="del">
          <ac:chgData name="zur bonsen georg" userId="5444515566c7376a" providerId="LiveId" clId="{18CD7E6B-2C8E-405B-A237-843B9FC9D457}" dt="2022-04-18T07:27:11.183" v="6549" actId="478"/>
          <ac:spMkLst>
            <pc:docMk/>
            <pc:sldMk cId="2757764999" sldId="512"/>
            <ac:spMk id="119" creationId="{41F5A948-DB75-479F-B47B-7F08A21026E6}"/>
          </ac:spMkLst>
        </pc:spChg>
        <pc:spChg chg="add mod">
          <ac:chgData name="zur bonsen georg" userId="5444515566c7376a" providerId="LiveId" clId="{18CD7E6B-2C8E-405B-A237-843B9FC9D457}" dt="2022-04-24T09:03:47.534" v="9703" actId="207"/>
          <ac:spMkLst>
            <pc:docMk/>
            <pc:sldMk cId="2757764999" sldId="512"/>
            <ac:spMk id="119" creationId="{BAE23512-A30D-47CE-BE31-5F2AB9B6AC97}"/>
          </ac:spMkLst>
        </pc:spChg>
        <pc:spChg chg="add mod">
          <ac:chgData name="zur bonsen georg" userId="5444515566c7376a" providerId="LiveId" clId="{18CD7E6B-2C8E-405B-A237-843B9FC9D457}" dt="2022-04-24T09:03:47.534" v="9703" actId="207"/>
          <ac:spMkLst>
            <pc:docMk/>
            <pc:sldMk cId="2757764999" sldId="512"/>
            <ac:spMk id="120" creationId="{033DB8FE-3674-435B-9882-F31D03BE18D4}"/>
          </ac:spMkLst>
        </pc:spChg>
        <pc:spChg chg="del mod ord">
          <ac:chgData name="zur bonsen georg" userId="5444515566c7376a" providerId="LiveId" clId="{18CD7E6B-2C8E-405B-A237-843B9FC9D457}" dt="2022-04-24T09:02:33.812" v="9688" actId="478"/>
          <ac:spMkLst>
            <pc:docMk/>
            <pc:sldMk cId="2757764999" sldId="512"/>
            <ac:spMk id="121" creationId="{ACC0399D-17F5-4015-863B-0EC1D5A2291E}"/>
          </ac:spMkLst>
        </pc:spChg>
        <pc:spChg chg="del mod">
          <ac:chgData name="zur bonsen georg" userId="5444515566c7376a" providerId="LiveId" clId="{18CD7E6B-2C8E-405B-A237-843B9FC9D457}" dt="2022-04-24T09:02:33.812" v="9688" actId="478"/>
          <ac:spMkLst>
            <pc:docMk/>
            <pc:sldMk cId="2757764999" sldId="512"/>
            <ac:spMk id="122" creationId="{E21C2135-4099-490D-B8F0-B1CF2F71C05B}"/>
          </ac:spMkLst>
        </pc:spChg>
        <pc:spChg chg="del mod">
          <ac:chgData name="zur bonsen georg" userId="5444515566c7376a" providerId="LiveId" clId="{18CD7E6B-2C8E-405B-A237-843B9FC9D457}" dt="2022-04-24T09:02:33.812" v="9688" actId="478"/>
          <ac:spMkLst>
            <pc:docMk/>
            <pc:sldMk cId="2757764999" sldId="512"/>
            <ac:spMk id="123" creationId="{16F5CE86-CF18-47F5-8E97-AA127F11F262}"/>
          </ac:spMkLst>
        </pc:spChg>
        <pc:spChg chg="add mod">
          <ac:chgData name="zur bonsen georg" userId="5444515566c7376a" providerId="LiveId" clId="{18CD7E6B-2C8E-405B-A237-843B9FC9D457}" dt="2022-04-24T09:03:47.534" v="9703" actId="207"/>
          <ac:spMkLst>
            <pc:docMk/>
            <pc:sldMk cId="2757764999" sldId="512"/>
            <ac:spMk id="124" creationId="{0C840BAC-002B-40C6-8878-25441F472C89}"/>
          </ac:spMkLst>
        </pc:spChg>
        <pc:spChg chg="add mod">
          <ac:chgData name="zur bonsen georg" userId="5444515566c7376a" providerId="LiveId" clId="{18CD7E6B-2C8E-405B-A237-843B9FC9D457}" dt="2022-04-24T09:03:47.534" v="9703" actId="207"/>
          <ac:spMkLst>
            <pc:docMk/>
            <pc:sldMk cId="2757764999" sldId="512"/>
            <ac:spMk id="125" creationId="{363D5E4D-08C8-4E33-934F-BF318DC95C44}"/>
          </ac:spMkLst>
        </pc:spChg>
        <pc:spChg chg="del mod ord">
          <ac:chgData name="zur bonsen georg" userId="5444515566c7376a" providerId="LiveId" clId="{18CD7E6B-2C8E-405B-A237-843B9FC9D457}" dt="2022-04-24T09:02:33.812" v="9688" actId="478"/>
          <ac:spMkLst>
            <pc:docMk/>
            <pc:sldMk cId="2757764999" sldId="512"/>
            <ac:spMk id="126" creationId="{CF876EC3-C55E-4ADE-B4B5-52D24FD7AA60}"/>
          </ac:spMkLst>
        </pc:spChg>
        <pc:spChg chg="add mod">
          <ac:chgData name="zur bonsen georg" userId="5444515566c7376a" providerId="LiveId" clId="{18CD7E6B-2C8E-405B-A237-843B9FC9D457}" dt="2022-04-24T09:04:07.432" v="9707" actId="208"/>
          <ac:spMkLst>
            <pc:docMk/>
            <pc:sldMk cId="2757764999" sldId="512"/>
            <ac:spMk id="127" creationId="{D9979F78-9D8F-4F8E-BA0D-59F765FB8F75}"/>
          </ac:spMkLst>
        </pc:spChg>
        <pc:spChg chg="add mod">
          <ac:chgData name="zur bonsen georg" userId="5444515566c7376a" providerId="LiveId" clId="{18CD7E6B-2C8E-405B-A237-843B9FC9D457}" dt="2022-04-24T09:04:07.432" v="9707" actId="208"/>
          <ac:spMkLst>
            <pc:docMk/>
            <pc:sldMk cId="2757764999" sldId="512"/>
            <ac:spMk id="128" creationId="{1271D7AF-D119-4097-B1ED-4423FDF22A44}"/>
          </ac:spMkLst>
        </pc:spChg>
        <pc:spChg chg="del">
          <ac:chgData name="zur bonsen georg" userId="5444515566c7376a" providerId="LiveId" clId="{18CD7E6B-2C8E-405B-A237-843B9FC9D457}" dt="2022-04-18T07:27:11.183" v="6549" actId="478"/>
          <ac:spMkLst>
            <pc:docMk/>
            <pc:sldMk cId="2757764999" sldId="512"/>
            <ac:spMk id="128" creationId="{28845DD6-129C-49B1-B1FD-BB207A1F423F}"/>
          </ac:spMkLst>
        </pc:spChg>
        <pc:spChg chg="add mod">
          <ac:chgData name="zur bonsen georg" userId="5444515566c7376a" providerId="LiveId" clId="{18CD7E6B-2C8E-405B-A237-843B9FC9D457}" dt="2022-04-24T09:04:07.432" v="9707" actId="208"/>
          <ac:spMkLst>
            <pc:docMk/>
            <pc:sldMk cId="2757764999" sldId="512"/>
            <ac:spMk id="129" creationId="{5CDD8D05-9F41-4657-B094-55ABD9693297}"/>
          </ac:spMkLst>
        </pc:spChg>
        <pc:spChg chg="del mod">
          <ac:chgData name="zur bonsen georg" userId="5444515566c7376a" providerId="LiveId" clId="{18CD7E6B-2C8E-405B-A237-843B9FC9D457}" dt="2022-04-24T09:02:33.812" v="9688" actId="478"/>
          <ac:spMkLst>
            <pc:docMk/>
            <pc:sldMk cId="2757764999" sldId="512"/>
            <ac:spMk id="130" creationId="{63D1935B-2F88-4B27-A250-B7A19EB0DD0E}"/>
          </ac:spMkLst>
        </pc:spChg>
        <pc:spChg chg="del mod ord">
          <ac:chgData name="zur bonsen georg" userId="5444515566c7376a" providerId="LiveId" clId="{18CD7E6B-2C8E-405B-A237-843B9FC9D457}" dt="2022-04-24T09:02:33.812" v="9688" actId="478"/>
          <ac:spMkLst>
            <pc:docMk/>
            <pc:sldMk cId="2757764999" sldId="512"/>
            <ac:spMk id="131" creationId="{E468455B-7FD0-4EFE-B29D-9815F3D10ADD}"/>
          </ac:spMkLst>
        </pc:spChg>
        <pc:spChg chg="add mod">
          <ac:chgData name="zur bonsen georg" userId="5444515566c7376a" providerId="LiveId" clId="{18CD7E6B-2C8E-405B-A237-843B9FC9D457}" dt="2022-04-24T09:04:07.432" v="9707" actId="208"/>
          <ac:spMkLst>
            <pc:docMk/>
            <pc:sldMk cId="2757764999" sldId="512"/>
            <ac:spMk id="132" creationId="{AA9A70C9-157F-4194-AD57-1987B407F445}"/>
          </ac:spMkLst>
        </pc:spChg>
        <pc:spChg chg="add del mod">
          <ac:chgData name="zur bonsen georg" userId="5444515566c7376a" providerId="LiveId" clId="{18CD7E6B-2C8E-405B-A237-843B9FC9D457}" dt="2022-04-24T09:05:09.333" v="9799" actId="478"/>
          <ac:spMkLst>
            <pc:docMk/>
            <pc:sldMk cId="2757764999" sldId="512"/>
            <ac:spMk id="134" creationId="{7671FBF9-6D31-4B7B-8DBF-16901EF8006C}"/>
          </ac:spMkLst>
        </pc:spChg>
        <pc:spChg chg="add mod">
          <ac:chgData name="zur bonsen georg" userId="5444515566c7376a" providerId="LiveId" clId="{18CD7E6B-2C8E-405B-A237-843B9FC9D457}" dt="2022-04-24T09:05:05.268" v="9798" actId="1035"/>
          <ac:spMkLst>
            <pc:docMk/>
            <pc:sldMk cId="2757764999" sldId="512"/>
            <ac:spMk id="135" creationId="{F24DA3E5-5973-49FF-8A79-B9A90F04067C}"/>
          </ac:spMkLst>
        </pc:spChg>
        <pc:spChg chg="add del mod">
          <ac:chgData name="zur bonsen georg" userId="5444515566c7376a" providerId="LiveId" clId="{18CD7E6B-2C8E-405B-A237-843B9FC9D457}" dt="2022-04-24T09:05:21.381" v="9801" actId="478"/>
          <ac:spMkLst>
            <pc:docMk/>
            <pc:sldMk cId="2757764999" sldId="512"/>
            <ac:spMk id="136" creationId="{4600C889-1802-4340-B071-5E04B028F417}"/>
          </ac:spMkLst>
        </pc:spChg>
        <pc:spChg chg="add del mod">
          <ac:chgData name="zur bonsen georg" userId="5444515566c7376a" providerId="LiveId" clId="{18CD7E6B-2C8E-405B-A237-843B9FC9D457}" dt="2022-04-24T09:05:21.381" v="9801" actId="478"/>
          <ac:spMkLst>
            <pc:docMk/>
            <pc:sldMk cId="2757764999" sldId="512"/>
            <ac:spMk id="137" creationId="{A576D672-7A0B-4E1D-BC36-462C43EFDC76}"/>
          </ac:spMkLst>
        </pc:spChg>
        <pc:spChg chg="add mod">
          <ac:chgData name="zur bonsen georg" userId="5444515566c7376a" providerId="LiveId" clId="{18CD7E6B-2C8E-405B-A237-843B9FC9D457}" dt="2022-04-24T09:05:05.268" v="9798" actId="1035"/>
          <ac:spMkLst>
            <pc:docMk/>
            <pc:sldMk cId="2757764999" sldId="512"/>
            <ac:spMk id="138" creationId="{F8DB258D-3F06-489A-B5E3-E1C41E396DE3}"/>
          </ac:spMkLst>
        </pc:spChg>
        <pc:spChg chg="add mod">
          <ac:chgData name="zur bonsen georg" userId="5444515566c7376a" providerId="LiveId" clId="{18CD7E6B-2C8E-405B-A237-843B9FC9D457}" dt="2022-04-24T09:05:17.842" v="9800" actId="207"/>
          <ac:spMkLst>
            <pc:docMk/>
            <pc:sldMk cId="2757764999" sldId="512"/>
            <ac:spMk id="139" creationId="{9D6921AB-BE04-44A8-9F22-6632DEDFC522}"/>
          </ac:spMkLst>
        </pc:spChg>
        <pc:spChg chg="add mod">
          <ac:chgData name="zur bonsen georg" userId="5444515566c7376a" providerId="LiveId" clId="{18CD7E6B-2C8E-405B-A237-843B9FC9D457}" dt="2022-04-24T09:05:05.268" v="9798" actId="1035"/>
          <ac:spMkLst>
            <pc:docMk/>
            <pc:sldMk cId="2757764999" sldId="512"/>
            <ac:spMk id="140" creationId="{BD8FC166-6C88-4ADE-9B02-F4BAB2D6133D}"/>
          </ac:spMkLst>
        </pc:spChg>
        <pc:spChg chg="add mod">
          <ac:chgData name="zur bonsen georg" userId="5444515566c7376a" providerId="LiveId" clId="{18CD7E6B-2C8E-405B-A237-843B9FC9D457}" dt="2022-04-24T09:05:34.494" v="9804" actId="207"/>
          <ac:spMkLst>
            <pc:docMk/>
            <pc:sldMk cId="2757764999" sldId="512"/>
            <ac:spMk id="141" creationId="{0C455689-8CC6-4BCD-82E6-EE22DB274823}"/>
          </ac:spMkLst>
        </pc:spChg>
        <pc:spChg chg="add mod">
          <ac:chgData name="zur bonsen georg" userId="5444515566c7376a" providerId="LiveId" clId="{18CD7E6B-2C8E-405B-A237-843B9FC9D457}" dt="2022-04-24T09:05:34.494" v="9804" actId="207"/>
          <ac:spMkLst>
            <pc:docMk/>
            <pc:sldMk cId="2757764999" sldId="512"/>
            <ac:spMk id="142" creationId="{241A009F-112F-491C-97B8-C17B8197E5D7}"/>
          </ac:spMkLst>
        </pc:spChg>
        <pc:spChg chg="add mod">
          <ac:chgData name="zur bonsen georg" userId="5444515566c7376a" providerId="LiveId" clId="{18CD7E6B-2C8E-405B-A237-843B9FC9D457}" dt="2022-04-24T09:05:34.494" v="9804" actId="207"/>
          <ac:spMkLst>
            <pc:docMk/>
            <pc:sldMk cId="2757764999" sldId="512"/>
            <ac:spMk id="143" creationId="{3D46C609-7D6B-4ED5-9A88-A518714E0582}"/>
          </ac:spMkLst>
        </pc:spChg>
        <pc:spChg chg="add mod">
          <ac:chgData name="zur bonsen georg" userId="5444515566c7376a" providerId="LiveId" clId="{18CD7E6B-2C8E-405B-A237-843B9FC9D457}" dt="2022-04-24T09:05:34.494" v="9804" actId="207"/>
          <ac:spMkLst>
            <pc:docMk/>
            <pc:sldMk cId="2757764999" sldId="512"/>
            <ac:spMk id="144" creationId="{3A63A697-DB3C-4C85-A253-5BDCDD5275AB}"/>
          </ac:spMkLst>
        </pc:spChg>
        <pc:spChg chg="add mod">
          <ac:chgData name="zur bonsen georg" userId="5444515566c7376a" providerId="LiveId" clId="{18CD7E6B-2C8E-405B-A237-843B9FC9D457}" dt="2022-04-24T09:05:34.494" v="9804" actId="207"/>
          <ac:spMkLst>
            <pc:docMk/>
            <pc:sldMk cId="2757764999" sldId="512"/>
            <ac:spMk id="145" creationId="{AC6C9DEE-E469-4AB2-9BB2-8A155F3EE434}"/>
          </ac:spMkLst>
        </pc:spChg>
        <pc:spChg chg="add del mod">
          <ac:chgData name="zur bonsen georg" userId="5444515566c7376a" providerId="LiveId" clId="{18CD7E6B-2C8E-405B-A237-843B9FC9D457}" dt="2022-04-24T09:05:21.381" v="9801" actId="478"/>
          <ac:spMkLst>
            <pc:docMk/>
            <pc:sldMk cId="2757764999" sldId="512"/>
            <ac:spMk id="146" creationId="{BD371D1E-9C71-411E-BCE0-5A2E79B10589}"/>
          </ac:spMkLst>
        </pc:spChg>
        <pc:spChg chg="add del mod">
          <ac:chgData name="zur bonsen georg" userId="5444515566c7376a" providerId="LiveId" clId="{18CD7E6B-2C8E-405B-A237-843B9FC9D457}" dt="2022-04-24T09:05:21.381" v="9801" actId="478"/>
          <ac:spMkLst>
            <pc:docMk/>
            <pc:sldMk cId="2757764999" sldId="512"/>
            <ac:spMk id="147" creationId="{028F2C53-9623-4FE4-B56F-9C2AACF06E3B}"/>
          </ac:spMkLst>
        </pc:spChg>
        <pc:spChg chg="add del mod">
          <ac:chgData name="zur bonsen georg" userId="5444515566c7376a" providerId="LiveId" clId="{18CD7E6B-2C8E-405B-A237-843B9FC9D457}" dt="2022-04-24T09:05:21.381" v="9801" actId="478"/>
          <ac:spMkLst>
            <pc:docMk/>
            <pc:sldMk cId="2757764999" sldId="512"/>
            <ac:spMk id="148" creationId="{79FFEF9F-33A8-43A4-A83D-DAA36618F0CB}"/>
          </ac:spMkLst>
        </pc:spChg>
        <pc:spChg chg="add mod">
          <ac:chgData name="zur bonsen georg" userId="5444515566c7376a" providerId="LiveId" clId="{18CD7E6B-2C8E-405B-A237-843B9FC9D457}" dt="2022-04-24T09:05:05.268" v="9798" actId="1035"/>
          <ac:spMkLst>
            <pc:docMk/>
            <pc:sldMk cId="2757764999" sldId="512"/>
            <ac:spMk id="149" creationId="{3D5851DC-BE16-4B04-932F-EE6B21F6B51D}"/>
          </ac:spMkLst>
        </pc:spChg>
        <pc:spChg chg="add mod">
          <ac:chgData name="zur bonsen georg" userId="5444515566c7376a" providerId="LiveId" clId="{18CD7E6B-2C8E-405B-A237-843B9FC9D457}" dt="2022-04-24T09:05:05.268" v="9798" actId="1035"/>
          <ac:spMkLst>
            <pc:docMk/>
            <pc:sldMk cId="2757764999" sldId="512"/>
            <ac:spMk id="150" creationId="{039AA7C1-4FD2-4773-8B0C-39B1A52A13CF}"/>
          </ac:spMkLst>
        </pc:spChg>
        <pc:spChg chg="add mod">
          <ac:chgData name="zur bonsen georg" userId="5444515566c7376a" providerId="LiveId" clId="{18CD7E6B-2C8E-405B-A237-843B9FC9D457}" dt="2022-04-24T09:05:05.268" v="9798" actId="1035"/>
          <ac:spMkLst>
            <pc:docMk/>
            <pc:sldMk cId="2757764999" sldId="512"/>
            <ac:spMk id="151" creationId="{552261CC-1C51-4CA9-9F53-12315DE089AF}"/>
          </ac:spMkLst>
        </pc:spChg>
        <pc:spChg chg="add mod">
          <ac:chgData name="zur bonsen georg" userId="5444515566c7376a" providerId="LiveId" clId="{18CD7E6B-2C8E-405B-A237-843B9FC9D457}" dt="2022-04-24T09:05:05.268" v="9798" actId="1035"/>
          <ac:spMkLst>
            <pc:docMk/>
            <pc:sldMk cId="2757764999" sldId="512"/>
            <ac:spMk id="152" creationId="{AACA1370-E80A-4DC7-91FC-170EC7FBA719}"/>
          </ac:spMkLst>
        </pc:spChg>
        <pc:spChg chg="add mod">
          <ac:chgData name="zur bonsen georg" userId="5444515566c7376a" providerId="LiveId" clId="{18CD7E6B-2C8E-405B-A237-843B9FC9D457}" dt="2022-04-24T09:05:05.268" v="9798" actId="1035"/>
          <ac:spMkLst>
            <pc:docMk/>
            <pc:sldMk cId="2757764999" sldId="512"/>
            <ac:spMk id="153" creationId="{841B776D-F622-4A09-AEAB-440C9381B17B}"/>
          </ac:spMkLst>
        </pc:spChg>
        <pc:spChg chg="add mod">
          <ac:chgData name="zur bonsen georg" userId="5444515566c7376a" providerId="LiveId" clId="{18CD7E6B-2C8E-405B-A237-843B9FC9D457}" dt="2022-04-24T09:05:05.268" v="9798" actId="1035"/>
          <ac:spMkLst>
            <pc:docMk/>
            <pc:sldMk cId="2757764999" sldId="512"/>
            <ac:spMk id="154" creationId="{2161098B-7857-4F7D-A7E3-F427864DEA6E}"/>
          </ac:spMkLst>
        </pc:spChg>
        <pc:spChg chg="add del mod">
          <ac:chgData name="zur bonsen georg" userId="5444515566c7376a" providerId="LiveId" clId="{18CD7E6B-2C8E-405B-A237-843B9FC9D457}" dt="2022-04-24T09:05:21.381" v="9801" actId="478"/>
          <ac:spMkLst>
            <pc:docMk/>
            <pc:sldMk cId="2757764999" sldId="512"/>
            <ac:spMk id="155" creationId="{B4D1BC3A-400E-4B82-815C-4B33E7E9BC55}"/>
          </ac:spMkLst>
        </pc:spChg>
        <pc:spChg chg="add del mod">
          <ac:chgData name="zur bonsen georg" userId="5444515566c7376a" providerId="LiveId" clId="{18CD7E6B-2C8E-405B-A237-843B9FC9D457}" dt="2022-04-24T09:05:21.381" v="9801" actId="478"/>
          <ac:spMkLst>
            <pc:docMk/>
            <pc:sldMk cId="2757764999" sldId="512"/>
            <ac:spMk id="156" creationId="{B07006F1-26E7-40A1-AC3B-B3C96810D61B}"/>
          </ac:spMkLst>
        </pc:spChg>
        <pc:spChg chg="add del mod">
          <ac:chgData name="zur bonsen georg" userId="5444515566c7376a" providerId="LiveId" clId="{18CD7E6B-2C8E-405B-A237-843B9FC9D457}" dt="2022-04-24T09:05:21.381" v="9801" actId="478"/>
          <ac:spMkLst>
            <pc:docMk/>
            <pc:sldMk cId="2757764999" sldId="512"/>
            <ac:spMk id="157" creationId="{CD92E714-7B8F-4EF5-88EB-B439A8A77BC2}"/>
          </ac:spMkLst>
        </pc:spChg>
        <pc:spChg chg="add mod">
          <ac:chgData name="zur bonsen georg" userId="5444515566c7376a" providerId="LiveId" clId="{18CD7E6B-2C8E-405B-A237-843B9FC9D457}" dt="2022-04-24T09:05:26.329" v="9803" actId="1076"/>
          <ac:spMkLst>
            <pc:docMk/>
            <pc:sldMk cId="2757764999" sldId="512"/>
            <ac:spMk id="159" creationId="{C568D8DE-7121-4BB4-BA9A-9A4E5B5FC7C9}"/>
          </ac:spMkLst>
        </pc:spChg>
        <pc:spChg chg="add mod">
          <ac:chgData name="zur bonsen georg" userId="5444515566c7376a" providerId="LiveId" clId="{18CD7E6B-2C8E-405B-A237-843B9FC9D457}" dt="2022-04-24T09:05:26.329" v="9803" actId="1076"/>
          <ac:spMkLst>
            <pc:docMk/>
            <pc:sldMk cId="2757764999" sldId="512"/>
            <ac:spMk id="160" creationId="{6507AC1D-E746-4FE8-9648-0D281864028E}"/>
          </ac:spMkLst>
        </pc:spChg>
        <pc:spChg chg="add mod">
          <ac:chgData name="zur bonsen georg" userId="5444515566c7376a" providerId="LiveId" clId="{18CD7E6B-2C8E-405B-A237-843B9FC9D457}" dt="2022-04-24T09:05:26.329" v="9803" actId="1076"/>
          <ac:spMkLst>
            <pc:docMk/>
            <pc:sldMk cId="2757764999" sldId="512"/>
            <ac:spMk id="161" creationId="{43399452-9313-4637-B715-1442B4AF7759}"/>
          </ac:spMkLst>
        </pc:spChg>
        <pc:spChg chg="add mod">
          <ac:chgData name="zur bonsen georg" userId="5444515566c7376a" providerId="LiveId" clId="{18CD7E6B-2C8E-405B-A237-843B9FC9D457}" dt="2022-04-24T09:05:26.329" v="9803" actId="1076"/>
          <ac:spMkLst>
            <pc:docMk/>
            <pc:sldMk cId="2757764999" sldId="512"/>
            <ac:spMk id="162" creationId="{AF2ECE3F-E2E5-4468-A375-0F5C68E72E10}"/>
          </ac:spMkLst>
        </pc:spChg>
        <pc:spChg chg="add mod">
          <ac:chgData name="zur bonsen georg" userId="5444515566c7376a" providerId="LiveId" clId="{18CD7E6B-2C8E-405B-A237-843B9FC9D457}" dt="2022-04-24T09:05:26.329" v="9803" actId="1076"/>
          <ac:spMkLst>
            <pc:docMk/>
            <pc:sldMk cId="2757764999" sldId="512"/>
            <ac:spMk id="163" creationId="{348B4609-2A4B-4E83-9B8E-BA5E8FAC432C}"/>
          </ac:spMkLst>
        </pc:spChg>
        <pc:spChg chg="del">
          <ac:chgData name="zur bonsen georg" userId="5444515566c7376a" providerId="LiveId" clId="{18CD7E6B-2C8E-405B-A237-843B9FC9D457}" dt="2022-04-18T07:28:34.220" v="6567" actId="478"/>
          <ac:spMkLst>
            <pc:docMk/>
            <pc:sldMk cId="2757764999" sldId="512"/>
            <ac:spMk id="179" creationId="{38AF722D-27F3-4D5F-B4E0-D6786BD9D459}"/>
          </ac:spMkLst>
        </pc:spChg>
        <pc:grpChg chg="add mod">
          <ac:chgData name="zur bonsen georg" userId="5444515566c7376a" providerId="LiveId" clId="{18CD7E6B-2C8E-405B-A237-843B9FC9D457}" dt="2022-04-18T07:33:19.515" v="6753" actId="164"/>
          <ac:grpSpMkLst>
            <pc:docMk/>
            <pc:sldMk cId="2757764999" sldId="512"/>
            <ac:grpSpMk id="6" creationId="{BD10AFAA-917F-41F5-AFD6-09D915B7D3B5}"/>
          </ac:grpSpMkLst>
        </pc:grpChg>
        <pc:picChg chg="del">
          <ac:chgData name="zur bonsen georg" userId="5444515566c7376a" providerId="LiveId" clId="{18CD7E6B-2C8E-405B-A237-843B9FC9D457}" dt="2022-04-18T07:37:48.477" v="6920" actId="21"/>
          <ac:picMkLst>
            <pc:docMk/>
            <pc:sldMk cId="2757764999" sldId="512"/>
            <ac:picMk id="7" creationId="{D46F9908-C7FE-497E-9EF7-6BD77B4D91A0}"/>
          </ac:picMkLst>
        </pc:picChg>
        <pc:cxnChg chg="add del">
          <ac:chgData name="zur bonsen georg" userId="5444515566c7376a" providerId="LiveId" clId="{18CD7E6B-2C8E-405B-A237-843B9FC9D457}" dt="2022-04-24T09:03:23.341" v="9701" actId="478"/>
          <ac:cxnSpMkLst>
            <pc:docMk/>
            <pc:sldMk cId="2757764999" sldId="512"/>
            <ac:cxnSpMk id="5" creationId="{9B36332F-744B-4C50-9AD0-63DF14569AE1}"/>
          </ac:cxnSpMkLst>
        </pc:cxnChg>
        <pc:cxnChg chg="add del mod">
          <ac:chgData name="zur bonsen georg" userId="5444515566c7376a" providerId="LiveId" clId="{18CD7E6B-2C8E-405B-A237-843B9FC9D457}" dt="2022-04-24T09:02:33.812" v="9688" actId="478"/>
          <ac:cxnSpMkLst>
            <pc:docMk/>
            <pc:sldMk cId="2757764999" sldId="512"/>
            <ac:cxnSpMk id="83" creationId="{D0D91D79-99C0-4F87-924C-90F084C7D7B7}"/>
          </ac:cxnSpMkLst>
        </pc:cxnChg>
        <pc:cxnChg chg="add del mod">
          <ac:chgData name="zur bonsen georg" userId="5444515566c7376a" providerId="LiveId" clId="{18CD7E6B-2C8E-405B-A237-843B9FC9D457}" dt="2022-04-24T09:02:28.697" v="9687" actId="478"/>
          <ac:cxnSpMkLst>
            <pc:docMk/>
            <pc:sldMk cId="2757764999" sldId="512"/>
            <ac:cxnSpMk id="84" creationId="{A0CD7589-058D-4D03-B0E5-BE7A67374389}"/>
          </ac:cxnSpMkLst>
        </pc:cxnChg>
        <pc:cxnChg chg="add mod">
          <ac:chgData name="zur bonsen georg" userId="5444515566c7376a" providerId="LiveId" clId="{18CD7E6B-2C8E-405B-A237-843B9FC9D457}" dt="2022-04-24T09:04:10.595" v="9708" actId="208"/>
          <ac:cxnSpMkLst>
            <pc:docMk/>
            <pc:sldMk cId="2757764999" sldId="512"/>
            <ac:cxnSpMk id="133" creationId="{7B043BE6-9E08-4D1E-9E44-266395E42D79}"/>
          </ac:cxnSpMkLst>
        </pc:cxnChg>
        <pc:cxnChg chg="add del mod">
          <ac:chgData name="zur bonsen georg" userId="5444515566c7376a" providerId="LiveId" clId="{18CD7E6B-2C8E-405B-A237-843B9FC9D457}" dt="2022-04-24T09:05:21.381" v="9801" actId="478"/>
          <ac:cxnSpMkLst>
            <pc:docMk/>
            <pc:sldMk cId="2757764999" sldId="512"/>
            <ac:cxnSpMk id="158" creationId="{A6D5240C-F347-464E-9E41-0F8B3A15AB91}"/>
          </ac:cxnSpMkLst>
        </pc:cxnChg>
        <pc:cxnChg chg="add mod">
          <ac:chgData name="zur bonsen georg" userId="5444515566c7376a" providerId="LiveId" clId="{18CD7E6B-2C8E-405B-A237-843B9FC9D457}" dt="2022-04-24T09:05:26.329" v="9803" actId="1076"/>
          <ac:cxnSpMkLst>
            <pc:docMk/>
            <pc:sldMk cId="2757764999" sldId="512"/>
            <ac:cxnSpMk id="164" creationId="{D537A456-8EA4-4E92-855E-729C4CEDE2CC}"/>
          </ac:cxnSpMkLst>
        </pc:cxnChg>
      </pc:sldChg>
      <pc:sldChg chg="delSp modSp add del mod">
        <pc:chgData name="zur bonsen georg" userId="5444515566c7376a" providerId="LiveId" clId="{18CD7E6B-2C8E-405B-A237-843B9FC9D457}" dt="2022-04-18T13:07:06.983" v="7112" actId="47"/>
        <pc:sldMkLst>
          <pc:docMk/>
          <pc:sldMk cId="1079540429" sldId="513"/>
        </pc:sldMkLst>
        <pc:spChg chg="del">
          <ac:chgData name="zur bonsen georg" userId="5444515566c7376a" providerId="LiveId" clId="{18CD7E6B-2C8E-405B-A237-843B9FC9D457}" dt="2022-04-18T07:34:22.120" v="6763"/>
          <ac:spMkLst>
            <pc:docMk/>
            <pc:sldMk cId="1079540429" sldId="513"/>
            <ac:spMk id="3" creationId="{86FE369B-291F-45A8-89B4-64E68138EEA5}"/>
          </ac:spMkLst>
        </pc:spChg>
        <pc:spChg chg="del">
          <ac:chgData name="zur bonsen georg" userId="5444515566c7376a" providerId="LiveId" clId="{18CD7E6B-2C8E-405B-A237-843B9FC9D457}" dt="2022-04-18T07:34:22.120" v="6763"/>
          <ac:spMkLst>
            <pc:docMk/>
            <pc:sldMk cId="1079540429" sldId="513"/>
            <ac:spMk id="4" creationId="{1046A89F-E586-4B65-833B-B056A52959D5}"/>
          </ac:spMkLst>
        </pc:spChg>
        <pc:spChg chg="del">
          <ac:chgData name="zur bonsen georg" userId="5444515566c7376a" providerId="LiveId" clId="{18CD7E6B-2C8E-405B-A237-843B9FC9D457}" dt="2022-04-18T07:34:06.695" v="6761" actId="478"/>
          <ac:spMkLst>
            <pc:docMk/>
            <pc:sldMk cId="1079540429" sldId="513"/>
            <ac:spMk id="58" creationId="{E50990EA-EDBD-44C2-A1C9-466ED8B1F00A}"/>
          </ac:spMkLst>
        </pc:spChg>
        <pc:spChg chg="del">
          <ac:chgData name="zur bonsen georg" userId="5444515566c7376a" providerId="LiveId" clId="{18CD7E6B-2C8E-405B-A237-843B9FC9D457}" dt="2022-04-18T07:34:06.695" v="6761" actId="478"/>
          <ac:spMkLst>
            <pc:docMk/>
            <pc:sldMk cId="1079540429" sldId="513"/>
            <ac:spMk id="59" creationId="{7ACD7D9C-0C85-4147-AF12-031603C2F2BF}"/>
          </ac:spMkLst>
        </pc:spChg>
        <pc:spChg chg="del">
          <ac:chgData name="zur bonsen georg" userId="5444515566c7376a" providerId="LiveId" clId="{18CD7E6B-2C8E-405B-A237-843B9FC9D457}" dt="2022-04-18T07:34:06.695" v="6761" actId="478"/>
          <ac:spMkLst>
            <pc:docMk/>
            <pc:sldMk cId="1079540429" sldId="513"/>
            <ac:spMk id="60" creationId="{40BAE191-3136-45FE-B517-34A86D34CB92}"/>
          </ac:spMkLst>
        </pc:spChg>
        <pc:spChg chg="del">
          <ac:chgData name="zur bonsen georg" userId="5444515566c7376a" providerId="LiveId" clId="{18CD7E6B-2C8E-405B-A237-843B9FC9D457}" dt="2022-04-18T07:34:06.695" v="6761" actId="478"/>
          <ac:spMkLst>
            <pc:docMk/>
            <pc:sldMk cId="1079540429" sldId="513"/>
            <ac:spMk id="61" creationId="{CD145C06-E09C-463F-B390-D48FB9684BB2}"/>
          </ac:spMkLst>
        </pc:spChg>
        <pc:spChg chg="del">
          <ac:chgData name="zur bonsen georg" userId="5444515566c7376a" providerId="LiveId" clId="{18CD7E6B-2C8E-405B-A237-843B9FC9D457}" dt="2022-04-18T07:34:06.695" v="6761" actId="478"/>
          <ac:spMkLst>
            <pc:docMk/>
            <pc:sldMk cId="1079540429" sldId="513"/>
            <ac:spMk id="62" creationId="{7301D8F5-AA49-468A-9CEC-1B5B26F2E790}"/>
          </ac:spMkLst>
        </pc:spChg>
        <pc:spChg chg="del">
          <ac:chgData name="zur bonsen georg" userId="5444515566c7376a" providerId="LiveId" clId="{18CD7E6B-2C8E-405B-A237-843B9FC9D457}" dt="2022-04-18T07:34:22.120" v="6763"/>
          <ac:spMkLst>
            <pc:docMk/>
            <pc:sldMk cId="1079540429" sldId="513"/>
            <ac:spMk id="63" creationId="{59D6DF6A-90B4-4CE3-AF8D-19DBC262DF35}"/>
          </ac:spMkLst>
        </pc:spChg>
        <pc:spChg chg="del">
          <ac:chgData name="zur bonsen georg" userId="5444515566c7376a" providerId="LiveId" clId="{18CD7E6B-2C8E-405B-A237-843B9FC9D457}" dt="2022-04-18T07:34:22.120" v="6763"/>
          <ac:spMkLst>
            <pc:docMk/>
            <pc:sldMk cId="1079540429" sldId="513"/>
            <ac:spMk id="64" creationId="{FA6A6686-7669-4E63-8D4C-551D23F14592}"/>
          </ac:spMkLst>
        </pc:spChg>
        <pc:spChg chg="mod">
          <ac:chgData name="zur bonsen georg" userId="5444515566c7376a" providerId="LiveId" clId="{18CD7E6B-2C8E-405B-A237-843B9FC9D457}" dt="2022-04-18T07:34:31.199" v="6764" actId="207"/>
          <ac:spMkLst>
            <pc:docMk/>
            <pc:sldMk cId="1079540429" sldId="513"/>
            <ac:spMk id="65" creationId="{7455EE55-F216-42E1-8B2D-ECC50709C7FA}"/>
          </ac:spMkLst>
        </pc:spChg>
        <pc:spChg chg="del">
          <ac:chgData name="zur bonsen georg" userId="5444515566c7376a" providerId="LiveId" clId="{18CD7E6B-2C8E-405B-A237-843B9FC9D457}" dt="2022-04-18T07:34:13.286" v="6762" actId="478"/>
          <ac:spMkLst>
            <pc:docMk/>
            <pc:sldMk cId="1079540429" sldId="513"/>
            <ac:spMk id="66" creationId="{D7C282CA-03E0-432E-90D2-46A21ADDEB6B}"/>
          </ac:spMkLst>
        </pc:spChg>
        <pc:spChg chg="del">
          <ac:chgData name="zur bonsen georg" userId="5444515566c7376a" providerId="LiveId" clId="{18CD7E6B-2C8E-405B-A237-843B9FC9D457}" dt="2022-04-18T07:34:13.286" v="6762" actId="478"/>
          <ac:spMkLst>
            <pc:docMk/>
            <pc:sldMk cId="1079540429" sldId="513"/>
            <ac:spMk id="67" creationId="{6E8CDEE8-8744-46BF-ADBE-5DBFE1910F6C}"/>
          </ac:spMkLst>
        </pc:spChg>
        <pc:spChg chg="del">
          <ac:chgData name="zur bonsen georg" userId="5444515566c7376a" providerId="LiveId" clId="{18CD7E6B-2C8E-405B-A237-843B9FC9D457}" dt="2022-04-18T07:34:06.695" v="6761" actId="478"/>
          <ac:spMkLst>
            <pc:docMk/>
            <pc:sldMk cId="1079540429" sldId="513"/>
            <ac:spMk id="68" creationId="{24EADCBD-36BA-455B-9DA5-C3EA6132198B}"/>
          </ac:spMkLst>
        </pc:spChg>
        <pc:spChg chg="del">
          <ac:chgData name="zur bonsen georg" userId="5444515566c7376a" providerId="LiveId" clId="{18CD7E6B-2C8E-405B-A237-843B9FC9D457}" dt="2022-04-18T07:34:06.695" v="6761" actId="478"/>
          <ac:spMkLst>
            <pc:docMk/>
            <pc:sldMk cId="1079540429" sldId="513"/>
            <ac:spMk id="69" creationId="{7D2C2B39-C74C-421A-972B-4BBF9B6796F3}"/>
          </ac:spMkLst>
        </pc:spChg>
        <pc:spChg chg="del">
          <ac:chgData name="zur bonsen georg" userId="5444515566c7376a" providerId="LiveId" clId="{18CD7E6B-2C8E-405B-A237-843B9FC9D457}" dt="2022-04-18T07:34:06.695" v="6761" actId="478"/>
          <ac:spMkLst>
            <pc:docMk/>
            <pc:sldMk cId="1079540429" sldId="513"/>
            <ac:spMk id="70" creationId="{9B2BE8EB-3FF3-4D8B-98EB-75AE6CE91B7F}"/>
          </ac:spMkLst>
        </pc:spChg>
        <pc:spChg chg="del">
          <ac:chgData name="zur bonsen georg" userId="5444515566c7376a" providerId="LiveId" clId="{18CD7E6B-2C8E-405B-A237-843B9FC9D457}" dt="2022-04-18T07:34:06.695" v="6761" actId="478"/>
          <ac:spMkLst>
            <pc:docMk/>
            <pc:sldMk cId="1079540429" sldId="513"/>
            <ac:spMk id="71" creationId="{E699835E-791E-4EE6-90C5-4F747C440860}"/>
          </ac:spMkLst>
        </pc:spChg>
        <pc:spChg chg="del">
          <ac:chgData name="zur bonsen georg" userId="5444515566c7376a" providerId="LiveId" clId="{18CD7E6B-2C8E-405B-A237-843B9FC9D457}" dt="2022-04-18T07:34:06.695" v="6761" actId="478"/>
          <ac:spMkLst>
            <pc:docMk/>
            <pc:sldMk cId="1079540429" sldId="513"/>
            <ac:spMk id="72" creationId="{3297C2DF-28DE-418C-8B2F-3AA00F6A167D}"/>
          </ac:spMkLst>
        </pc:spChg>
        <pc:spChg chg="del">
          <ac:chgData name="zur bonsen georg" userId="5444515566c7376a" providerId="LiveId" clId="{18CD7E6B-2C8E-405B-A237-843B9FC9D457}" dt="2022-04-18T07:34:06.695" v="6761" actId="478"/>
          <ac:spMkLst>
            <pc:docMk/>
            <pc:sldMk cId="1079540429" sldId="513"/>
            <ac:spMk id="73" creationId="{27ECAD0F-6088-4E3F-A5C6-0A315AC6440A}"/>
          </ac:spMkLst>
        </pc:spChg>
        <pc:spChg chg="del">
          <ac:chgData name="zur bonsen georg" userId="5444515566c7376a" providerId="LiveId" clId="{18CD7E6B-2C8E-405B-A237-843B9FC9D457}" dt="2022-04-18T07:34:06.695" v="6761" actId="478"/>
          <ac:spMkLst>
            <pc:docMk/>
            <pc:sldMk cId="1079540429" sldId="513"/>
            <ac:spMk id="74" creationId="{6650F46B-68FE-467B-A67C-65354DE5EFC8}"/>
          </ac:spMkLst>
        </pc:spChg>
        <pc:spChg chg="del">
          <ac:chgData name="zur bonsen georg" userId="5444515566c7376a" providerId="LiveId" clId="{18CD7E6B-2C8E-405B-A237-843B9FC9D457}" dt="2022-04-18T07:34:06.695" v="6761" actId="478"/>
          <ac:spMkLst>
            <pc:docMk/>
            <pc:sldMk cId="1079540429" sldId="513"/>
            <ac:spMk id="75" creationId="{A1501889-DF3B-413D-8BF2-F9085FFD27A9}"/>
          </ac:spMkLst>
        </pc:spChg>
        <pc:spChg chg="del">
          <ac:chgData name="zur bonsen georg" userId="5444515566c7376a" providerId="LiveId" clId="{18CD7E6B-2C8E-405B-A237-843B9FC9D457}" dt="2022-04-18T07:34:06.695" v="6761" actId="478"/>
          <ac:spMkLst>
            <pc:docMk/>
            <pc:sldMk cId="1079540429" sldId="513"/>
            <ac:spMk id="76" creationId="{C161AAA1-F453-49C0-8095-E72264352C0E}"/>
          </ac:spMkLst>
        </pc:spChg>
        <pc:spChg chg="del">
          <ac:chgData name="zur bonsen georg" userId="5444515566c7376a" providerId="LiveId" clId="{18CD7E6B-2C8E-405B-A237-843B9FC9D457}" dt="2022-04-18T07:34:06.695" v="6761" actId="478"/>
          <ac:spMkLst>
            <pc:docMk/>
            <pc:sldMk cId="1079540429" sldId="513"/>
            <ac:spMk id="77" creationId="{A45AF967-822E-4103-852D-168CE2E5153B}"/>
          </ac:spMkLst>
        </pc:spChg>
        <pc:spChg chg="del">
          <ac:chgData name="zur bonsen georg" userId="5444515566c7376a" providerId="LiveId" clId="{18CD7E6B-2C8E-405B-A237-843B9FC9D457}" dt="2022-04-18T07:34:06.695" v="6761" actId="478"/>
          <ac:spMkLst>
            <pc:docMk/>
            <pc:sldMk cId="1079540429" sldId="513"/>
            <ac:spMk id="78" creationId="{B673E06C-21EA-4533-B3C6-26AF672E1587}"/>
          </ac:spMkLst>
        </pc:spChg>
        <pc:spChg chg="del">
          <ac:chgData name="zur bonsen georg" userId="5444515566c7376a" providerId="LiveId" clId="{18CD7E6B-2C8E-405B-A237-843B9FC9D457}" dt="2022-04-18T07:34:06.695" v="6761" actId="478"/>
          <ac:spMkLst>
            <pc:docMk/>
            <pc:sldMk cId="1079540429" sldId="513"/>
            <ac:spMk id="79" creationId="{8B13D5CF-57EF-457A-9962-ED8814EA3851}"/>
          </ac:spMkLst>
        </pc:spChg>
        <pc:spChg chg="del">
          <ac:chgData name="zur bonsen georg" userId="5444515566c7376a" providerId="LiveId" clId="{18CD7E6B-2C8E-405B-A237-843B9FC9D457}" dt="2022-04-18T07:34:06.695" v="6761" actId="478"/>
          <ac:spMkLst>
            <pc:docMk/>
            <pc:sldMk cId="1079540429" sldId="513"/>
            <ac:spMk id="80" creationId="{C77BE7FB-FA68-43E1-986A-F243BFD806BC}"/>
          </ac:spMkLst>
        </pc:spChg>
        <pc:spChg chg="del">
          <ac:chgData name="zur bonsen georg" userId="5444515566c7376a" providerId="LiveId" clId="{18CD7E6B-2C8E-405B-A237-843B9FC9D457}" dt="2022-04-18T07:34:06.695" v="6761" actId="478"/>
          <ac:spMkLst>
            <pc:docMk/>
            <pc:sldMk cId="1079540429" sldId="513"/>
            <ac:spMk id="81" creationId="{25AB34E7-371E-4C85-B4D8-731F3244EE03}"/>
          </ac:spMkLst>
        </pc:spChg>
        <pc:spChg chg="del">
          <ac:chgData name="zur bonsen georg" userId="5444515566c7376a" providerId="LiveId" clId="{18CD7E6B-2C8E-405B-A237-843B9FC9D457}" dt="2022-04-18T07:34:06.695" v="6761" actId="478"/>
          <ac:spMkLst>
            <pc:docMk/>
            <pc:sldMk cId="1079540429" sldId="513"/>
            <ac:spMk id="82" creationId="{1FC4342C-1269-43DA-AC5E-B329F1629E75}"/>
          </ac:spMkLst>
        </pc:spChg>
        <pc:spChg chg="del">
          <ac:chgData name="zur bonsen georg" userId="5444515566c7376a" providerId="LiveId" clId="{18CD7E6B-2C8E-405B-A237-843B9FC9D457}" dt="2022-04-18T07:34:06.695" v="6761" actId="478"/>
          <ac:spMkLst>
            <pc:docMk/>
            <pc:sldMk cId="1079540429" sldId="513"/>
            <ac:spMk id="85" creationId="{F8883378-1B0D-4E32-BBF2-A3D8BBD4621E}"/>
          </ac:spMkLst>
        </pc:spChg>
        <pc:spChg chg="del">
          <ac:chgData name="zur bonsen georg" userId="5444515566c7376a" providerId="LiveId" clId="{18CD7E6B-2C8E-405B-A237-843B9FC9D457}" dt="2022-04-18T07:34:06.695" v="6761" actId="478"/>
          <ac:spMkLst>
            <pc:docMk/>
            <pc:sldMk cId="1079540429" sldId="513"/>
            <ac:spMk id="86" creationId="{BDF35AB9-BEB8-426F-91C3-EE70A8B8E5A7}"/>
          </ac:spMkLst>
        </pc:spChg>
        <pc:spChg chg="del">
          <ac:chgData name="zur bonsen georg" userId="5444515566c7376a" providerId="LiveId" clId="{18CD7E6B-2C8E-405B-A237-843B9FC9D457}" dt="2022-04-18T07:34:06.695" v="6761" actId="478"/>
          <ac:spMkLst>
            <pc:docMk/>
            <pc:sldMk cId="1079540429" sldId="513"/>
            <ac:spMk id="87" creationId="{5F811C55-C066-4D33-A253-5A901D75DDEC}"/>
          </ac:spMkLst>
        </pc:spChg>
        <pc:spChg chg="del">
          <ac:chgData name="zur bonsen georg" userId="5444515566c7376a" providerId="LiveId" clId="{18CD7E6B-2C8E-405B-A237-843B9FC9D457}" dt="2022-04-18T07:34:06.695" v="6761" actId="478"/>
          <ac:spMkLst>
            <pc:docMk/>
            <pc:sldMk cId="1079540429" sldId="513"/>
            <ac:spMk id="88" creationId="{654BC8F4-365C-4AFC-91A5-AC7FE1356F0C}"/>
          </ac:spMkLst>
        </pc:spChg>
        <pc:spChg chg="del">
          <ac:chgData name="zur bonsen georg" userId="5444515566c7376a" providerId="LiveId" clId="{18CD7E6B-2C8E-405B-A237-843B9FC9D457}" dt="2022-04-18T07:34:22.120" v="6763"/>
          <ac:spMkLst>
            <pc:docMk/>
            <pc:sldMk cId="1079540429" sldId="513"/>
            <ac:spMk id="89" creationId="{90BDBA5A-3D0E-47A3-B284-CEF26F60B1B0}"/>
          </ac:spMkLst>
        </pc:spChg>
        <pc:spChg chg="del">
          <ac:chgData name="zur bonsen georg" userId="5444515566c7376a" providerId="LiveId" clId="{18CD7E6B-2C8E-405B-A237-843B9FC9D457}" dt="2022-04-18T07:34:06.695" v="6761" actId="478"/>
          <ac:spMkLst>
            <pc:docMk/>
            <pc:sldMk cId="1079540429" sldId="513"/>
            <ac:spMk id="90" creationId="{43C45C2E-950A-43A4-955E-B7837A1957E5}"/>
          </ac:spMkLst>
        </pc:spChg>
        <pc:spChg chg="del">
          <ac:chgData name="zur bonsen georg" userId="5444515566c7376a" providerId="LiveId" clId="{18CD7E6B-2C8E-405B-A237-843B9FC9D457}" dt="2022-04-18T07:34:06.695" v="6761" actId="478"/>
          <ac:spMkLst>
            <pc:docMk/>
            <pc:sldMk cId="1079540429" sldId="513"/>
            <ac:spMk id="91" creationId="{4B6288E5-5141-4C33-A87C-4BEA2577B312}"/>
          </ac:spMkLst>
        </pc:spChg>
        <pc:spChg chg="del mod">
          <ac:chgData name="zur bonsen georg" userId="5444515566c7376a" providerId="LiveId" clId="{18CD7E6B-2C8E-405B-A237-843B9FC9D457}" dt="2022-04-18T07:34:44.280" v="6766" actId="478"/>
          <ac:spMkLst>
            <pc:docMk/>
            <pc:sldMk cId="1079540429" sldId="513"/>
            <ac:spMk id="92" creationId="{7C3B0364-A0A4-48B1-B6B7-B41ABCAC2895}"/>
          </ac:spMkLst>
        </pc:spChg>
        <pc:spChg chg="del mod">
          <ac:chgData name="zur bonsen georg" userId="5444515566c7376a" providerId="LiveId" clId="{18CD7E6B-2C8E-405B-A237-843B9FC9D457}" dt="2022-04-18T07:34:44.280" v="6766" actId="478"/>
          <ac:spMkLst>
            <pc:docMk/>
            <pc:sldMk cId="1079540429" sldId="513"/>
            <ac:spMk id="93" creationId="{C65CBE3D-EA72-4145-A352-4282C08F7CEE}"/>
          </ac:spMkLst>
        </pc:spChg>
        <pc:spChg chg="mod">
          <ac:chgData name="zur bonsen georg" userId="5444515566c7376a" providerId="LiveId" clId="{18CD7E6B-2C8E-405B-A237-843B9FC9D457}" dt="2022-04-18T07:34:31.199" v="6764" actId="207"/>
          <ac:spMkLst>
            <pc:docMk/>
            <pc:sldMk cId="1079540429" sldId="513"/>
            <ac:spMk id="94" creationId="{CD7DC10D-9E72-41E7-B9BE-CCB5CF3F39DD}"/>
          </ac:spMkLst>
        </pc:spChg>
        <pc:spChg chg="del">
          <ac:chgData name="zur bonsen georg" userId="5444515566c7376a" providerId="LiveId" clId="{18CD7E6B-2C8E-405B-A237-843B9FC9D457}" dt="2022-04-18T07:34:06.695" v="6761" actId="478"/>
          <ac:spMkLst>
            <pc:docMk/>
            <pc:sldMk cId="1079540429" sldId="513"/>
            <ac:spMk id="95" creationId="{1876A4DD-C6B9-4911-95AE-A1BDFC478F6E}"/>
          </ac:spMkLst>
        </pc:spChg>
        <pc:spChg chg="del">
          <ac:chgData name="zur bonsen georg" userId="5444515566c7376a" providerId="LiveId" clId="{18CD7E6B-2C8E-405B-A237-843B9FC9D457}" dt="2022-04-18T07:34:22.120" v="6763"/>
          <ac:spMkLst>
            <pc:docMk/>
            <pc:sldMk cId="1079540429" sldId="513"/>
            <ac:spMk id="96" creationId="{24A7322F-FDF6-41F4-A1B5-4739450DDE81}"/>
          </ac:spMkLst>
        </pc:spChg>
        <pc:spChg chg="del">
          <ac:chgData name="zur bonsen georg" userId="5444515566c7376a" providerId="LiveId" clId="{18CD7E6B-2C8E-405B-A237-843B9FC9D457}" dt="2022-04-18T07:34:06.695" v="6761" actId="478"/>
          <ac:spMkLst>
            <pc:docMk/>
            <pc:sldMk cId="1079540429" sldId="513"/>
            <ac:spMk id="97" creationId="{4FA8C883-FC7E-4903-8C53-43AF5E6B216A}"/>
          </ac:spMkLst>
        </pc:spChg>
        <pc:spChg chg="del">
          <ac:chgData name="zur bonsen georg" userId="5444515566c7376a" providerId="LiveId" clId="{18CD7E6B-2C8E-405B-A237-843B9FC9D457}" dt="2022-04-18T07:34:06.695" v="6761" actId="478"/>
          <ac:spMkLst>
            <pc:docMk/>
            <pc:sldMk cId="1079540429" sldId="513"/>
            <ac:spMk id="98" creationId="{CD73203E-F856-4AB1-BD01-006A1C4DA755}"/>
          </ac:spMkLst>
        </pc:spChg>
        <pc:spChg chg="del mod">
          <ac:chgData name="zur bonsen georg" userId="5444515566c7376a" providerId="LiveId" clId="{18CD7E6B-2C8E-405B-A237-843B9FC9D457}" dt="2022-04-18T07:34:44.280" v="6766" actId="478"/>
          <ac:spMkLst>
            <pc:docMk/>
            <pc:sldMk cId="1079540429" sldId="513"/>
            <ac:spMk id="99" creationId="{A6625644-B21F-4DBF-9DAA-F6FE269A8F5F}"/>
          </ac:spMkLst>
        </pc:spChg>
        <pc:spChg chg="del">
          <ac:chgData name="zur bonsen georg" userId="5444515566c7376a" providerId="LiveId" clId="{18CD7E6B-2C8E-405B-A237-843B9FC9D457}" dt="2022-04-18T07:34:06.695" v="6761" actId="478"/>
          <ac:spMkLst>
            <pc:docMk/>
            <pc:sldMk cId="1079540429" sldId="513"/>
            <ac:spMk id="100" creationId="{D9E524F6-DEDE-40A9-AAC7-E7013ED2F6F9}"/>
          </ac:spMkLst>
        </pc:spChg>
        <pc:spChg chg="del">
          <ac:chgData name="zur bonsen georg" userId="5444515566c7376a" providerId="LiveId" clId="{18CD7E6B-2C8E-405B-A237-843B9FC9D457}" dt="2022-04-18T07:34:06.695" v="6761" actId="478"/>
          <ac:spMkLst>
            <pc:docMk/>
            <pc:sldMk cId="1079540429" sldId="513"/>
            <ac:spMk id="101" creationId="{B97C9082-A171-4F93-89EE-C286EE6C509C}"/>
          </ac:spMkLst>
        </pc:spChg>
        <pc:spChg chg="del">
          <ac:chgData name="zur bonsen georg" userId="5444515566c7376a" providerId="LiveId" clId="{18CD7E6B-2C8E-405B-A237-843B9FC9D457}" dt="2022-04-18T07:34:06.695" v="6761" actId="478"/>
          <ac:spMkLst>
            <pc:docMk/>
            <pc:sldMk cId="1079540429" sldId="513"/>
            <ac:spMk id="102" creationId="{609712B9-1A6D-42B9-8683-72AA648F7FCE}"/>
          </ac:spMkLst>
        </pc:spChg>
        <pc:spChg chg="del">
          <ac:chgData name="zur bonsen georg" userId="5444515566c7376a" providerId="LiveId" clId="{18CD7E6B-2C8E-405B-A237-843B9FC9D457}" dt="2022-04-18T07:34:06.695" v="6761" actId="478"/>
          <ac:spMkLst>
            <pc:docMk/>
            <pc:sldMk cId="1079540429" sldId="513"/>
            <ac:spMk id="103" creationId="{EAEFE983-4976-4C8B-88F0-B563C8E71F08}"/>
          </ac:spMkLst>
        </pc:spChg>
        <pc:spChg chg="del">
          <ac:chgData name="zur bonsen georg" userId="5444515566c7376a" providerId="LiveId" clId="{18CD7E6B-2C8E-405B-A237-843B9FC9D457}" dt="2022-04-18T07:34:13.286" v="6762" actId="478"/>
          <ac:spMkLst>
            <pc:docMk/>
            <pc:sldMk cId="1079540429" sldId="513"/>
            <ac:spMk id="104" creationId="{BDBFE104-73F4-4BA9-A3EF-E0F1D3D78B3B}"/>
          </ac:spMkLst>
        </pc:spChg>
        <pc:spChg chg="del mod">
          <ac:chgData name="zur bonsen georg" userId="5444515566c7376a" providerId="LiveId" clId="{18CD7E6B-2C8E-405B-A237-843B9FC9D457}" dt="2022-04-18T07:34:44.280" v="6766" actId="478"/>
          <ac:spMkLst>
            <pc:docMk/>
            <pc:sldMk cId="1079540429" sldId="513"/>
            <ac:spMk id="105" creationId="{425B7218-1F7A-431A-8D0D-071EB9ED6CDC}"/>
          </ac:spMkLst>
        </pc:spChg>
        <pc:spChg chg="mod">
          <ac:chgData name="zur bonsen georg" userId="5444515566c7376a" providerId="LiveId" clId="{18CD7E6B-2C8E-405B-A237-843B9FC9D457}" dt="2022-04-18T07:34:31.199" v="6764" actId="207"/>
          <ac:spMkLst>
            <pc:docMk/>
            <pc:sldMk cId="1079540429" sldId="513"/>
            <ac:spMk id="106" creationId="{6F37B7A9-C393-442C-B803-642A381A5731}"/>
          </ac:spMkLst>
        </pc:spChg>
        <pc:spChg chg="del mod">
          <ac:chgData name="zur bonsen georg" userId="5444515566c7376a" providerId="LiveId" clId="{18CD7E6B-2C8E-405B-A237-843B9FC9D457}" dt="2022-04-18T07:34:44.280" v="6766" actId="478"/>
          <ac:spMkLst>
            <pc:docMk/>
            <pc:sldMk cId="1079540429" sldId="513"/>
            <ac:spMk id="107" creationId="{801B3AFB-4CDB-4951-BBA8-42A50C5DD66F}"/>
          </ac:spMkLst>
        </pc:spChg>
        <pc:spChg chg="del">
          <ac:chgData name="zur bonsen georg" userId="5444515566c7376a" providerId="LiveId" clId="{18CD7E6B-2C8E-405B-A237-843B9FC9D457}" dt="2022-04-18T07:34:13.286" v="6762" actId="478"/>
          <ac:spMkLst>
            <pc:docMk/>
            <pc:sldMk cId="1079540429" sldId="513"/>
            <ac:spMk id="108" creationId="{9E0E2376-6D13-4DDE-9364-CF47A8A51392}"/>
          </ac:spMkLst>
        </pc:spChg>
        <pc:spChg chg="del">
          <ac:chgData name="zur bonsen georg" userId="5444515566c7376a" providerId="LiveId" clId="{18CD7E6B-2C8E-405B-A237-843B9FC9D457}" dt="2022-04-18T07:34:13.286" v="6762" actId="478"/>
          <ac:spMkLst>
            <pc:docMk/>
            <pc:sldMk cId="1079540429" sldId="513"/>
            <ac:spMk id="109" creationId="{D74EEDAB-9C7B-497C-9AE9-2B40C560D2FF}"/>
          </ac:spMkLst>
        </pc:spChg>
        <pc:spChg chg="del">
          <ac:chgData name="zur bonsen georg" userId="5444515566c7376a" providerId="LiveId" clId="{18CD7E6B-2C8E-405B-A237-843B9FC9D457}" dt="2022-04-18T07:34:13.286" v="6762" actId="478"/>
          <ac:spMkLst>
            <pc:docMk/>
            <pc:sldMk cId="1079540429" sldId="513"/>
            <ac:spMk id="110" creationId="{CB9C0CD7-0523-4FC2-BAC1-403F4784D435}"/>
          </ac:spMkLst>
        </pc:spChg>
        <pc:spChg chg="del mod">
          <ac:chgData name="zur bonsen georg" userId="5444515566c7376a" providerId="LiveId" clId="{18CD7E6B-2C8E-405B-A237-843B9FC9D457}" dt="2022-04-18T07:34:44.280" v="6766" actId="478"/>
          <ac:spMkLst>
            <pc:docMk/>
            <pc:sldMk cId="1079540429" sldId="513"/>
            <ac:spMk id="111" creationId="{80BA098D-F9D5-4387-8669-8CFF60C4772C}"/>
          </ac:spMkLst>
        </pc:spChg>
        <pc:spChg chg="del">
          <ac:chgData name="zur bonsen georg" userId="5444515566c7376a" providerId="LiveId" clId="{18CD7E6B-2C8E-405B-A237-843B9FC9D457}" dt="2022-04-18T07:34:06.695" v="6761" actId="478"/>
          <ac:spMkLst>
            <pc:docMk/>
            <pc:sldMk cId="1079540429" sldId="513"/>
            <ac:spMk id="112" creationId="{1653CB6D-C51F-4D27-A010-85080B6CF3C8}"/>
          </ac:spMkLst>
        </pc:spChg>
        <pc:spChg chg="mod">
          <ac:chgData name="zur bonsen georg" userId="5444515566c7376a" providerId="LiveId" clId="{18CD7E6B-2C8E-405B-A237-843B9FC9D457}" dt="2022-04-18T13:07:04.721" v="7111" actId="1076"/>
          <ac:spMkLst>
            <pc:docMk/>
            <pc:sldMk cId="1079540429" sldId="513"/>
            <ac:spMk id="113" creationId="{128CE734-350F-47E9-B027-5EEEC5B8EEBC}"/>
          </ac:spMkLst>
        </pc:spChg>
        <pc:spChg chg="del mod">
          <ac:chgData name="zur bonsen georg" userId="5444515566c7376a" providerId="LiveId" clId="{18CD7E6B-2C8E-405B-A237-843B9FC9D457}" dt="2022-04-18T07:34:44.280" v="6766" actId="478"/>
          <ac:spMkLst>
            <pc:docMk/>
            <pc:sldMk cId="1079540429" sldId="513"/>
            <ac:spMk id="114" creationId="{70154A81-2A91-4912-A9EB-55A9CE330AC2}"/>
          </ac:spMkLst>
        </pc:spChg>
        <pc:spChg chg="del">
          <ac:chgData name="zur bonsen georg" userId="5444515566c7376a" providerId="LiveId" clId="{18CD7E6B-2C8E-405B-A237-843B9FC9D457}" dt="2022-04-18T07:34:06.695" v="6761" actId="478"/>
          <ac:spMkLst>
            <pc:docMk/>
            <pc:sldMk cId="1079540429" sldId="513"/>
            <ac:spMk id="115" creationId="{6EEB48F0-9767-4B6E-8752-5D32AC4B5587}"/>
          </ac:spMkLst>
        </pc:spChg>
        <pc:spChg chg="del mod">
          <ac:chgData name="zur bonsen georg" userId="5444515566c7376a" providerId="LiveId" clId="{18CD7E6B-2C8E-405B-A237-843B9FC9D457}" dt="2022-04-18T07:34:44.280" v="6766" actId="478"/>
          <ac:spMkLst>
            <pc:docMk/>
            <pc:sldMk cId="1079540429" sldId="513"/>
            <ac:spMk id="116" creationId="{3517936C-F190-458D-A375-4B0486F62D42}"/>
          </ac:spMkLst>
        </pc:spChg>
        <pc:spChg chg="mod">
          <ac:chgData name="zur bonsen georg" userId="5444515566c7376a" providerId="LiveId" clId="{18CD7E6B-2C8E-405B-A237-843B9FC9D457}" dt="2022-04-18T07:34:31.199" v="6764" actId="207"/>
          <ac:spMkLst>
            <pc:docMk/>
            <pc:sldMk cId="1079540429" sldId="513"/>
            <ac:spMk id="117" creationId="{73D5F6BE-1F7D-4559-996E-33C6A6CB32FD}"/>
          </ac:spMkLst>
        </pc:spChg>
        <pc:spChg chg="del mod">
          <ac:chgData name="zur bonsen georg" userId="5444515566c7376a" providerId="LiveId" clId="{18CD7E6B-2C8E-405B-A237-843B9FC9D457}" dt="2022-04-18T07:34:44.280" v="6766" actId="478"/>
          <ac:spMkLst>
            <pc:docMk/>
            <pc:sldMk cId="1079540429" sldId="513"/>
            <ac:spMk id="118" creationId="{85EDC961-892E-4842-9E12-69333BFECD65}"/>
          </ac:spMkLst>
        </pc:spChg>
        <pc:spChg chg="del mod">
          <ac:chgData name="zur bonsen georg" userId="5444515566c7376a" providerId="LiveId" clId="{18CD7E6B-2C8E-405B-A237-843B9FC9D457}" dt="2022-04-18T07:34:44.280" v="6766" actId="478"/>
          <ac:spMkLst>
            <pc:docMk/>
            <pc:sldMk cId="1079540429" sldId="513"/>
            <ac:spMk id="119" creationId="{F6923A38-1823-4D34-A44E-A8DFB8C45D84}"/>
          </ac:spMkLst>
        </pc:spChg>
        <pc:spChg chg="mod">
          <ac:chgData name="zur bonsen georg" userId="5444515566c7376a" providerId="LiveId" clId="{18CD7E6B-2C8E-405B-A237-843B9FC9D457}" dt="2022-04-18T07:34:31.199" v="6764" actId="207"/>
          <ac:spMkLst>
            <pc:docMk/>
            <pc:sldMk cId="1079540429" sldId="513"/>
            <ac:spMk id="120" creationId="{BFA7A4D8-48AA-4F5D-9C67-90B72B774A0F}"/>
          </ac:spMkLst>
        </pc:spChg>
        <pc:spChg chg="del">
          <ac:chgData name="zur bonsen georg" userId="5444515566c7376a" providerId="LiveId" clId="{18CD7E6B-2C8E-405B-A237-843B9FC9D457}" dt="2022-04-18T07:34:13.286" v="6762" actId="478"/>
          <ac:spMkLst>
            <pc:docMk/>
            <pc:sldMk cId="1079540429" sldId="513"/>
            <ac:spMk id="121" creationId="{ACC0399D-17F5-4015-863B-0EC1D5A2291E}"/>
          </ac:spMkLst>
        </pc:spChg>
        <pc:spChg chg="del">
          <ac:chgData name="zur bonsen georg" userId="5444515566c7376a" providerId="LiveId" clId="{18CD7E6B-2C8E-405B-A237-843B9FC9D457}" dt="2022-04-18T07:34:22.120" v="6763"/>
          <ac:spMkLst>
            <pc:docMk/>
            <pc:sldMk cId="1079540429" sldId="513"/>
            <ac:spMk id="122" creationId="{E21C2135-4099-490D-B8F0-B1CF2F71C05B}"/>
          </ac:spMkLst>
        </pc:spChg>
        <pc:spChg chg="del">
          <ac:chgData name="zur bonsen georg" userId="5444515566c7376a" providerId="LiveId" clId="{18CD7E6B-2C8E-405B-A237-843B9FC9D457}" dt="2022-04-18T07:34:22.120" v="6763"/>
          <ac:spMkLst>
            <pc:docMk/>
            <pc:sldMk cId="1079540429" sldId="513"/>
            <ac:spMk id="123" creationId="{16F5CE86-CF18-47F5-8E97-AA127F11F262}"/>
          </ac:spMkLst>
        </pc:spChg>
        <pc:spChg chg="del mod">
          <ac:chgData name="zur bonsen georg" userId="5444515566c7376a" providerId="LiveId" clId="{18CD7E6B-2C8E-405B-A237-843B9FC9D457}" dt="2022-04-18T07:34:44.280" v="6766" actId="478"/>
          <ac:spMkLst>
            <pc:docMk/>
            <pc:sldMk cId="1079540429" sldId="513"/>
            <ac:spMk id="124" creationId="{874D52CC-1D84-443B-A3D9-618377135C0A}"/>
          </ac:spMkLst>
        </pc:spChg>
        <pc:spChg chg="del mod">
          <ac:chgData name="zur bonsen georg" userId="5444515566c7376a" providerId="LiveId" clId="{18CD7E6B-2C8E-405B-A237-843B9FC9D457}" dt="2022-04-18T07:34:44.280" v="6766" actId="478"/>
          <ac:spMkLst>
            <pc:docMk/>
            <pc:sldMk cId="1079540429" sldId="513"/>
            <ac:spMk id="125" creationId="{A4AEBC44-DC4C-45C7-9774-B920BE502081}"/>
          </ac:spMkLst>
        </pc:spChg>
        <pc:spChg chg="del">
          <ac:chgData name="zur bonsen georg" userId="5444515566c7376a" providerId="LiveId" clId="{18CD7E6B-2C8E-405B-A237-843B9FC9D457}" dt="2022-04-18T07:34:13.286" v="6762" actId="478"/>
          <ac:spMkLst>
            <pc:docMk/>
            <pc:sldMk cId="1079540429" sldId="513"/>
            <ac:spMk id="126" creationId="{CF876EC3-C55E-4ADE-B4B5-52D24FD7AA60}"/>
          </ac:spMkLst>
        </pc:spChg>
        <pc:spChg chg="mod">
          <ac:chgData name="zur bonsen georg" userId="5444515566c7376a" providerId="LiveId" clId="{18CD7E6B-2C8E-405B-A237-843B9FC9D457}" dt="2022-04-18T07:34:31.199" v="6764" actId="207"/>
          <ac:spMkLst>
            <pc:docMk/>
            <pc:sldMk cId="1079540429" sldId="513"/>
            <ac:spMk id="127" creationId="{41D61725-0A9F-4315-8D46-B02F54826C5F}"/>
          </ac:spMkLst>
        </pc:spChg>
        <pc:spChg chg="del mod">
          <ac:chgData name="zur bonsen georg" userId="5444515566c7376a" providerId="LiveId" clId="{18CD7E6B-2C8E-405B-A237-843B9FC9D457}" dt="2022-04-18T07:34:44.280" v="6766" actId="478"/>
          <ac:spMkLst>
            <pc:docMk/>
            <pc:sldMk cId="1079540429" sldId="513"/>
            <ac:spMk id="128" creationId="{C82E5382-8DED-44CF-90BE-1344C229D7D1}"/>
          </ac:spMkLst>
        </pc:spChg>
        <pc:spChg chg="del mod">
          <ac:chgData name="zur bonsen georg" userId="5444515566c7376a" providerId="LiveId" clId="{18CD7E6B-2C8E-405B-A237-843B9FC9D457}" dt="2022-04-18T07:34:44.280" v="6766" actId="478"/>
          <ac:spMkLst>
            <pc:docMk/>
            <pc:sldMk cId="1079540429" sldId="513"/>
            <ac:spMk id="129" creationId="{5587852A-30F1-401A-AB2C-D33F0196B5EE}"/>
          </ac:spMkLst>
        </pc:spChg>
        <pc:spChg chg="del">
          <ac:chgData name="zur bonsen georg" userId="5444515566c7376a" providerId="LiveId" clId="{18CD7E6B-2C8E-405B-A237-843B9FC9D457}" dt="2022-04-18T07:34:22.120" v="6763"/>
          <ac:spMkLst>
            <pc:docMk/>
            <pc:sldMk cId="1079540429" sldId="513"/>
            <ac:spMk id="130" creationId="{63D1935B-2F88-4B27-A250-B7A19EB0DD0E}"/>
          </ac:spMkLst>
        </pc:spChg>
        <pc:spChg chg="del">
          <ac:chgData name="zur bonsen georg" userId="5444515566c7376a" providerId="LiveId" clId="{18CD7E6B-2C8E-405B-A237-843B9FC9D457}" dt="2022-04-18T07:34:13.286" v="6762" actId="478"/>
          <ac:spMkLst>
            <pc:docMk/>
            <pc:sldMk cId="1079540429" sldId="513"/>
            <ac:spMk id="131" creationId="{E468455B-7FD0-4EFE-B29D-9815F3D10ADD}"/>
          </ac:spMkLst>
        </pc:spChg>
        <pc:spChg chg="mod">
          <ac:chgData name="zur bonsen georg" userId="5444515566c7376a" providerId="LiveId" clId="{18CD7E6B-2C8E-405B-A237-843B9FC9D457}" dt="2022-04-18T07:34:31.199" v="6764" actId="207"/>
          <ac:spMkLst>
            <pc:docMk/>
            <pc:sldMk cId="1079540429" sldId="513"/>
            <ac:spMk id="132" creationId="{5B67AC63-BA4E-49E6-A3A5-6D0BBF673460}"/>
          </ac:spMkLst>
        </pc:spChg>
        <pc:spChg chg="del mod">
          <ac:chgData name="zur bonsen georg" userId="5444515566c7376a" providerId="LiveId" clId="{18CD7E6B-2C8E-405B-A237-843B9FC9D457}" dt="2022-04-18T07:34:44.280" v="6766" actId="478"/>
          <ac:spMkLst>
            <pc:docMk/>
            <pc:sldMk cId="1079540429" sldId="513"/>
            <ac:spMk id="133" creationId="{165AF3E3-2BFB-4B9B-AB0B-7DEC817942E0}"/>
          </ac:spMkLst>
        </pc:spChg>
        <pc:spChg chg="del mod">
          <ac:chgData name="zur bonsen georg" userId="5444515566c7376a" providerId="LiveId" clId="{18CD7E6B-2C8E-405B-A237-843B9FC9D457}" dt="2022-04-18T07:34:44.280" v="6766" actId="478"/>
          <ac:spMkLst>
            <pc:docMk/>
            <pc:sldMk cId="1079540429" sldId="513"/>
            <ac:spMk id="134" creationId="{24D80F78-DB5A-4F3F-9C71-8E80485BA2D7}"/>
          </ac:spMkLst>
        </pc:spChg>
        <pc:spChg chg="mod">
          <ac:chgData name="zur bonsen georg" userId="5444515566c7376a" providerId="LiveId" clId="{18CD7E6B-2C8E-405B-A237-843B9FC9D457}" dt="2022-04-18T07:34:31.199" v="6764" actId="207"/>
          <ac:spMkLst>
            <pc:docMk/>
            <pc:sldMk cId="1079540429" sldId="513"/>
            <ac:spMk id="135" creationId="{88F809D6-374B-4E50-BCD3-0843A4A19832}"/>
          </ac:spMkLst>
        </pc:spChg>
        <pc:spChg chg="del mod">
          <ac:chgData name="zur bonsen georg" userId="5444515566c7376a" providerId="LiveId" clId="{18CD7E6B-2C8E-405B-A237-843B9FC9D457}" dt="2022-04-18T07:34:44.280" v="6766" actId="478"/>
          <ac:spMkLst>
            <pc:docMk/>
            <pc:sldMk cId="1079540429" sldId="513"/>
            <ac:spMk id="136" creationId="{2AC65DCF-1CE8-4C4D-8F3D-76AB16FE4003}"/>
          </ac:spMkLst>
        </pc:spChg>
        <pc:spChg chg="del mod">
          <ac:chgData name="zur bonsen georg" userId="5444515566c7376a" providerId="LiveId" clId="{18CD7E6B-2C8E-405B-A237-843B9FC9D457}" dt="2022-04-18T07:34:44.280" v="6766" actId="478"/>
          <ac:spMkLst>
            <pc:docMk/>
            <pc:sldMk cId="1079540429" sldId="513"/>
            <ac:spMk id="137" creationId="{2EC0C433-975C-4C13-A636-1C0C9AED50CE}"/>
          </ac:spMkLst>
        </pc:spChg>
        <pc:spChg chg="del mod">
          <ac:chgData name="zur bonsen georg" userId="5444515566c7376a" providerId="LiveId" clId="{18CD7E6B-2C8E-405B-A237-843B9FC9D457}" dt="2022-04-18T07:34:44.280" v="6766" actId="478"/>
          <ac:spMkLst>
            <pc:docMk/>
            <pc:sldMk cId="1079540429" sldId="513"/>
            <ac:spMk id="138" creationId="{433AF014-CE71-49A2-B54E-EDBEE399CEBA}"/>
          </ac:spMkLst>
        </pc:spChg>
        <pc:spChg chg="del mod">
          <ac:chgData name="zur bonsen georg" userId="5444515566c7376a" providerId="LiveId" clId="{18CD7E6B-2C8E-405B-A237-843B9FC9D457}" dt="2022-04-18T07:34:44.280" v="6766" actId="478"/>
          <ac:spMkLst>
            <pc:docMk/>
            <pc:sldMk cId="1079540429" sldId="513"/>
            <ac:spMk id="139" creationId="{ACAE635B-AE41-4E9D-BA31-FBB2885AFE19}"/>
          </ac:spMkLst>
        </pc:spChg>
        <pc:spChg chg="del mod">
          <ac:chgData name="zur bonsen georg" userId="5444515566c7376a" providerId="LiveId" clId="{18CD7E6B-2C8E-405B-A237-843B9FC9D457}" dt="2022-04-18T07:34:44.280" v="6766" actId="478"/>
          <ac:spMkLst>
            <pc:docMk/>
            <pc:sldMk cId="1079540429" sldId="513"/>
            <ac:spMk id="140" creationId="{1A2EB20E-EE2C-4C30-AC8A-D83844211BC1}"/>
          </ac:spMkLst>
        </pc:spChg>
        <pc:spChg chg="del mod">
          <ac:chgData name="zur bonsen georg" userId="5444515566c7376a" providerId="LiveId" clId="{18CD7E6B-2C8E-405B-A237-843B9FC9D457}" dt="2022-04-18T07:34:44.280" v="6766" actId="478"/>
          <ac:spMkLst>
            <pc:docMk/>
            <pc:sldMk cId="1079540429" sldId="513"/>
            <ac:spMk id="141" creationId="{046ED903-F5D3-4FCB-A134-39B0CBDDAB03}"/>
          </ac:spMkLst>
        </pc:spChg>
        <pc:spChg chg="del mod">
          <ac:chgData name="zur bonsen georg" userId="5444515566c7376a" providerId="LiveId" clId="{18CD7E6B-2C8E-405B-A237-843B9FC9D457}" dt="2022-04-18T07:34:44.280" v="6766" actId="478"/>
          <ac:spMkLst>
            <pc:docMk/>
            <pc:sldMk cId="1079540429" sldId="513"/>
            <ac:spMk id="142" creationId="{5DD98F5D-C68D-4BE7-A435-A44F37B68DDE}"/>
          </ac:spMkLst>
        </pc:spChg>
        <pc:spChg chg="del mod">
          <ac:chgData name="zur bonsen georg" userId="5444515566c7376a" providerId="LiveId" clId="{18CD7E6B-2C8E-405B-A237-843B9FC9D457}" dt="2022-04-18T07:34:44.280" v="6766" actId="478"/>
          <ac:spMkLst>
            <pc:docMk/>
            <pc:sldMk cId="1079540429" sldId="513"/>
            <ac:spMk id="143" creationId="{5025C97A-883E-478F-87E8-E433DD5B960B}"/>
          </ac:spMkLst>
        </pc:spChg>
        <pc:cxnChg chg="del">
          <ac:chgData name="zur bonsen georg" userId="5444515566c7376a" providerId="LiveId" clId="{18CD7E6B-2C8E-405B-A237-843B9FC9D457}" dt="2022-04-18T07:34:06.695" v="6761" actId="478"/>
          <ac:cxnSpMkLst>
            <pc:docMk/>
            <pc:sldMk cId="1079540429" sldId="513"/>
            <ac:cxnSpMk id="83" creationId="{D0D91D79-99C0-4F87-924C-90F084C7D7B7}"/>
          </ac:cxnSpMkLst>
        </pc:cxnChg>
        <pc:cxnChg chg="del">
          <ac:chgData name="zur bonsen georg" userId="5444515566c7376a" providerId="LiveId" clId="{18CD7E6B-2C8E-405B-A237-843B9FC9D457}" dt="2022-04-18T07:34:06.695" v="6761" actId="478"/>
          <ac:cxnSpMkLst>
            <pc:docMk/>
            <pc:sldMk cId="1079540429" sldId="513"/>
            <ac:cxnSpMk id="84" creationId="{A0CD7589-058D-4D03-B0E5-BE7A67374389}"/>
          </ac:cxnSpMkLst>
        </pc:cxnChg>
      </pc:sldChg>
      <pc:sldChg chg="addSp delSp modSp add mod">
        <pc:chgData name="zur bonsen georg" userId="5444515566c7376a" providerId="LiveId" clId="{18CD7E6B-2C8E-405B-A237-843B9FC9D457}" dt="2022-04-18T16:28:41.553" v="9589" actId="20577"/>
        <pc:sldMkLst>
          <pc:docMk/>
          <pc:sldMk cId="1841391240" sldId="513"/>
        </pc:sldMkLst>
        <pc:spChg chg="mod">
          <ac:chgData name="zur bonsen georg" userId="5444515566c7376a" providerId="LiveId" clId="{18CD7E6B-2C8E-405B-A237-843B9FC9D457}" dt="2022-04-18T16:28:41.553" v="9589" actId="20577"/>
          <ac:spMkLst>
            <pc:docMk/>
            <pc:sldMk cId="1841391240" sldId="513"/>
            <ac:spMk id="2" creationId="{00000000-0000-0000-0000-000000000000}"/>
          </ac:spMkLst>
        </pc:spChg>
        <pc:spChg chg="add del">
          <ac:chgData name="zur bonsen georg" userId="5444515566c7376a" providerId="LiveId" clId="{18CD7E6B-2C8E-405B-A237-843B9FC9D457}" dt="2022-04-18T16:26:31.165" v="9528" actId="478"/>
          <ac:spMkLst>
            <pc:docMk/>
            <pc:sldMk cId="1841391240" sldId="513"/>
            <ac:spMk id="15" creationId="{6363B55E-A0DD-4F04-B26B-EE0CF4163EFB}"/>
          </ac:spMkLst>
        </pc:spChg>
        <pc:spChg chg="add del">
          <ac:chgData name="zur bonsen georg" userId="5444515566c7376a" providerId="LiveId" clId="{18CD7E6B-2C8E-405B-A237-843B9FC9D457}" dt="2022-04-18T16:26:31.165" v="9528" actId="478"/>
          <ac:spMkLst>
            <pc:docMk/>
            <pc:sldMk cId="1841391240" sldId="513"/>
            <ac:spMk id="16" creationId="{24DF15E2-8494-4CD4-97B9-0587F72A4C67}"/>
          </ac:spMkLst>
        </pc:spChg>
        <pc:spChg chg="add del mod">
          <ac:chgData name="zur bonsen georg" userId="5444515566c7376a" providerId="LiveId" clId="{18CD7E6B-2C8E-405B-A237-843B9FC9D457}" dt="2022-04-18T14:41:28.558" v="8691" actId="21"/>
          <ac:spMkLst>
            <pc:docMk/>
            <pc:sldMk cId="1841391240" sldId="513"/>
            <ac:spMk id="17" creationId="{308AF181-5B63-40FE-ACF5-DC8224A8F133}"/>
          </ac:spMkLst>
        </pc:spChg>
        <pc:spChg chg="add mod">
          <ac:chgData name="zur bonsen georg" userId="5444515566c7376a" providerId="LiveId" clId="{18CD7E6B-2C8E-405B-A237-843B9FC9D457}" dt="2022-04-18T14:41:30.029" v="8693"/>
          <ac:spMkLst>
            <pc:docMk/>
            <pc:sldMk cId="1841391240" sldId="513"/>
            <ac:spMk id="18" creationId="{CD6ABD94-E5B6-4FE1-919E-4A756D0BE67A}"/>
          </ac:spMkLst>
        </pc:spChg>
        <pc:spChg chg="add del mod">
          <ac:chgData name="zur bonsen georg" userId="5444515566c7376a" providerId="LiveId" clId="{18CD7E6B-2C8E-405B-A237-843B9FC9D457}" dt="2022-04-18T16:26:34.541" v="9529" actId="478"/>
          <ac:spMkLst>
            <pc:docMk/>
            <pc:sldMk cId="1841391240" sldId="513"/>
            <ac:spMk id="19" creationId="{2E641BB1-5A01-4970-834F-C74E96619071}"/>
          </ac:spMkLst>
        </pc:spChg>
        <pc:spChg chg="add mod">
          <ac:chgData name="zur bonsen georg" userId="5444515566c7376a" providerId="LiveId" clId="{18CD7E6B-2C8E-405B-A237-843B9FC9D457}" dt="2022-04-18T16:26:39.920" v="9568" actId="1035"/>
          <ac:spMkLst>
            <pc:docMk/>
            <pc:sldMk cId="1841391240" sldId="513"/>
            <ac:spMk id="20" creationId="{0ACD5D2F-9466-46C2-BE68-FB771B55134F}"/>
          </ac:spMkLst>
        </pc:spChg>
        <pc:spChg chg="add mod">
          <ac:chgData name="zur bonsen georg" userId="5444515566c7376a" providerId="LiveId" clId="{18CD7E6B-2C8E-405B-A237-843B9FC9D457}" dt="2022-04-18T16:26:39.920" v="9568" actId="1035"/>
          <ac:spMkLst>
            <pc:docMk/>
            <pc:sldMk cId="1841391240" sldId="513"/>
            <ac:spMk id="21" creationId="{4A5C35A6-C202-4799-87C1-FEC2A6E6E514}"/>
          </ac:spMkLst>
        </pc:spChg>
        <pc:spChg chg="add mod">
          <ac:chgData name="zur bonsen georg" userId="5444515566c7376a" providerId="LiveId" clId="{18CD7E6B-2C8E-405B-A237-843B9FC9D457}" dt="2022-04-18T16:26:39.920" v="9568" actId="1035"/>
          <ac:spMkLst>
            <pc:docMk/>
            <pc:sldMk cId="1841391240" sldId="513"/>
            <ac:spMk id="22" creationId="{6FE43969-344E-4790-ADCE-A2BB49BADBBE}"/>
          </ac:spMkLst>
        </pc:spChg>
        <pc:spChg chg="add del">
          <ac:chgData name="zur bonsen georg" userId="5444515566c7376a" providerId="LiveId" clId="{18CD7E6B-2C8E-405B-A237-843B9FC9D457}" dt="2022-04-18T16:26:31.165" v="9528" actId="478"/>
          <ac:spMkLst>
            <pc:docMk/>
            <pc:sldMk cId="1841391240" sldId="513"/>
            <ac:spMk id="25" creationId="{A32A9BA3-6FAF-4251-AA22-942116015580}"/>
          </ac:spMkLst>
        </pc:spChg>
        <pc:spChg chg="add mod">
          <ac:chgData name="zur bonsen georg" userId="5444515566c7376a" providerId="LiveId" clId="{18CD7E6B-2C8E-405B-A237-843B9FC9D457}" dt="2022-04-18T16:26:39.920" v="9568" actId="1035"/>
          <ac:spMkLst>
            <pc:docMk/>
            <pc:sldMk cId="1841391240" sldId="513"/>
            <ac:spMk id="31" creationId="{226E8BC4-EB97-4613-B3B1-2871B43C7114}"/>
          </ac:spMkLst>
        </pc:spChg>
        <pc:spChg chg="add del mod">
          <ac:chgData name="zur bonsen georg" userId="5444515566c7376a" providerId="LiveId" clId="{18CD7E6B-2C8E-405B-A237-843B9FC9D457}" dt="2022-04-18T15:13:36.170" v="8997" actId="478"/>
          <ac:spMkLst>
            <pc:docMk/>
            <pc:sldMk cId="1841391240" sldId="513"/>
            <ac:spMk id="32" creationId="{0B40B168-5499-4534-AFD1-D13DBADB2944}"/>
          </ac:spMkLst>
        </pc:spChg>
        <pc:spChg chg="add mod">
          <ac:chgData name="zur bonsen georg" userId="5444515566c7376a" providerId="LiveId" clId="{18CD7E6B-2C8E-405B-A237-843B9FC9D457}" dt="2022-04-18T16:26:39.920" v="9568" actId="1035"/>
          <ac:spMkLst>
            <pc:docMk/>
            <pc:sldMk cId="1841391240" sldId="513"/>
            <ac:spMk id="34" creationId="{589D22FF-67D3-4B5B-8976-2F25CC8CFF72}"/>
          </ac:spMkLst>
        </pc:spChg>
        <pc:spChg chg="del">
          <ac:chgData name="zur bonsen georg" userId="5444515566c7376a" providerId="LiveId" clId="{18CD7E6B-2C8E-405B-A237-843B9FC9D457}" dt="2022-04-18T14:41:29.791" v="8692" actId="478"/>
          <ac:spMkLst>
            <pc:docMk/>
            <pc:sldMk cId="1841391240" sldId="513"/>
            <ac:spMk id="35" creationId="{E6FD1F8A-1E29-4082-BD8E-B68439FB0EC7}"/>
          </ac:spMkLst>
        </pc:spChg>
        <pc:spChg chg="add mod">
          <ac:chgData name="zur bonsen georg" userId="5444515566c7376a" providerId="LiveId" clId="{18CD7E6B-2C8E-405B-A237-843B9FC9D457}" dt="2022-04-18T16:26:39.920" v="9568" actId="1035"/>
          <ac:spMkLst>
            <pc:docMk/>
            <pc:sldMk cId="1841391240" sldId="513"/>
            <ac:spMk id="36" creationId="{C2977F68-7F4D-4C9E-8588-62C40CEE4B1D}"/>
          </ac:spMkLst>
        </pc:spChg>
        <pc:spChg chg="add del">
          <ac:chgData name="zur bonsen georg" userId="5444515566c7376a" providerId="LiveId" clId="{18CD7E6B-2C8E-405B-A237-843B9FC9D457}" dt="2022-04-18T16:26:31.165" v="9528" actId="478"/>
          <ac:spMkLst>
            <pc:docMk/>
            <pc:sldMk cId="1841391240" sldId="513"/>
            <ac:spMk id="37" creationId="{6E1BCBB0-D175-4259-B26F-C597A81DC306}"/>
          </ac:spMkLst>
        </pc:spChg>
        <pc:spChg chg="add mod">
          <ac:chgData name="zur bonsen georg" userId="5444515566c7376a" providerId="LiveId" clId="{18CD7E6B-2C8E-405B-A237-843B9FC9D457}" dt="2022-04-18T16:26:39.920" v="9568" actId="1035"/>
          <ac:spMkLst>
            <pc:docMk/>
            <pc:sldMk cId="1841391240" sldId="513"/>
            <ac:spMk id="38" creationId="{D99B0301-6E4C-48BF-ACEE-E17BE828AD2F}"/>
          </ac:spMkLst>
        </pc:spChg>
        <pc:spChg chg="add del">
          <ac:chgData name="zur bonsen georg" userId="5444515566c7376a" providerId="LiveId" clId="{18CD7E6B-2C8E-405B-A237-843B9FC9D457}" dt="2022-04-18T16:26:31.165" v="9528" actId="478"/>
          <ac:spMkLst>
            <pc:docMk/>
            <pc:sldMk cId="1841391240" sldId="513"/>
            <ac:spMk id="39" creationId="{3DE79C33-9C3E-4819-BD35-A6EAA83F0B65}"/>
          </ac:spMkLst>
        </pc:spChg>
        <pc:spChg chg="add mod">
          <ac:chgData name="zur bonsen georg" userId="5444515566c7376a" providerId="LiveId" clId="{18CD7E6B-2C8E-405B-A237-843B9FC9D457}" dt="2022-04-18T16:26:39.920" v="9568" actId="1035"/>
          <ac:spMkLst>
            <pc:docMk/>
            <pc:sldMk cId="1841391240" sldId="513"/>
            <ac:spMk id="40" creationId="{1931DDB2-070E-41B6-AE42-46B74B1FB6F3}"/>
          </ac:spMkLst>
        </pc:spChg>
        <pc:spChg chg="add mod">
          <ac:chgData name="zur bonsen georg" userId="5444515566c7376a" providerId="LiveId" clId="{18CD7E6B-2C8E-405B-A237-843B9FC9D457}" dt="2022-04-18T16:26:39.920" v="9568" actId="1035"/>
          <ac:spMkLst>
            <pc:docMk/>
            <pc:sldMk cId="1841391240" sldId="513"/>
            <ac:spMk id="41" creationId="{C102D107-AC2C-4A2A-AEB5-E9FCF73ED5E8}"/>
          </ac:spMkLst>
        </pc:spChg>
        <pc:spChg chg="add mod">
          <ac:chgData name="zur bonsen georg" userId="5444515566c7376a" providerId="LiveId" clId="{18CD7E6B-2C8E-405B-A237-843B9FC9D457}" dt="2022-04-18T16:26:39.920" v="9568" actId="1035"/>
          <ac:spMkLst>
            <pc:docMk/>
            <pc:sldMk cId="1841391240" sldId="513"/>
            <ac:spMk id="42" creationId="{B932074D-067C-43AF-93B1-B237A140835C}"/>
          </ac:spMkLst>
        </pc:spChg>
        <pc:spChg chg="add mod">
          <ac:chgData name="zur bonsen georg" userId="5444515566c7376a" providerId="LiveId" clId="{18CD7E6B-2C8E-405B-A237-843B9FC9D457}" dt="2022-04-18T16:27:02.705" v="9578" actId="20577"/>
          <ac:spMkLst>
            <pc:docMk/>
            <pc:sldMk cId="1841391240" sldId="513"/>
            <ac:spMk id="43" creationId="{2C58D9B2-1600-472D-9EDB-E447A2895348}"/>
          </ac:spMkLst>
        </pc:spChg>
        <pc:spChg chg="add del">
          <ac:chgData name="zur bonsen georg" userId="5444515566c7376a" providerId="LiveId" clId="{18CD7E6B-2C8E-405B-A237-843B9FC9D457}" dt="2022-04-18T16:26:31.165" v="9528" actId="478"/>
          <ac:spMkLst>
            <pc:docMk/>
            <pc:sldMk cId="1841391240" sldId="513"/>
            <ac:spMk id="66" creationId="{3ABCAEDF-CBB1-465E-8102-CBAACAAA9356}"/>
          </ac:spMkLst>
        </pc:spChg>
        <pc:spChg chg="add del">
          <ac:chgData name="zur bonsen georg" userId="5444515566c7376a" providerId="LiveId" clId="{18CD7E6B-2C8E-405B-A237-843B9FC9D457}" dt="2022-04-18T16:26:31.165" v="9528" actId="478"/>
          <ac:spMkLst>
            <pc:docMk/>
            <pc:sldMk cId="1841391240" sldId="513"/>
            <ac:spMk id="70" creationId="{10C88A69-70FD-476B-BC65-029D09FFCE3F}"/>
          </ac:spMkLst>
        </pc:spChg>
        <pc:spChg chg="add del">
          <ac:chgData name="zur bonsen georg" userId="5444515566c7376a" providerId="LiveId" clId="{18CD7E6B-2C8E-405B-A237-843B9FC9D457}" dt="2022-04-18T16:26:31.165" v="9528" actId="478"/>
          <ac:spMkLst>
            <pc:docMk/>
            <pc:sldMk cId="1841391240" sldId="513"/>
            <ac:spMk id="72" creationId="{AA7BECD8-F4C9-4BB8-A25E-4F37FEEBFF73}"/>
          </ac:spMkLst>
        </pc:spChg>
        <pc:spChg chg="add del">
          <ac:chgData name="zur bonsen georg" userId="5444515566c7376a" providerId="LiveId" clId="{18CD7E6B-2C8E-405B-A237-843B9FC9D457}" dt="2022-04-18T16:26:31.165" v="9528" actId="478"/>
          <ac:spMkLst>
            <pc:docMk/>
            <pc:sldMk cId="1841391240" sldId="513"/>
            <ac:spMk id="113" creationId="{69E15E5F-9525-4135-821B-6CDE0D1CB24D}"/>
          </ac:spMkLst>
        </pc:spChg>
        <pc:cxnChg chg="add mod">
          <ac:chgData name="zur bonsen georg" userId="5444515566c7376a" providerId="LiveId" clId="{18CD7E6B-2C8E-405B-A237-843B9FC9D457}" dt="2022-04-18T16:26:39.920" v="9568" actId="1035"/>
          <ac:cxnSpMkLst>
            <pc:docMk/>
            <pc:sldMk cId="1841391240" sldId="513"/>
            <ac:cxnSpMk id="23" creationId="{DC3BDD63-8417-4E77-8ABA-29991766C581}"/>
          </ac:cxnSpMkLst>
        </pc:cxnChg>
        <pc:cxnChg chg="add mod">
          <ac:chgData name="zur bonsen georg" userId="5444515566c7376a" providerId="LiveId" clId="{18CD7E6B-2C8E-405B-A237-843B9FC9D457}" dt="2022-04-18T16:26:39.920" v="9568" actId="1035"/>
          <ac:cxnSpMkLst>
            <pc:docMk/>
            <pc:sldMk cId="1841391240" sldId="513"/>
            <ac:cxnSpMk id="26" creationId="{08278BCF-5D50-463B-9BFF-7F810B6E2EE0}"/>
          </ac:cxnSpMkLst>
        </pc:cxnChg>
        <pc:cxnChg chg="add mod">
          <ac:chgData name="zur bonsen georg" userId="5444515566c7376a" providerId="LiveId" clId="{18CD7E6B-2C8E-405B-A237-843B9FC9D457}" dt="2022-04-18T16:26:39.920" v="9568" actId="1035"/>
          <ac:cxnSpMkLst>
            <pc:docMk/>
            <pc:sldMk cId="1841391240" sldId="513"/>
            <ac:cxnSpMk id="28" creationId="{195B627C-358A-4EC7-939A-4B00634E1B10}"/>
          </ac:cxnSpMkLst>
        </pc:cxnChg>
        <pc:cxnChg chg="mod">
          <ac:chgData name="zur bonsen georg" userId="5444515566c7376a" providerId="LiveId" clId="{18CD7E6B-2C8E-405B-A237-843B9FC9D457}" dt="2022-04-18T16:26:39.920" v="9568" actId="1035"/>
          <ac:cxnSpMkLst>
            <pc:docMk/>
            <pc:sldMk cId="1841391240" sldId="513"/>
            <ac:cxnSpMk id="63" creationId="{EFBFE234-A777-42B3-B97B-9C4B44000D41}"/>
          </ac:cxnSpMkLst>
        </pc:cxnChg>
        <pc:cxnChg chg="add del mod">
          <ac:chgData name="zur bonsen georg" userId="5444515566c7376a" providerId="LiveId" clId="{18CD7E6B-2C8E-405B-A237-843B9FC9D457}" dt="2022-04-18T16:26:31.165" v="9528" actId="478"/>
          <ac:cxnSpMkLst>
            <pc:docMk/>
            <pc:sldMk cId="1841391240" sldId="513"/>
            <ac:cxnSpMk id="67" creationId="{20A55B09-D86E-4FB5-8BE5-BE84F5EAC408}"/>
          </ac:cxnSpMkLst>
        </pc:cxnChg>
        <pc:cxnChg chg="add del">
          <ac:chgData name="zur bonsen georg" userId="5444515566c7376a" providerId="LiveId" clId="{18CD7E6B-2C8E-405B-A237-843B9FC9D457}" dt="2022-04-18T16:26:31.165" v="9528" actId="478"/>
          <ac:cxnSpMkLst>
            <pc:docMk/>
            <pc:sldMk cId="1841391240" sldId="513"/>
            <ac:cxnSpMk id="114" creationId="{DC2FC9AC-EC14-43A0-AB3C-158A9F3C0158}"/>
          </ac:cxnSpMkLst>
        </pc:cxnChg>
        <pc:cxnChg chg="add del">
          <ac:chgData name="zur bonsen georg" userId="5444515566c7376a" providerId="LiveId" clId="{18CD7E6B-2C8E-405B-A237-843B9FC9D457}" dt="2022-04-18T16:26:31.165" v="9528" actId="478"/>
          <ac:cxnSpMkLst>
            <pc:docMk/>
            <pc:sldMk cId="1841391240" sldId="513"/>
            <ac:cxnSpMk id="124" creationId="{81E93DEE-B453-4DF5-94E8-73BF4C0D46DA}"/>
          </ac:cxnSpMkLst>
        </pc:cxnChg>
      </pc:sldChg>
      <pc:sldChg chg="new del">
        <pc:chgData name="zur bonsen georg" userId="5444515566c7376a" providerId="LiveId" clId="{18CD7E6B-2C8E-405B-A237-843B9FC9D457}" dt="2022-04-18T13:07:49.373" v="7118" actId="680"/>
        <pc:sldMkLst>
          <pc:docMk/>
          <pc:sldMk cId="2560189662" sldId="513"/>
        </pc:sldMkLst>
      </pc:sldChg>
      <pc:sldChg chg="new del">
        <pc:chgData name="zur bonsen georg" userId="5444515566c7376a" providerId="LiveId" clId="{18CD7E6B-2C8E-405B-A237-843B9FC9D457}" dt="2022-04-18T13:09:11.717" v="7240" actId="680"/>
        <pc:sldMkLst>
          <pc:docMk/>
          <pc:sldMk cId="2808127128" sldId="513"/>
        </pc:sldMkLst>
      </pc:sldChg>
      <pc:sldChg chg="modSp add mod ord">
        <pc:chgData name="zur bonsen georg" userId="5444515566c7376a" providerId="LiveId" clId="{18CD7E6B-2C8E-405B-A237-843B9FC9D457}" dt="2022-04-24T09:02:48.420" v="9691"/>
        <pc:sldMkLst>
          <pc:docMk/>
          <pc:sldMk cId="1674087842" sldId="514"/>
        </pc:sldMkLst>
        <pc:spChg chg="mod">
          <ac:chgData name="zur bonsen georg" userId="5444515566c7376a" providerId="LiveId" clId="{18CD7E6B-2C8E-405B-A237-843B9FC9D457}" dt="2022-04-24T09:02:19.381" v="9686" actId="20577"/>
          <ac:spMkLst>
            <pc:docMk/>
            <pc:sldMk cId="1674087842" sldId="514"/>
            <ac:spMk id="2" creationId="{00000000-0000-0000-0000-000000000000}"/>
          </ac:spMkLst>
        </pc:spChg>
      </pc:sldChg>
      <pc:sldChg chg="add">
        <pc:chgData name="zur bonsen georg" userId="5444515566c7376a" providerId="LiveId" clId="{18CD7E6B-2C8E-405B-A237-843B9FC9D457}" dt="2022-04-24T09:11:49.033" v="9841" actId="2890"/>
        <pc:sldMkLst>
          <pc:docMk/>
          <pc:sldMk cId="1354036346" sldId="515"/>
        </pc:sldMkLst>
      </pc:sldChg>
      <pc:sldChg chg="addSp delSp modSp add mod">
        <pc:chgData name="zur bonsen georg" userId="5444515566c7376a" providerId="LiveId" clId="{18CD7E6B-2C8E-405B-A237-843B9FC9D457}" dt="2022-04-24T09:58:18.166" v="11149" actId="20577"/>
        <pc:sldMkLst>
          <pc:docMk/>
          <pc:sldMk cId="486507416" sldId="516"/>
        </pc:sldMkLst>
        <pc:spChg chg="mod">
          <ac:chgData name="zur bonsen georg" userId="5444515566c7376a" providerId="LiveId" clId="{18CD7E6B-2C8E-405B-A237-843B9FC9D457}" dt="2022-04-24T09:45:29.415" v="10752" actId="20577"/>
          <ac:spMkLst>
            <pc:docMk/>
            <pc:sldMk cId="486507416" sldId="516"/>
            <ac:spMk id="2" creationId="{00000000-0000-0000-0000-000000000000}"/>
          </ac:spMkLst>
        </pc:spChg>
        <pc:spChg chg="add mod">
          <ac:chgData name="zur bonsen georg" userId="5444515566c7376a" providerId="LiveId" clId="{18CD7E6B-2C8E-405B-A237-843B9FC9D457}" dt="2022-04-24T09:47:04.580" v="10840" actId="1035"/>
          <ac:spMkLst>
            <pc:docMk/>
            <pc:sldMk cId="486507416" sldId="516"/>
            <ac:spMk id="8" creationId="{889D2F18-1ED3-4699-B6EB-7D9715CEA0EF}"/>
          </ac:spMkLst>
        </pc:spChg>
        <pc:spChg chg="del">
          <ac:chgData name="zur bonsen georg" userId="5444515566c7376a" providerId="LiveId" clId="{18CD7E6B-2C8E-405B-A237-843B9FC9D457}" dt="2022-04-24T09:12:12.097" v="9850" actId="478"/>
          <ac:spMkLst>
            <pc:docMk/>
            <pc:sldMk cId="486507416" sldId="516"/>
            <ac:spMk id="18" creationId="{CD6ABD94-E5B6-4FE1-919E-4A756D0BE67A}"/>
          </ac:spMkLst>
        </pc:spChg>
        <pc:spChg chg="add del mod">
          <ac:chgData name="zur bonsen georg" userId="5444515566c7376a" providerId="LiveId" clId="{18CD7E6B-2C8E-405B-A237-843B9FC9D457}" dt="2022-04-24T09:43:24.415" v="10737" actId="478"/>
          <ac:spMkLst>
            <pc:docMk/>
            <pc:sldMk cId="486507416" sldId="516"/>
            <ac:spMk id="19" creationId="{71956BA9-98AD-4B35-B205-A3A09A5B3CF8}"/>
          </ac:spMkLst>
        </pc:spChg>
        <pc:spChg chg="del">
          <ac:chgData name="zur bonsen georg" userId="5444515566c7376a" providerId="LiveId" clId="{18CD7E6B-2C8E-405B-A237-843B9FC9D457}" dt="2022-04-24T09:12:12.097" v="9850" actId="478"/>
          <ac:spMkLst>
            <pc:docMk/>
            <pc:sldMk cId="486507416" sldId="516"/>
            <ac:spMk id="20" creationId="{0ACD5D2F-9466-46C2-BE68-FB771B55134F}"/>
          </ac:spMkLst>
        </pc:spChg>
        <pc:spChg chg="del">
          <ac:chgData name="zur bonsen georg" userId="5444515566c7376a" providerId="LiveId" clId="{18CD7E6B-2C8E-405B-A237-843B9FC9D457}" dt="2022-04-24T09:12:12.097" v="9850" actId="478"/>
          <ac:spMkLst>
            <pc:docMk/>
            <pc:sldMk cId="486507416" sldId="516"/>
            <ac:spMk id="21" creationId="{4A5C35A6-C202-4799-87C1-FEC2A6E6E514}"/>
          </ac:spMkLst>
        </pc:spChg>
        <pc:spChg chg="del">
          <ac:chgData name="zur bonsen georg" userId="5444515566c7376a" providerId="LiveId" clId="{18CD7E6B-2C8E-405B-A237-843B9FC9D457}" dt="2022-04-24T09:12:12.097" v="9850" actId="478"/>
          <ac:spMkLst>
            <pc:docMk/>
            <pc:sldMk cId="486507416" sldId="516"/>
            <ac:spMk id="22" creationId="{6FE43969-344E-4790-ADCE-A2BB49BADBBE}"/>
          </ac:spMkLst>
        </pc:spChg>
        <pc:spChg chg="add mod">
          <ac:chgData name="zur bonsen georg" userId="5444515566c7376a" providerId="LiveId" clId="{18CD7E6B-2C8E-405B-A237-843B9FC9D457}" dt="2022-04-24T09:47:04.580" v="10840" actId="1035"/>
          <ac:spMkLst>
            <pc:docMk/>
            <pc:sldMk cId="486507416" sldId="516"/>
            <ac:spMk id="24" creationId="{3ED4B5A5-B74F-409B-B444-4889A1BBB5CD}"/>
          </ac:spMkLst>
        </pc:spChg>
        <pc:spChg chg="add mod ord topLvl">
          <ac:chgData name="zur bonsen georg" userId="5444515566c7376a" providerId="LiveId" clId="{18CD7E6B-2C8E-405B-A237-843B9FC9D457}" dt="2022-04-24T09:47:57.415" v="10854" actId="14100"/>
          <ac:spMkLst>
            <pc:docMk/>
            <pc:sldMk cId="486507416" sldId="516"/>
            <ac:spMk id="25" creationId="{706CEEAD-4E9E-4564-912D-BD0F1A60239B}"/>
          </ac:spMkLst>
        </pc:spChg>
        <pc:spChg chg="add mod">
          <ac:chgData name="zur bonsen georg" userId="5444515566c7376a" providerId="LiveId" clId="{18CD7E6B-2C8E-405B-A237-843B9FC9D457}" dt="2022-04-24T09:34:25.777" v="10265" actId="14100"/>
          <ac:spMkLst>
            <pc:docMk/>
            <pc:sldMk cId="486507416" sldId="516"/>
            <ac:spMk id="27" creationId="{C845053D-E8BC-4208-87F1-7CFD3E8C9182}"/>
          </ac:spMkLst>
        </pc:spChg>
        <pc:spChg chg="del">
          <ac:chgData name="zur bonsen georg" userId="5444515566c7376a" providerId="LiveId" clId="{18CD7E6B-2C8E-405B-A237-843B9FC9D457}" dt="2022-04-24T09:12:12.097" v="9850" actId="478"/>
          <ac:spMkLst>
            <pc:docMk/>
            <pc:sldMk cId="486507416" sldId="516"/>
            <ac:spMk id="31" creationId="{226E8BC4-EB97-4613-B3B1-2871B43C7114}"/>
          </ac:spMkLst>
        </pc:spChg>
        <pc:spChg chg="del">
          <ac:chgData name="zur bonsen georg" userId="5444515566c7376a" providerId="LiveId" clId="{18CD7E6B-2C8E-405B-A237-843B9FC9D457}" dt="2022-04-24T09:12:12.097" v="9850" actId="478"/>
          <ac:spMkLst>
            <pc:docMk/>
            <pc:sldMk cId="486507416" sldId="516"/>
            <ac:spMk id="34" creationId="{589D22FF-67D3-4B5B-8976-2F25CC8CFF72}"/>
          </ac:spMkLst>
        </pc:spChg>
        <pc:spChg chg="del">
          <ac:chgData name="zur bonsen georg" userId="5444515566c7376a" providerId="LiveId" clId="{18CD7E6B-2C8E-405B-A237-843B9FC9D457}" dt="2022-04-24T09:12:12.097" v="9850" actId="478"/>
          <ac:spMkLst>
            <pc:docMk/>
            <pc:sldMk cId="486507416" sldId="516"/>
            <ac:spMk id="36" creationId="{C2977F68-7F4D-4C9E-8588-62C40CEE4B1D}"/>
          </ac:spMkLst>
        </pc:spChg>
        <pc:spChg chg="del">
          <ac:chgData name="zur bonsen georg" userId="5444515566c7376a" providerId="LiveId" clId="{18CD7E6B-2C8E-405B-A237-843B9FC9D457}" dt="2022-04-24T09:12:12.097" v="9850" actId="478"/>
          <ac:spMkLst>
            <pc:docMk/>
            <pc:sldMk cId="486507416" sldId="516"/>
            <ac:spMk id="38" creationId="{D99B0301-6E4C-48BF-ACEE-E17BE828AD2F}"/>
          </ac:spMkLst>
        </pc:spChg>
        <pc:spChg chg="del">
          <ac:chgData name="zur bonsen georg" userId="5444515566c7376a" providerId="LiveId" clId="{18CD7E6B-2C8E-405B-A237-843B9FC9D457}" dt="2022-04-24T09:12:12.097" v="9850" actId="478"/>
          <ac:spMkLst>
            <pc:docMk/>
            <pc:sldMk cId="486507416" sldId="516"/>
            <ac:spMk id="40" creationId="{1931DDB2-070E-41B6-AE42-46B74B1FB6F3}"/>
          </ac:spMkLst>
        </pc:spChg>
        <pc:spChg chg="del">
          <ac:chgData name="zur bonsen georg" userId="5444515566c7376a" providerId="LiveId" clId="{18CD7E6B-2C8E-405B-A237-843B9FC9D457}" dt="2022-04-24T09:12:12.097" v="9850" actId="478"/>
          <ac:spMkLst>
            <pc:docMk/>
            <pc:sldMk cId="486507416" sldId="516"/>
            <ac:spMk id="41" creationId="{C102D107-AC2C-4A2A-AEB5-E9FCF73ED5E8}"/>
          </ac:spMkLst>
        </pc:spChg>
        <pc:spChg chg="del">
          <ac:chgData name="zur bonsen georg" userId="5444515566c7376a" providerId="LiveId" clId="{18CD7E6B-2C8E-405B-A237-843B9FC9D457}" dt="2022-04-24T09:12:12.097" v="9850" actId="478"/>
          <ac:spMkLst>
            <pc:docMk/>
            <pc:sldMk cId="486507416" sldId="516"/>
            <ac:spMk id="42" creationId="{B932074D-067C-43AF-93B1-B237A140835C}"/>
          </ac:spMkLst>
        </pc:spChg>
        <pc:spChg chg="del">
          <ac:chgData name="zur bonsen georg" userId="5444515566c7376a" providerId="LiveId" clId="{18CD7E6B-2C8E-405B-A237-843B9FC9D457}" dt="2022-04-24T09:12:12.097" v="9850" actId="478"/>
          <ac:spMkLst>
            <pc:docMk/>
            <pc:sldMk cId="486507416" sldId="516"/>
            <ac:spMk id="43" creationId="{2C58D9B2-1600-472D-9EDB-E447A2895348}"/>
          </ac:spMkLst>
        </pc:spChg>
        <pc:spChg chg="add mod">
          <ac:chgData name="zur bonsen georg" userId="5444515566c7376a" providerId="LiveId" clId="{18CD7E6B-2C8E-405B-A237-843B9FC9D457}" dt="2022-04-24T09:53:40.734" v="11135" actId="1038"/>
          <ac:spMkLst>
            <pc:docMk/>
            <pc:sldMk cId="486507416" sldId="516"/>
            <ac:spMk id="52" creationId="{203B631C-942B-432D-8B61-B635D8DDA59C}"/>
          </ac:spMkLst>
        </pc:spChg>
        <pc:spChg chg="add mod">
          <ac:chgData name="zur bonsen georg" userId="5444515566c7376a" providerId="LiveId" clId="{18CD7E6B-2C8E-405B-A237-843B9FC9D457}" dt="2022-04-24T09:47:26.777" v="10850" actId="14100"/>
          <ac:spMkLst>
            <pc:docMk/>
            <pc:sldMk cId="486507416" sldId="516"/>
            <ac:spMk id="53" creationId="{8F312EE4-9DB1-4852-A44F-375C657AF82D}"/>
          </ac:spMkLst>
        </pc:spChg>
        <pc:spChg chg="add mod">
          <ac:chgData name="zur bonsen georg" userId="5444515566c7376a" providerId="LiveId" clId="{18CD7E6B-2C8E-405B-A237-843B9FC9D457}" dt="2022-04-24T09:30:19.482" v="10141" actId="1038"/>
          <ac:spMkLst>
            <pc:docMk/>
            <pc:sldMk cId="486507416" sldId="516"/>
            <ac:spMk id="54" creationId="{ABB56097-DBC1-402E-8CDB-FBFE423B776F}"/>
          </ac:spMkLst>
        </pc:spChg>
        <pc:spChg chg="add mod">
          <ac:chgData name="zur bonsen georg" userId="5444515566c7376a" providerId="LiveId" clId="{18CD7E6B-2C8E-405B-A237-843B9FC9D457}" dt="2022-04-24T09:47:04.580" v="10840" actId="1035"/>
          <ac:spMkLst>
            <pc:docMk/>
            <pc:sldMk cId="486507416" sldId="516"/>
            <ac:spMk id="55" creationId="{6E7D0383-3014-4FA9-BB4E-BF9BA54A5667}"/>
          </ac:spMkLst>
        </pc:spChg>
        <pc:spChg chg="add mod">
          <ac:chgData name="zur bonsen georg" userId="5444515566c7376a" providerId="LiveId" clId="{18CD7E6B-2C8E-405B-A237-843B9FC9D457}" dt="2022-04-24T09:47:04.580" v="10840" actId="1035"/>
          <ac:spMkLst>
            <pc:docMk/>
            <pc:sldMk cId="486507416" sldId="516"/>
            <ac:spMk id="56" creationId="{AC5C75F6-33B2-4EDE-B006-0060F2327EA3}"/>
          </ac:spMkLst>
        </pc:spChg>
        <pc:spChg chg="add mod">
          <ac:chgData name="zur bonsen georg" userId="5444515566c7376a" providerId="LiveId" clId="{18CD7E6B-2C8E-405B-A237-843B9FC9D457}" dt="2022-04-24T09:47:04.580" v="10840" actId="1035"/>
          <ac:spMkLst>
            <pc:docMk/>
            <pc:sldMk cId="486507416" sldId="516"/>
            <ac:spMk id="57" creationId="{65E122B7-A6D3-4441-9F85-A0AD6AB86F18}"/>
          </ac:spMkLst>
        </pc:spChg>
        <pc:spChg chg="add mod">
          <ac:chgData name="zur bonsen georg" userId="5444515566c7376a" providerId="LiveId" clId="{18CD7E6B-2C8E-405B-A237-843B9FC9D457}" dt="2022-04-24T09:47:04.580" v="10840" actId="1035"/>
          <ac:spMkLst>
            <pc:docMk/>
            <pc:sldMk cId="486507416" sldId="516"/>
            <ac:spMk id="58" creationId="{2EE81BD3-0A03-432B-BC28-2BFE9870D85F}"/>
          </ac:spMkLst>
        </pc:spChg>
        <pc:spChg chg="add mod">
          <ac:chgData name="zur bonsen georg" userId="5444515566c7376a" providerId="LiveId" clId="{18CD7E6B-2C8E-405B-A237-843B9FC9D457}" dt="2022-04-24T09:47:04.580" v="10840" actId="1035"/>
          <ac:spMkLst>
            <pc:docMk/>
            <pc:sldMk cId="486507416" sldId="516"/>
            <ac:spMk id="59" creationId="{9E832CBF-6367-4A1B-9DE0-9A3AC016E9CA}"/>
          </ac:spMkLst>
        </pc:spChg>
        <pc:spChg chg="add mod">
          <ac:chgData name="zur bonsen georg" userId="5444515566c7376a" providerId="LiveId" clId="{18CD7E6B-2C8E-405B-A237-843B9FC9D457}" dt="2022-04-24T09:47:04.580" v="10840" actId="1035"/>
          <ac:spMkLst>
            <pc:docMk/>
            <pc:sldMk cId="486507416" sldId="516"/>
            <ac:spMk id="60" creationId="{283CA7DD-F498-4AF7-8AC2-8951C401642B}"/>
          </ac:spMkLst>
        </pc:spChg>
        <pc:spChg chg="add mod">
          <ac:chgData name="zur bonsen georg" userId="5444515566c7376a" providerId="LiveId" clId="{18CD7E6B-2C8E-405B-A237-843B9FC9D457}" dt="2022-04-24T09:58:18.166" v="11149" actId="20577"/>
          <ac:spMkLst>
            <pc:docMk/>
            <pc:sldMk cId="486507416" sldId="516"/>
            <ac:spMk id="61" creationId="{9FBE586E-4B6F-4673-BA29-204C64B2DE17}"/>
          </ac:spMkLst>
        </pc:spChg>
        <pc:spChg chg="add del mod">
          <ac:chgData name="zur bonsen georg" userId="5444515566c7376a" providerId="LiveId" clId="{18CD7E6B-2C8E-405B-A237-843B9FC9D457}" dt="2022-04-24T09:32:59.338" v="10202" actId="478"/>
          <ac:spMkLst>
            <pc:docMk/>
            <pc:sldMk cId="486507416" sldId="516"/>
            <ac:spMk id="65" creationId="{8FD911D1-1390-4529-8255-6D85129CCA6C}"/>
          </ac:spMkLst>
        </pc:spChg>
        <pc:spChg chg="add mod ord">
          <ac:chgData name="zur bonsen georg" userId="5444515566c7376a" providerId="LiveId" clId="{18CD7E6B-2C8E-405B-A237-843B9FC9D457}" dt="2022-04-24T09:47:04.580" v="10840" actId="1035"/>
          <ac:spMkLst>
            <pc:docMk/>
            <pc:sldMk cId="486507416" sldId="516"/>
            <ac:spMk id="66" creationId="{6D1F2D25-ABE1-4818-8B33-231026119194}"/>
          </ac:spMkLst>
        </pc:spChg>
        <pc:spChg chg="add del mod">
          <ac:chgData name="zur bonsen georg" userId="5444515566c7376a" providerId="LiveId" clId="{18CD7E6B-2C8E-405B-A237-843B9FC9D457}" dt="2022-04-24T09:33:47.897" v="10214" actId="478"/>
          <ac:spMkLst>
            <pc:docMk/>
            <pc:sldMk cId="486507416" sldId="516"/>
            <ac:spMk id="67" creationId="{63CD2D07-D7A0-4B51-99C9-24A6D4AB2BF8}"/>
          </ac:spMkLst>
        </pc:spChg>
        <pc:spChg chg="add del mod">
          <ac:chgData name="zur bonsen georg" userId="5444515566c7376a" providerId="LiveId" clId="{18CD7E6B-2C8E-405B-A237-843B9FC9D457}" dt="2022-04-24T09:33:47.897" v="10214" actId="478"/>
          <ac:spMkLst>
            <pc:docMk/>
            <pc:sldMk cId="486507416" sldId="516"/>
            <ac:spMk id="68" creationId="{568AE0A3-8779-42FE-8BFD-579DF378A9FC}"/>
          </ac:spMkLst>
        </pc:spChg>
        <pc:spChg chg="add mod ord">
          <ac:chgData name="zur bonsen georg" userId="5444515566c7376a" providerId="LiveId" clId="{18CD7E6B-2C8E-405B-A237-843B9FC9D457}" dt="2022-04-24T09:47:04.580" v="10840" actId="1035"/>
          <ac:spMkLst>
            <pc:docMk/>
            <pc:sldMk cId="486507416" sldId="516"/>
            <ac:spMk id="80" creationId="{2AF1CC50-E014-473B-9166-66BF4F401249}"/>
          </ac:spMkLst>
        </pc:spChg>
        <pc:spChg chg="add mod ord">
          <ac:chgData name="zur bonsen georg" userId="5444515566c7376a" providerId="LiveId" clId="{18CD7E6B-2C8E-405B-A237-843B9FC9D457}" dt="2022-04-24T09:47:04.580" v="10840" actId="1035"/>
          <ac:spMkLst>
            <pc:docMk/>
            <pc:sldMk cId="486507416" sldId="516"/>
            <ac:spMk id="81" creationId="{C25375C8-02A8-403B-86D9-DF185FAB96AC}"/>
          </ac:spMkLst>
        </pc:spChg>
        <pc:spChg chg="add mod ord">
          <ac:chgData name="zur bonsen georg" userId="5444515566c7376a" providerId="LiveId" clId="{18CD7E6B-2C8E-405B-A237-843B9FC9D457}" dt="2022-04-24T09:47:04.580" v="10840" actId="1035"/>
          <ac:spMkLst>
            <pc:docMk/>
            <pc:sldMk cId="486507416" sldId="516"/>
            <ac:spMk id="82" creationId="{12670B64-5DC1-4053-AA72-D2604A2125BF}"/>
          </ac:spMkLst>
        </pc:spChg>
        <pc:spChg chg="add mod ord">
          <ac:chgData name="zur bonsen georg" userId="5444515566c7376a" providerId="LiveId" clId="{18CD7E6B-2C8E-405B-A237-843B9FC9D457}" dt="2022-04-24T09:47:04.580" v="10840" actId="1035"/>
          <ac:spMkLst>
            <pc:docMk/>
            <pc:sldMk cId="486507416" sldId="516"/>
            <ac:spMk id="83" creationId="{5479034C-0BD4-4818-90DB-1C41533DFDE7}"/>
          </ac:spMkLst>
        </pc:spChg>
        <pc:spChg chg="add mod ord">
          <ac:chgData name="zur bonsen georg" userId="5444515566c7376a" providerId="LiveId" clId="{18CD7E6B-2C8E-405B-A237-843B9FC9D457}" dt="2022-04-24T09:47:04.580" v="10840" actId="1035"/>
          <ac:spMkLst>
            <pc:docMk/>
            <pc:sldMk cId="486507416" sldId="516"/>
            <ac:spMk id="84" creationId="{3D26F88C-C519-4826-8307-24E0B1F632EB}"/>
          </ac:spMkLst>
        </pc:spChg>
        <pc:spChg chg="add mod ord">
          <ac:chgData name="zur bonsen georg" userId="5444515566c7376a" providerId="LiveId" clId="{18CD7E6B-2C8E-405B-A237-843B9FC9D457}" dt="2022-04-24T09:47:04.580" v="10840" actId="1035"/>
          <ac:spMkLst>
            <pc:docMk/>
            <pc:sldMk cId="486507416" sldId="516"/>
            <ac:spMk id="85" creationId="{D46D7B0C-CD5C-4B12-B457-028F23892FBF}"/>
          </ac:spMkLst>
        </pc:spChg>
        <pc:spChg chg="add mod ord">
          <ac:chgData name="zur bonsen georg" userId="5444515566c7376a" providerId="LiveId" clId="{18CD7E6B-2C8E-405B-A237-843B9FC9D457}" dt="2022-04-24T09:48:31.625" v="10859" actId="14100"/>
          <ac:spMkLst>
            <pc:docMk/>
            <pc:sldMk cId="486507416" sldId="516"/>
            <ac:spMk id="86" creationId="{84589899-8688-4194-BE28-4C34319E6A01}"/>
          </ac:spMkLst>
        </pc:spChg>
        <pc:spChg chg="add mod ord">
          <ac:chgData name="zur bonsen georg" userId="5444515566c7376a" providerId="LiveId" clId="{18CD7E6B-2C8E-405B-A237-843B9FC9D457}" dt="2022-04-24T09:47:04.580" v="10840" actId="1035"/>
          <ac:spMkLst>
            <pc:docMk/>
            <pc:sldMk cId="486507416" sldId="516"/>
            <ac:spMk id="87" creationId="{64B8A89A-74F0-49B9-BEE5-CB52E549C4E3}"/>
          </ac:spMkLst>
        </pc:spChg>
        <pc:spChg chg="add mod ord">
          <ac:chgData name="zur bonsen georg" userId="5444515566c7376a" providerId="LiveId" clId="{18CD7E6B-2C8E-405B-A237-843B9FC9D457}" dt="2022-04-24T09:47:04.580" v="10840" actId="1035"/>
          <ac:spMkLst>
            <pc:docMk/>
            <pc:sldMk cId="486507416" sldId="516"/>
            <ac:spMk id="88" creationId="{FFAF3EF7-ECB1-4FA8-9FBF-EA2EB52B0995}"/>
          </ac:spMkLst>
        </pc:spChg>
        <pc:spChg chg="add mod ord">
          <ac:chgData name="zur bonsen georg" userId="5444515566c7376a" providerId="LiveId" clId="{18CD7E6B-2C8E-405B-A237-843B9FC9D457}" dt="2022-04-24T09:47:04.580" v="10840" actId="1035"/>
          <ac:spMkLst>
            <pc:docMk/>
            <pc:sldMk cId="486507416" sldId="516"/>
            <ac:spMk id="89" creationId="{BA583704-8B95-4A43-99B4-6BC6B6B316D3}"/>
          </ac:spMkLst>
        </pc:spChg>
        <pc:spChg chg="add mod ord">
          <ac:chgData name="zur bonsen georg" userId="5444515566c7376a" providerId="LiveId" clId="{18CD7E6B-2C8E-405B-A237-843B9FC9D457}" dt="2022-04-24T09:47:04.580" v="10840" actId="1035"/>
          <ac:spMkLst>
            <pc:docMk/>
            <pc:sldMk cId="486507416" sldId="516"/>
            <ac:spMk id="90" creationId="{273001C5-EBBF-4CB2-A520-D98228025B2C}"/>
          </ac:spMkLst>
        </pc:spChg>
        <pc:spChg chg="add mod ord">
          <ac:chgData name="zur bonsen georg" userId="5444515566c7376a" providerId="LiveId" clId="{18CD7E6B-2C8E-405B-A237-843B9FC9D457}" dt="2022-04-24T09:47:04.580" v="10840" actId="1035"/>
          <ac:spMkLst>
            <pc:docMk/>
            <pc:sldMk cId="486507416" sldId="516"/>
            <ac:spMk id="91" creationId="{FE7BAECC-630B-4AD3-A536-0A3BB7554FD6}"/>
          </ac:spMkLst>
        </pc:spChg>
        <pc:spChg chg="add mod ord">
          <ac:chgData name="zur bonsen georg" userId="5444515566c7376a" providerId="LiveId" clId="{18CD7E6B-2C8E-405B-A237-843B9FC9D457}" dt="2022-04-24T09:47:04.580" v="10840" actId="1035"/>
          <ac:spMkLst>
            <pc:docMk/>
            <pc:sldMk cId="486507416" sldId="516"/>
            <ac:spMk id="92" creationId="{3598A97A-FFF7-4401-AF47-428F444A41EA}"/>
          </ac:spMkLst>
        </pc:spChg>
        <pc:spChg chg="add mod ord">
          <ac:chgData name="zur bonsen georg" userId="5444515566c7376a" providerId="LiveId" clId="{18CD7E6B-2C8E-405B-A237-843B9FC9D457}" dt="2022-04-24T09:47:04.580" v="10840" actId="1035"/>
          <ac:spMkLst>
            <pc:docMk/>
            <pc:sldMk cId="486507416" sldId="516"/>
            <ac:spMk id="93" creationId="{213A46E3-49EA-40D6-B6BB-13C81BA15319}"/>
          </ac:spMkLst>
        </pc:spChg>
        <pc:spChg chg="add mod">
          <ac:chgData name="zur bonsen georg" userId="5444515566c7376a" providerId="LiveId" clId="{18CD7E6B-2C8E-405B-A237-843B9FC9D457}" dt="2022-04-24T09:47:04.580" v="10840" actId="1035"/>
          <ac:spMkLst>
            <pc:docMk/>
            <pc:sldMk cId="486507416" sldId="516"/>
            <ac:spMk id="94" creationId="{24082245-76AD-45C5-B1CD-334773C3EE7E}"/>
          </ac:spMkLst>
        </pc:spChg>
        <pc:spChg chg="add mod">
          <ac:chgData name="zur bonsen georg" userId="5444515566c7376a" providerId="LiveId" clId="{18CD7E6B-2C8E-405B-A237-843B9FC9D457}" dt="2022-04-24T09:47:04.580" v="10840" actId="1035"/>
          <ac:spMkLst>
            <pc:docMk/>
            <pc:sldMk cId="486507416" sldId="516"/>
            <ac:spMk id="95" creationId="{C9DD8028-44B6-4262-B6DF-A3839B907D5C}"/>
          </ac:spMkLst>
        </pc:spChg>
        <pc:spChg chg="add mod">
          <ac:chgData name="zur bonsen georg" userId="5444515566c7376a" providerId="LiveId" clId="{18CD7E6B-2C8E-405B-A237-843B9FC9D457}" dt="2022-04-24T09:47:04.580" v="10840" actId="1035"/>
          <ac:spMkLst>
            <pc:docMk/>
            <pc:sldMk cId="486507416" sldId="516"/>
            <ac:spMk id="96" creationId="{59501D39-DC6A-40F2-AC0C-A3E08B8586C6}"/>
          </ac:spMkLst>
        </pc:spChg>
        <pc:spChg chg="add mod">
          <ac:chgData name="zur bonsen georg" userId="5444515566c7376a" providerId="LiveId" clId="{18CD7E6B-2C8E-405B-A237-843B9FC9D457}" dt="2022-04-24T09:48:54.364" v="10865" actId="20577"/>
          <ac:spMkLst>
            <pc:docMk/>
            <pc:sldMk cId="486507416" sldId="516"/>
            <ac:spMk id="97" creationId="{1BA0CAF0-DF6C-4E8A-A477-40E7F0EA5DD2}"/>
          </ac:spMkLst>
        </pc:spChg>
        <pc:spChg chg="add mod">
          <ac:chgData name="zur bonsen georg" userId="5444515566c7376a" providerId="LiveId" clId="{18CD7E6B-2C8E-405B-A237-843B9FC9D457}" dt="2022-04-24T09:54:07.562" v="11148" actId="1038"/>
          <ac:spMkLst>
            <pc:docMk/>
            <pc:sldMk cId="486507416" sldId="516"/>
            <ac:spMk id="98" creationId="{EF0569DC-8B42-4E32-A322-88A2C67D0C05}"/>
          </ac:spMkLst>
        </pc:spChg>
        <pc:spChg chg="add mod">
          <ac:chgData name="zur bonsen georg" userId="5444515566c7376a" providerId="LiveId" clId="{18CD7E6B-2C8E-405B-A237-843B9FC9D457}" dt="2022-04-24T09:53:53.080" v="11144" actId="1036"/>
          <ac:spMkLst>
            <pc:docMk/>
            <pc:sldMk cId="486507416" sldId="516"/>
            <ac:spMk id="99" creationId="{20834EA1-5C27-45CE-8593-82B1476477A8}"/>
          </ac:spMkLst>
        </pc:spChg>
        <pc:spChg chg="add mod">
          <ac:chgData name="zur bonsen georg" userId="5444515566c7376a" providerId="LiveId" clId="{18CD7E6B-2C8E-405B-A237-843B9FC9D457}" dt="2022-04-24T09:47:04.580" v="10840" actId="1035"/>
          <ac:spMkLst>
            <pc:docMk/>
            <pc:sldMk cId="486507416" sldId="516"/>
            <ac:spMk id="100" creationId="{4543FE51-85C0-4DB1-B928-2096925C9817}"/>
          </ac:spMkLst>
        </pc:spChg>
        <pc:spChg chg="add del mod">
          <ac:chgData name="zur bonsen georg" userId="5444515566c7376a" providerId="LiveId" clId="{18CD7E6B-2C8E-405B-A237-843B9FC9D457}" dt="2022-04-24T09:43:22.829" v="10736" actId="478"/>
          <ac:spMkLst>
            <pc:docMk/>
            <pc:sldMk cId="486507416" sldId="516"/>
            <ac:spMk id="103" creationId="{833C44BD-E8B9-476B-8856-3123C54F688E}"/>
          </ac:spMkLst>
        </pc:spChg>
        <pc:spChg chg="add del mod">
          <ac:chgData name="zur bonsen georg" userId="5444515566c7376a" providerId="LiveId" clId="{18CD7E6B-2C8E-405B-A237-843B9FC9D457}" dt="2022-04-24T09:46:26.453" v="10769" actId="478"/>
          <ac:spMkLst>
            <pc:docMk/>
            <pc:sldMk cId="486507416" sldId="516"/>
            <ac:spMk id="105" creationId="{676E81E5-E972-4FCA-A29E-EDC233624D19}"/>
          </ac:spMkLst>
        </pc:spChg>
        <pc:spChg chg="add mod">
          <ac:chgData name="zur bonsen georg" userId="5444515566c7376a" providerId="LiveId" clId="{18CD7E6B-2C8E-405B-A237-843B9FC9D457}" dt="2022-04-24T09:47:29.075" v="10851" actId="121"/>
          <ac:spMkLst>
            <pc:docMk/>
            <pc:sldMk cId="486507416" sldId="516"/>
            <ac:spMk id="106" creationId="{569443BF-A519-4247-9C59-73E0C648B534}"/>
          </ac:spMkLst>
        </pc:spChg>
        <pc:spChg chg="add mod">
          <ac:chgData name="zur bonsen georg" userId="5444515566c7376a" providerId="LiveId" clId="{18CD7E6B-2C8E-405B-A237-843B9FC9D457}" dt="2022-04-24T09:53:40.734" v="11135" actId="1038"/>
          <ac:spMkLst>
            <pc:docMk/>
            <pc:sldMk cId="486507416" sldId="516"/>
            <ac:spMk id="107" creationId="{CB76399E-FA26-4202-AA89-BBF7B05A8091}"/>
          </ac:spMkLst>
        </pc:spChg>
        <pc:spChg chg="add mod">
          <ac:chgData name="zur bonsen georg" userId="5444515566c7376a" providerId="LiveId" clId="{18CD7E6B-2C8E-405B-A237-843B9FC9D457}" dt="2022-04-24T09:53:50.658" v="11142" actId="1036"/>
          <ac:spMkLst>
            <pc:docMk/>
            <pc:sldMk cId="486507416" sldId="516"/>
            <ac:spMk id="111" creationId="{0E212DA4-1DC8-441E-A4AE-E36E7513D353}"/>
          </ac:spMkLst>
        </pc:spChg>
        <pc:spChg chg="add del mod">
          <ac:chgData name="zur bonsen georg" userId="5444515566c7376a" providerId="LiveId" clId="{18CD7E6B-2C8E-405B-A237-843B9FC9D457}" dt="2022-04-24T09:53:09.418" v="11128" actId="478"/>
          <ac:spMkLst>
            <pc:docMk/>
            <pc:sldMk cId="486507416" sldId="516"/>
            <ac:spMk id="112" creationId="{0F7A5775-8A15-4974-8E03-550C0A9313C4}"/>
          </ac:spMkLst>
        </pc:spChg>
        <pc:grpChg chg="add del mod">
          <ac:chgData name="zur bonsen georg" userId="5444515566c7376a" providerId="LiveId" clId="{18CD7E6B-2C8E-405B-A237-843B9FC9D457}" dt="2022-04-24T09:33:33.971" v="10208" actId="165"/>
          <ac:grpSpMkLst>
            <pc:docMk/>
            <pc:sldMk cId="486507416" sldId="516"/>
            <ac:grpSpMk id="64" creationId="{D2606789-A2A8-40C9-AE0F-F33969F44B7E}"/>
          </ac:grpSpMkLst>
        </pc:grpChg>
        <pc:grpChg chg="add mod">
          <ac:chgData name="zur bonsen georg" userId="5444515566c7376a" providerId="LiveId" clId="{18CD7E6B-2C8E-405B-A237-843B9FC9D457}" dt="2022-04-24T09:47:55.613" v="10853" actId="14100"/>
          <ac:grpSpMkLst>
            <pc:docMk/>
            <pc:sldMk cId="486507416" sldId="516"/>
            <ac:grpSpMk id="108" creationId="{23A4939E-7A11-4DE4-ABA5-4A699BA25ED4}"/>
          </ac:grpSpMkLst>
        </pc:grpChg>
        <pc:cxnChg chg="add mod topLvl">
          <ac:chgData name="zur bonsen georg" userId="5444515566c7376a" providerId="LiveId" clId="{18CD7E6B-2C8E-405B-A237-843B9FC9D457}" dt="2022-04-24T09:47:53.139" v="10852" actId="164"/>
          <ac:cxnSpMkLst>
            <pc:docMk/>
            <pc:sldMk cId="486507416" sldId="516"/>
            <ac:cxnSpMk id="4" creationId="{F842D469-7273-4A60-A4B8-5BD7647CADB0}"/>
          </ac:cxnSpMkLst>
        </pc:cxnChg>
        <pc:cxnChg chg="del">
          <ac:chgData name="zur bonsen georg" userId="5444515566c7376a" providerId="LiveId" clId="{18CD7E6B-2C8E-405B-A237-843B9FC9D457}" dt="2022-04-24T09:12:12.097" v="9850" actId="478"/>
          <ac:cxnSpMkLst>
            <pc:docMk/>
            <pc:sldMk cId="486507416" sldId="516"/>
            <ac:cxnSpMk id="23" creationId="{DC3BDD63-8417-4E77-8ABA-29991766C581}"/>
          </ac:cxnSpMkLst>
        </pc:cxnChg>
        <pc:cxnChg chg="del mod">
          <ac:chgData name="zur bonsen georg" userId="5444515566c7376a" providerId="LiveId" clId="{18CD7E6B-2C8E-405B-A237-843B9FC9D457}" dt="2022-04-24T09:12:12.097" v="9850" actId="478"/>
          <ac:cxnSpMkLst>
            <pc:docMk/>
            <pc:sldMk cId="486507416" sldId="516"/>
            <ac:cxnSpMk id="26" creationId="{08278BCF-5D50-463B-9BFF-7F810B6E2EE0}"/>
          </ac:cxnSpMkLst>
        </pc:cxnChg>
        <pc:cxnChg chg="del">
          <ac:chgData name="zur bonsen georg" userId="5444515566c7376a" providerId="LiveId" clId="{18CD7E6B-2C8E-405B-A237-843B9FC9D457}" dt="2022-04-24T09:12:12.097" v="9850" actId="478"/>
          <ac:cxnSpMkLst>
            <pc:docMk/>
            <pc:sldMk cId="486507416" sldId="516"/>
            <ac:cxnSpMk id="28" creationId="{195B627C-358A-4EC7-939A-4B00634E1B10}"/>
          </ac:cxnSpMkLst>
        </pc:cxnChg>
        <pc:cxnChg chg="add del mod">
          <ac:chgData name="zur bonsen georg" userId="5444515566c7376a" providerId="LiveId" clId="{18CD7E6B-2C8E-405B-A237-843B9FC9D457}" dt="2022-04-24T09:13:33.499" v="9879" actId="478"/>
          <ac:cxnSpMkLst>
            <pc:docMk/>
            <pc:sldMk cId="486507416" sldId="516"/>
            <ac:cxnSpMk id="29" creationId="{89027FBD-F4CF-4A15-806C-8BC610CE413E}"/>
          </ac:cxnSpMkLst>
        </pc:cxnChg>
        <pc:cxnChg chg="add del mod">
          <ac:chgData name="zur bonsen georg" userId="5444515566c7376a" providerId="LiveId" clId="{18CD7E6B-2C8E-405B-A237-843B9FC9D457}" dt="2022-04-24T09:13:33.499" v="9879" actId="478"/>
          <ac:cxnSpMkLst>
            <pc:docMk/>
            <pc:sldMk cId="486507416" sldId="516"/>
            <ac:cxnSpMk id="30" creationId="{BAA9AD98-B992-4783-8361-28CF1D26BFA5}"/>
          </ac:cxnSpMkLst>
        </pc:cxnChg>
        <pc:cxnChg chg="add del mod">
          <ac:chgData name="zur bonsen georg" userId="5444515566c7376a" providerId="LiveId" clId="{18CD7E6B-2C8E-405B-A237-843B9FC9D457}" dt="2022-04-24T09:13:33.499" v="9879" actId="478"/>
          <ac:cxnSpMkLst>
            <pc:docMk/>
            <pc:sldMk cId="486507416" sldId="516"/>
            <ac:cxnSpMk id="32" creationId="{D08133E7-7C1B-414B-8CA8-C620E79B3FC6}"/>
          </ac:cxnSpMkLst>
        </pc:cxnChg>
        <pc:cxnChg chg="add del mod">
          <ac:chgData name="zur bonsen georg" userId="5444515566c7376a" providerId="LiveId" clId="{18CD7E6B-2C8E-405B-A237-843B9FC9D457}" dt="2022-04-24T09:13:33.499" v="9879" actId="478"/>
          <ac:cxnSpMkLst>
            <pc:docMk/>
            <pc:sldMk cId="486507416" sldId="516"/>
            <ac:cxnSpMk id="33" creationId="{CCF686B3-6F1E-4E51-AA68-6AE8545F7F48}"/>
          </ac:cxnSpMkLst>
        </pc:cxnChg>
        <pc:cxnChg chg="add del mod">
          <ac:chgData name="zur bonsen georg" userId="5444515566c7376a" providerId="LiveId" clId="{18CD7E6B-2C8E-405B-A237-843B9FC9D457}" dt="2022-04-24T09:13:33.499" v="9879" actId="478"/>
          <ac:cxnSpMkLst>
            <pc:docMk/>
            <pc:sldMk cId="486507416" sldId="516"/>
            <ac:cxnSpMk id="35" creationId="{F5D4914B-87CC-4263-A718-CB681F75A62A}"/>
          </ac:cxnSpMkLst>
        </pc:cxnChg>
        <pc:cxnChg chg="add del mod">
          <ac:chgData name="zur bonsen georg" userId="5444515566c7376a" providerId="LiveId" clId="{18CD7E6B-2C8E-405B-A237-843B9FC9D457}" dt="2022-04-24T09:13:33.499" v="9879" actId="478"/>
          <ac:cxnSpMkLst>
            <pc:docMk/>
            <pc:sldMk cId="486507416" sldId="516"/>
            <ac:cxnSpMk id="37" creationId="{F26399DD-703C-4252-A9AD-99F4344932EF}"/>
          </ac:cxnSpMkLst>
        </pc:cxnChg>
        <pc:cxnChg chg="add mod topLvl">
          <ac:chgData name="zur bonsen georg" userId="5444515566c7376a" providerId="LiveId" clId="{18CD7E6B-2C8E-405B-A237-843B9FC9D457}" dt="2022-04-24T09:47:53.139" v="10852" actId="164"/>
          <ac:cxnSpMkLst>
            <pc:docMk/>
            <pc:sldMk cId="486507416" sldId="516"/>
            <ac:cxnSpMk id="39" creationId="{A4894391-C828-4D75-B11E-96527C1724D4}"/>
          </ac:cxnSpMkLst>
        </pc:cxnChg>
        <pc:cxnChg chg="add del mod topLvl">
          <ac:chgData name="zur bonsen georg" userId="5444515566c7376a" providerId="LiveId" clId="{18CD7E6B-2C8E-405B-A237-843B9FC9D457}" dt="2022-04-24T09:34:09.418" v="10257" actId="478"/>
          <ac:cxnSpMkLst>
            <pc:docMk/>
            <pc:sldMk cId="486507416" sldId="516"/>
            <ac:cxnSpMk id="44" creationId="{19CEB66E-A9D0-40BA-869E-C88D7D3BC0E9}"/>
          </ac:cxnSpMkLst>
        </pc:cxnChg>
        <pc:cxnChg chg="add del mod topLvl">
          <ac:chgData name="zur bonsen georg" userId="5444515566c7376a" providerId="LiveId" clId="{18CD7E6B-2C8E-405B-A237-843B9FC9D457}" dt="2022-04-24T09:34:10.779" v="10258" actId="478"/>
          <ac:cxnSpMkLst>
            <pc:docMk/>
            <pc:sldMk cId="486507416" sldId="516"/>
            <ac:cxnSpMk id="45" creationId="{614D6E0E-3F32-4DA1-BCF9-9480C150F757}"/>
          </ac:cxnSpMkLst>
        </pc:cxnChg>
        <pc:cxnChg chg="add del mod topLvl">
          <ac:chgData name="zur bonsen georg" userId="5444515566c7376a" providerId="LiveId" clId="{18CD7E6B-2C8E-405B-A237-843B9FC9D457}" dt="2022-04-24T09:34:12.428" v="10259" actId="478"/>
          <ac:cxnSpMkLst>
            <pc:docMk/>
            <pc:sldMk cId="486507416" sldId="516"/>
            <ac:cxnSpMk id="46" creationId="{415E90ED-964C-4A05-9937-8C3489F7F04F}"/>
          </ac:cxnSpMkLst>
        </pc:cxnChg>
        <pc:cxnChg chg="add del mod topLvl">
          <ac:chgData name="zur bonsen georg" userId="5444515566c7376a" providerId="LiveId" clId="{18CD7E6B-2C8E-405B-A237-843B9FC9D457}" dt="2022-04-24T09:34:13.477" v="10260" actId="478"/>
          <ac:cxnSpMkLst>
            <pc:docMk/>
            <pc:sldMk cId="486507416" sldId="516"/>
            <ac:cxnSpMk id="47" creationId="{FF982C1E-530A-4A5B-B61F-6697D2A5CD83}"/>
          </ac:cxnSpMkLst>
        </pc:cxnChg>
        <pc:cxnChg chg="add del mod topLvl">
          <ac:chgData name="zur bonsen georg" userId="5444515566c7376a" providerId="LiveId" clId="{18CD7E6B-2C8E-405B-A237-843B9FC9D457}" dt="2022-04-24T09:34:07.336" v="10256" actId="478"/>
          <ac:cxnSpMkLst>
            <pc:docMk/>
            <pc:sldMk cId="486507416" sldId="516"/>
            <ac:cxnSpMk id="48" creationId="{E568B535-D528-41D5-9134-86A6AE376A84}"/>
          </ac:cxnSpMkLst>
        </pc:cxnChg>
        <pc:cxnChg chg="add mod topLvl">
          <ac:chgData name="zur bonsen georg" userId="5444515566c7376a" providerId="LiveId" clId="{18CD7E6B-2C8E-405B-A237-843B9FC9D457}" dt="2022-04-24T09:47:58.724" v="10856" actId="1036"/>
          <ac:cxnSpMkLst>
            <pc:docMk/>
            <pc:sldMk cId="486507416" sldId="516"/>
            <ac:cxnSpMk id="49" creationId="{48D66365-D37C-45BC-B23E-71F347D01CAC}"/>
          </ac:cxnSpMkLst>
        </pc:cxnChg>
        <pc:cxnChg chg="add mod topLvl">
          <ac:chgData name="zur bonsen georg" userId="5444515566c7376a" providerId="LiveId" clId="{18CD7E6B-2C8E-405B-A237-843B9FC9D457}" dt="2022-04-24T09:34:29.911" v="10266" actId="14100"/>
          <ac:cxnSpMkLst>
            <pc:docMk/>
            <pc:sldMk cId="486507416" sldId="516"/>
            <ac:cxnSpMk id="50" creationId="{12BC7B7F-E63B-4202-8BD1-D3D2BB179550}"/>
          </ac:cxnSpMkLst>
        </pc:cxnChg>
        <pc:cxnChg chg="add mod topLvl">
          <ac:chgData name="zur bonsen georg" userId="5444515566c7376a" providerId="LiveId" clId="{18CD7E6B-2C8E-405B-A237-843B9FC9D457}" dt="2022-04-24T09:47:07.458" v="10841" actId="1036"/>
          <ac:cxnSpMkLst>
            <pc:docMk/>
            <pc:sldMk cId="486507416" sldId="516"/>
            <ac:cxnSpMk id="51" creationId="{902CA58C-AA75-4D07-838F-11799D28965F}"/>
          </ac:cxnSpMkLst>
        </pc:cxnChg>
        <pc:cxnChg chg="del">
          <ac:chgData name="zur bonsen georg" userId="5444515566c7376a" providerId="LiveId" clId="{18CD7E6B-2C8E-405B-A237-843B9FC9D457}" dt="2022-04-24T09:12:12.097" v="9850" actId="478"/>
          <ac:cxnSpMkLst>
            <pc:docMk/>
            <pc:sldMk cId="486507416" sldId="516"/>
            <ac:cxnSpMk id="63" creationId="{EFBFE234-A777-42B3-B97B-9C4B44000D41}"/>
          </ac:cxnSpMkLst>
        </pc:cxnChg>
        <pc:cxnChg chg="add mod">
          <ac:chgData name="zur bonsen georg" userId="5444515566c7376a" providerId="LiveId" clId="{18CD7E6B-2C8E-405B-A237-843B9FC9D457}" dt="2022-04-24T09:47:53.139" v="10852" actId="164"/>
          <ac:cxnSpMkLst>
            <pc:docMk/>
            <pc:sldMk cId="486507416" sldId="516"/>
            <ac:cxnSpMk id="69" creationId="{35E8535F-64D6-4F95-AED8-8D390630AA4B}"/>
          </ac:cxnSpMkLst>
        </pc:cxnChg>
        <pc:cxnChg chg="add mod">
          <ac:chgData name="zur bonsen georg" userId="5444515566c7376a" providerId="LiveId" clId="{18CD7E6B-2C8E-405B-A237-843B9FC9D457}" dt="2022-04-24T09:47:53.139" v="10852" actId="164"/>
          <ac:cxnSpMkLst>
            <pc:docMk/>
            <pc:sldMk cId="486507416" sldId="516"/>
            <ac:cxnSpMk id="70" creationId="{02EA09E3-29FD-4B40-BAB8-14FB177F4597}"/>
          </ac:cxnSpMkLst>
        </pc:cxnChg>
        <pc:cxnChg chg="add mod">
          <ac:chgData name="zur bonsen georg" userId="5444515566c7376a" providerId="LiveId" clId="{18CD7E6B-2C8E-405B-A237-843B9FC9D457}" dt="2022-04-24T09:47:53.139" v="10852" actId="164"/>
          <ac:cxnSpMkLst>
            <pc:docMk/>
            <pc:sldMk cId="486507416" sldId="516"/>
            <ac:cxnSpMk id="71" creationId="{6B49EAB6-DBB6-47F2-8C5A-0E730310F041}"/>
          </ac:cxnSpMkLst>
        </pc:cxnChg>
        <pc:cxnChg chg="add mod">
          <ac:chgData name="zur bonsen georg" userId="5444515566c7376a" providerId="LiveId" clId="{18CD7E6B-2C8E-405B-A237-843B9FC9D457}" dt="2022-04-24T09:47:53.139" v="10852" actId="164"/>
          <ac:cxnSpMkLst>
            <pc:docMk/>
            <pc:sldMk cId="486507416" sldId="516"/>
            <ac:cxnSpMk id="72" creationId="{71F89E94-DF9E-4448-8D76-C7306D691158}"/>
          </ac:cxnSpMkLst>
        </pc:cxnChg>
        <pc:cxnChg chg="add mod">
          <ac:chgData name="zur bonsen georg" userId="5444515566c7376a" providerId="LiveId" clId="{18CD7E6B-2C8E-405B-A237-843B9FC9D457}" dt="2022-04-24T09:47:53.139" v="10852" actId="164"/>
          <ac:cxnSpMkLst>
            <pc:docMk/>
            <pc:sldMk cId="486507416" sldId="516"/>
            <ac:cxnSpMk id="73" creationId="{AC2345D7-453F-48DA-9856-BB628BAE4862}"/>
          </ac:cxnSpMkLst>
        </pc:cxnChg>
        <pc:cxnChg chg="add mod">
          <ac:chgData name="zur bonsen georg" userId="5444515566c7376a" providerId="LiveId" clId="{18CD7E6B-2C8E-405B-A237-843B9FC9D457}" dt="2022-04-24T09:47:53.139" v="10852" actId="164"/>
          <ac:cxnSpMkLst>
            <pc:docMk/>
            <pc:sldMk cId="486507416" sldId="516"/>
            <ac:cxnSpMk id="74" creationId="{9441C0AC-0429-4B88-A95F-F3DD8C427E3F}"/>
          </ac:cxnSpMkLst>
        </pc:cxnChg>
        <pc:cxnChg chg="add mod">
          <ac:chgData name="zur bonsen georg" userId="5444515566c7376a" providerId="LiveId" clId="{18CD7E6B-2C8E-405B-A237-843B9FC9D457}" dt="2022-04-24T09:47:53.139" v="10852" actId="164"/>
          <ac:cxnSpMkLst>
            <pc:docMk/>
            <pc:sldMk cId="486507416" sldId="516"/>
            <ac:cxnSpMk id="75" creationId="{42DEA55A-A88E-43ED-9C06-D58243AFDD69}"/>
          </ac:cxnSpMkLst>
        </pc:cxnChg>
        <pc:cxnChg chg="add mod">
          <ac:chgData name="zur bonsen georg" userId="5444515566c7376a" providerId="LiveId" clId="{18CD7E6B-2C8E-405B-A237-843B9FC9D457}" dt="2022-04-24T09:47:53.139" v="10852" actId="164"/>
          <ac:cxnSpMkLst>
            <pc:docMk/>
            <pc:sldMk cId="486507416" sldId="516"/>
            <ac:cxnSpMk id="76" creationId="{39345581-3111-489E-AF08-1B7C443C9F3D}"/>
          </ac:cxnSpMkLst>
        </pc:cxnChg>
        <pc:cxnChg chg="add mod">
          <ac:chgData name="zur bonsen georg" userId="5444515566c7376a" providerId="LiveId" clId="{18CD7E6B-2C8E-405B-A237-843B9FC9D457}" dt="2022-04-24T09:54:01.046" v="11146" actId="14100"/>
          <ac:cxnSpMkLst>
            <pc:docMk/>
            <pc:sldMk cId="486507416" sldId="516"/>
            <ac:cxnSpMk id="102" creationId="{9790E2B3-7045-4D08-9FC1-D3E037BECFC0}"/>
          </ac:cxnSpMkLst>
        </pc:cxnChg>
      </pc:sldChg>
      <pc:sldChg chg="addSp delSp modSp add mod">
        <pc:chgData name="zur bonsen georg" userId="5444515566c7376a" providerId="LiveId" clId="{18CD7E6B-2C8E-405B-A237-843B9FC9D457}" dt="2022-04-24T19:41:43.795" v="12845" actId="114"/>
        <pc:sldMkLst>
          <pc:docMk/>
          <pc:sldMk cId="3613540113" sldId="517"/>
        </pc:sldMkLst>
        <pc:spChg chg="mod">
          <ac:chgData name="zur bonsen georg" userId="5444515566c7376a" providerId="LiveId" clId="{18CD7E6B-2C8E-405B-A237-843B9FC9D457}" dt="2022-04-24T18:10:45.431" v="11159" actId="20577"/>
          <ac:spMkLst>
            <pc:docMk/>
            <pc:sldMk cId="3613540113" sldId="517"/>
            <ac:spMk id="2" creationId="{00000000-0000-0000-0000-000000000000}"/>
          </ac:spMkLst>
        </pc:spChg>
        <pc:spChg chg="add mod">
          <ac:chgData name="zur bonsen georg" userId="5444515566c7376a" providerId="LiveId" clId="{18CD7E6B-2C8E-405B-A237-843B9FC9D457}" dt="2022-04-24T19:36:00.623" v="12514" actId="14100"/>
          <ac:spMkLst>
            <pc:docMk/>
            <pc:sldMk cId="3613540113" sldId="517"/>
            <ac:spMk id="3" creationId="{791B3492-49E5-4EAB-AB2D-4735FA5554D6}"/>
          </ac:spMkLst>
        </pc:spChg>
        <pc:spChg chg="del">
          <ac:chgData name="zur bonsen georg" userId="5444515566c7376a" providerId="LiveId" clId="{18CD7E6B-2C8E-405B-A237-843B9FC9D457}" dt="2022-04-24T18:10:50.091" v="11160" actId="478"/>
          <ac:spMkLst>
            <pc:docMk/>
            <pc:sldMk cId="3613540113" sldId="517"/>
            <ac:spMk id="8" creationId="{889D2F18-1ED3-4699-B6EB-7D9715CEA0EF}"/>
          </ac:spMkLst>
        </pc:spChg>
        <pc:spChg chg="del">
          <ac:chgData name="zur bonsen georg" userId="5444515566c7376a" providerId="LiveId" clId="{18CD7E6B-2C8E-405B-A237-843B9FC9D457}" dt="2022-04-24T18:10:50.091" v="11160" actId="478"/>
          <ac:spMkLst>
            <pc:docMk/>
            <pc:sldMk cId="3613540113" sldId="517"/>
            <ac:spMk id="24" creationId="{3ED4B5A5-B74F-409B-B444-4889A1BBB5CD}"/>
          </ac:spMkLst>
        </pc:spChg>
        <pc:spChg chg="del">
          <ac:chgData name="zur bonsen georg" userId="5444515566c7376a" providerId="LiveId" clId="{18CD7E6B-2C8E-405B-A237-843B9FC9D457}" dt="2022-04-24T18:10:50.091" v="11160" actId="478"/>
          <ac:spMkLst>
            <pc:docMk/>
            <pc:sldMk cId="3613540113" sldId="517"/>
            <ac:spMk id="25" creationId="{706CEEAD-4E9E-4564-912D-BD0F1A60239B}"/>
          </ac:spMkLst>
        </pc:spChg>
        <pc:spChg chg="del">
          <ac:chgData name="zur bonsen georg" userId="5444515566c7376a" providerId="LiveId" clId="{18CD7E6B-2C8E-405B-A237-843B9FC9D457}" dt="2022-04-24T18:10:50.091" v="11160" actId="478"/>
          <ac:spMkLst>
            <pc:docMk/>
            <pc:sldMk cId="3613540113" sldId="517"/>
            <ac:spMk id="27" creationId="{C845053D-E8BC-4208-87F1-7CFD3E8C9182}"/>
          </ac:spMkLst>
        </pc:spChg>
        <pc:spChg chg="del">
          <ac:chgData name="zur bonsen georg" userId="5444515566c7376a" providerId="LiveId" clId="{18CD7E6B-2C8E-405B-A237-843B9FC9D457}" dt="2022-04-24T18:10:50.091" v="11160" actId="478"/>
          <ac:spMkLst>
            <pc:docMk/>
            <pc:sldMk cId="3613540113" sldId="517"/>
            <ac:spMk id="52" creationId="{203B631C-942B-432D-8B61-B635D8DDA59C}"/>
          </ac:spMkLst>
        </pc:spChg>
        <pc:spChg chg="del">
          <ac:chgData name="zur bonsen georg" userId="5444515566c7376a" providerId="LiveId" clId="{18CD7E6B-2C8E-405B-A237-843B9FC9D457}" dt="2022-04-24T18:10:50.091" v="11160" actId="478"/>
          <ac:spMkLst>
            <pc:docMk/>
            <pc:sldMk cId="3613540113" sldId="517"/>
            <ac:spMk id="53" creationId="{8F312EE4-9DB1-4852-A44F-375C657AF82D}"/>
          </ac:spMkLst>
        </pc:spChg>
        <pc:spChg chg="del">
          <ac:chgData name="zur bonsen georg" userId="5444515566c7376a" providerId="LiveId" clId="{18CD7E6B-2C8E-405B-A237-843B9FC9D457}" dt="2022-04-24T18:10:50.091" v="11160" actId="478"/>
          <ac:spMkLst>
            <pc:docMk/>
            <pc:sldMk cId="3613540113" sldId="517"/>
            <ac:spMk id="54" creationId="{ABB56097-DBC1-402E-8CDB-FBFE423B776F}"/>
          </ac:spMkLst>
        </pc:spChg>
        <pc:spChg chg="del">
          <ac:chgData name="zur bonsen georg" userId="5444515566c7376a" providerId="LiveId" clId="{18CD7E6B-2C8E-405B-A237-843B9FC9D457}" dt="2022-04-24T18:10:50.091" v="11160" actId="478"/>
          <ac:spMkLst>
            <pc:docMk/>
            <pc:sldMk cId="3613540113" sldId="517"/>
            <ac:spMk id="55" creationId="{6E7D0383-3014-4FA9-BB4E-BF9BA54A5667}"/>
          </ac:spMkLst>
        </pc:spChg>
        <pc:spChg chg="del">
          <ac:chgData name="zur bonsen georg" userId="5444515566c7376a" providerId="LiveId" clId="{18CD7E6B-2C8E-405B-A237-843B9FC9D457}" dt="2022-04-24T18:10:50.091" v="11160" actId="478"/>
          <ac:spMkLst>
            <pc:docMk/>
            <pc:sldMk cId="3613540113" sldId="517"/>
            <ac:spMk id="56" creationId="{AC5C75F6-33B2-4EDE-B006-0060F2327EA3}"/>
          </ac:spMkLst>
        </pc:spChg>
        <pc:spChg chg="del">
          <ac:chgData name="zur bonsen georg" userId="5444515566c7376a" providerId="LiveId" clId="{18CD7E6B-2C8E-405B-A237-843B9FC9D457}" dt="2022-04-24T18:10:50.091" v="11160" actId="478"/>
          <ac:spMkLst>
            <pc:docMk/>
            <pc:sldMk cId="3613540113" sldId="517"/>
            <ac:spMk id="57" creationId="{65E122B7-A6D3-4441-9F85-A0AD6AB86F18}"/>
          </ac:spMkLst>
        </pc:spChg>
        <pc:spChg chg="del">
          <ac:chgData name="zur bonsen georg" userId="5444515566c7376a" providerId="LiveId" clId="{18CD7E6B-2C8E-405B-A237-843B9FC9D457}" dt="2022-04-24T18:10:50.091" v="11160" actId="478"/>
          <ac:spMkLst>
            <pc:docMk/>
            <pc:sldMk cId="3613540113" sldId="517"/>
            <ac:spMk id="58" creationId="{2EE81BD3-0A03-432B-BC28-2BFE9870D85F}"/>
          </ac:spMkLst>
        </pc:spChg>
        <pc:spChg chg="del">
          <ac:chgData name="zur bonsen georg" userId="5444515566c7376a" providerId="LiveId" clId="{18CD7E6B-2C8E-405B-A237-843B9FC9D457}" dt="2022-04-24T18:10:50.091" v="11160" actId="478"/>
          <ac:spMkLst>
            <pc:docMk/>
            <pc:sldMk cId="3613540113" sldId="517"/>
            <ac:spMk id="59" creationId="{9E832CBF-6367-4A1B-9DE0-9A3AC016E9CA}"/>
          </ac:spMkLst>
        </pc:spChg>
        <pc:spChg chg="del">
          <ac:chgData name="zur bonsen georg" userId="5444515566c7376a" providerId="LiveId" clId="{18CD7E6B-2C8E-405B-A237-843B9FC9D457}" dt="2022-04-24T18:10:50.091" v="11160" actId="478"/>
          <ac:spMkLst>
            <pc:docMk/>
            <pc:sldMk cId="3613540113" sldId="517"/>
            <ac:spMk id="60" creationId="{283CA7DD-F498-4AF7-8AC2-8951C401642B}"/>
          </ac:spMkLst>
        </pc:spChg>
        <pc:spChg chg="del">
          <ac:chgData name="zur bonsen georg" userId="5444515566c7376a" providerId="LiveId" clId="{18CD7E6B-2C8E-405B-A237-843B9FC9D457}" dt="2022-04-24T18:10:50.091" v="11160" actId="478"/>
          <ac:spMkLst>
            <pc:docMk/>
            <pc:sldMk cId="3613540113" sldId="517"/>
            <ac:spMk id="61" creationId="{9FBE586E-4B6F-4673-BA29-204C64B2DE17}"/>
          </ac:spMkLst>
        </pc:spChg>
        <pc:spChg chg="add del mod">
          <ac:chgData name="zur bonsen georg" userId="5444515566c7376a" providerId="LiveId" clId="{18CD7E6B-2C8E-405B-A237-843B9FC9D457}" dt="2022-04-24T18:12:08.397" v="11185" actId="478"/>
          <ac:spMkLst>
            <pc:docMk/>
            <pc:sldMk cId="3613540113" sldId="517"/>
            <ac:spMk id="62" creationId="{798DB2BF-CC54-4FB6-A937-44CF1CC94E61}"/>
          </ac:spMkLst>
        </pc:spChg>
        <pc:spChg chg="add del mod">
          <ac:chgData name="zur bonsen georg" userId="5444515566c7376a" providerId="LiveId" clId="{18CD7E6B-2C8E-405B-A237-843B9FC9D457}" dt="2022-04-24T18:12:08.397" v="11185" actId="478"/>
          <ac:spMkLst>
            <pc:docMk/>
            <pc:sldMk cId="3613540113" sldId="517"/>
            <ac:spMk id="63" creationId="{E8930E2F-25D9-4291-8304-D6D4CFD34FD2}"/>
          </ac:spMkLst>
        </pc:spChg>
        <pc:spChg chg="add mod">
          <ac:chgData name="zur bonsen georg" userId="5444515566c7376a" providerId="LiveId" clId="{18CD7E6B-2C8E-405B-A237-843B9FC9D457}" dt="2022-04-24T19:37:17.584" v="12549" actId="1035"/>
          <ac:spMkLst>
            <pc:docMk/>
            <pc:sldMk cId="3613540113" sldId="517"/>
            <ac:spMk id="64" creationId="{883ABDD0-65A6-435D-8B56-90A80D54F324}"/>
          </ac:spMkLst>
        </pc:spChg>
        <pc:spChg chg="add mod">
          <ac:chgData name="zur bonsen georg" userId="5444515566c7376a" providerId="LiveId" clId="{18CD7E6B-2C8E-405B-A237-843B9FC9D457}" dt="2022-04-24T19:37:19.392" v="12550" actId="1035"/>
          <ac:spMkLst>
            <pc:docMk/>
            <pc:sldMk cId="3613540113" sldId="517"/>
            <ac:spMk id="65" creationId="{686BDFC6-A2B1-471F-B355-21875EFB72A0}"/>
          </ac:spMkLst>
        </pc:spChg>
        <pc:spChg chg="del">
          <ac:chgData name="zur bonsen georg" userId="5444515566c7376a" providerId="LiveId" clId="{18CD7E6B-2C8E-405B-A237-843B9FC9D457}" dt="2022-04-24T18:10:50.091" v="11160" actId="478"/>
          <ac:spMkLst>
            <pc:docMk/>
            <pc:sldMk cId="3613540113" sldId="517"/>
            <ac:spMk id="66" creationId="{6D1F2D25-ABE1-4818-8B33-231026119194}"/>
          </ac:spMkLst>
        </pc:spChg>
        <pc:spChg chg="add mod">
          <ac:chgData name="zur bonsen georg" userId="5444515566c7376a" providerId="LiveId" clId="{18CD7E6B-2C8E-405B-A237-843B9FC9D457}" dt="2022-04-24T19:37:15.407" v="12548" actId="1035"/>
          <ac:spMkLst>
            <pc:docMk/>
            <pc:sldMk cId="3613540113" sldId="517"/>
            <ac:spMk id="67" creationId="{EBB9BB94-EF9D-43C6-8228-FA2225AD30E9}"/>
          </ac:spMkLst>
        </pc:spChg>
        <pc:spChg chg="add mod">
          <ac:chgData name="zur bonsen georg" userId="5444515566c7376a" providerId="LiveId" clId="{18CD7E6B-2C8E-405B-A237-843B9FC9D457}" dt="2022-04-24T19:37:12.007" v="12547" actId="14100"/>
          <ac:spMkLst>
            <pc:docMk/>
            <pc:sldMk cId="3613540113" sldId="517"/>
            <ac:spMk id="68" creationId="{03C826A4-3FA7-4950-92B4-D05D1DDFB73B}"/>
          </ac:spMkLst>
        </pc:spChg>
        <pc:spChg chg="add mod">
          <ac:chgData name="zur bonsen georg" userId="5444515566c7376a" providerId="LiveId" clId="{18CD7E6B-2C8E-405B-A237-843B9FC9D457}" dt="2022-04-24T19:36:49.738" v="12543" actId="14100"/>
          <ac:spMkLst>
            <pc:docMk/>
            <pc:sldMk cId="3613540113" sldId="517"/>
            <ac:spMk id="77" creationId="{95A38175-2129-4772-8C99-82477AAFEBE9}"/>
          </ac:spMkLst>
        </pc:spChg>
        <pc:spChg chg="add mod">
          <ac:chgData name="zur bonsen georg" userId="5444515566c7376a" providerId="LiveId" clId="{18CD7E6B-2C8E-405B-A237-843B9FC9D457}" dt="2022-04-24T19:38:34.478" v="12574" actId="14100"/>
          <ac:spMkLst>
            <pc:docMk/>
            <pc:sldMk cId="3613540113" sldId="517"/>
            <ac:spMk id="78" creationId="{A7B0EDF8-310D-4BB0-B504-21A9ABC4924E}"/>
          </ac:spMkLst>
        </pc:spChg>
        <pc:spChg chg="add mod">
          <ac:chgData name="zur bonsen georg" userId="5444515566c7376a" providerId="LiveId" clId="{18CD7E6B-2C8E-405B-A237-843B9FC9D457}" dt="2022-04-24T19:38:34.478" v="12574" actId="14100"/>
          <ac:spMkLst>
            <pc:docMk/>
            <pc:sldMk cId="3613540113" sldId="517"/>
            <ac:spMk id="79" creationId="{74A6E530-5BB8-4944-AC0B-B84C481734EF}"/>
          </ac:spMkLst>
        </pc:spChg>
        <pc:spChg chg="del">
          <ac:chgData name="zur bonsen georg" userId="5444515566c7376a" providerId="LiveId" clId="{18CD7E6B-2C8E-405B-A237-843B9FC9D457}" dt="2022-04-24T18:10:50.091" v="11160" actId="478"/>
          <ac:spMkLst>
            <pc:docMk/>
            <pc:sldMk cId="3613540113" sldId="517"/>
            <ac:spMk id="80" creationId="{2AF1CC50-E014-473B-9166-66BF4F401249}"/>
          </ac:spMkLst>
        </pc:spChg>
        <pc:spChg chg="del">
          <ac:chgData name="zur bonsen georg" userId="5444515566c7376a" providerId="LiveId" clId="{18CD7E6B-2C8E-405B-A237-843B9FC9D457}" dt="2022-04-24T18:10:50.091" v="11160" actId="478"/>
          <ac:spMkLst>
            <pc:docMk/>
            <pc:sldMk cId="3613540113" sldId="517"/>
            <ac:spMk id="81" creationId="{C25375C8-02A8-403B-86D9-DF185FAB96AC}"/>
          </ac:spMkLst>
        </pc:spChg>
        <pc:spChg chg="del">
          <ac:chgData name="zur bonsen georg" userId="5444515566c7376a" providerId="LiveId" clId="{18CD7E6B-2C8E-405B-A237-843B9FC9D457}" dt="2022-04-24T18:10:50.091" v="11160" actId="478"/>
          <ac:spMkLst>
            <pc:docMk/>
            <pc:sldMk cId="3613540113" sldId="517"/>
            <ac:spMk id="82" creationId="{12670B64-5DC1-4053-AA72-D2604A2125BF}"/>
          </ac:spMkLst>
        </pc:spChg>
        <pc:spChg chg="del">
          <ac:chgData name="zur bonsen georg" userId="5444515566c7376a" providerId="LiveId" clId="{18CD7E6B-2C8E-405B-A237-843B9FC9D457}" dt="2022-04-24T18:10:50.091" v="11160" actId="478"/>
          <ac:spMkLst>
            <pc:docMk/>
            <pc:sldMk cId="3613540113" sldId="517"/>
            <ac:spMk id="83" creationId="{5479034C-0BD4-4818-90DB-1C41533DFDE7}"/>
          </ac:spMkLst>
        </pc:spChg>
        <pc:spChg chg="del">
          <ac:chgData name="zur bonsen georg" userId="5444515566c7376a" providerId="LiveId" clId="{18CD7E6B-2C8E-405B-A237-843B9FC9D457}" dt="2022-04-24T18:10:50.091" v="11160" actId="478"/>
          <ac:spMkLst>
            <pc:docMk/>
            <pc:sldMk cId="3613540113" sldId="517"/>
            <ac:spMk id="84" creationId="{3D26F88C-C519-4826-8307-24E0B1F632EB}"/>
          </ac:spMkLst>
        </pc:spChg>
        <pc:spChg chg="del">
          <ac:chgData name="zur bonsen georg" userId="5444515566c7376a" providerId="LiveId" clId="{18CD7E6B-2C8E-405B-A237-843B9FC9D457}" dt="2022-04-24T18:10:50.091" v="11160" actId="478"/>
          <ac:spMkLst>
            <pc:docMk/>
            <pc:sldMk cId="3613540113" sldId="517"/>
            <ac:spMk id="85" creationId="{D46D7B0C-CD5C-4B12-B457-028F23892FBF}"/>
          </ac:spMkLst>
        </pc:spChg>
        <pc:spChg chg="del">
          <ac:chgData name="zur bonsen georg" userId="5444515566c7376a" providerId="LiveId" clId="{18CD7E6B-2C8E-405B-A237-843B9FC9D457}" dt="2022-04-24T18:10:50.091" v="11160" actId="478"/>
          <ac:spMkLst>
            <pc:docMk/>
            <pc:sldMk cId="3613540113" sldId="517"/>
            <ac:spMk id="86" creationId="{84589899-8688-4194-BE28-4C34319E6A01}"/>
          </ac:spMkLst>
        </pc:spChg>
        <pc:spChg chg="del">
          <ac:chgData name="zur bonsen georg" userId="5444515566c7376a" providerId="LiveId" clId="{18CD7E6B-2C8E-405B-A237-843B9FC9D457}" dt="2022-04-24T18:10:50.091" v="11160" actId="478"/>
          <ac:spMkLst>
            <pc:docMk/>
            <pc:sldMk cId="3613540113" sldId="517"/>
            <ac:spMk id="87" creationId="{64B8A89A-74F0-49B9-BEE5-CB52E549C4E3}"/>
          </ac:spMkLst>
        </pc:spChg>
        <pc:spChg chg="del">
          <ac:chgData name="zur bonsen georg" userId="5444515566c7376a" providerId="LiveId" clId="{18CD7E6B-2C8E-405B-A237-843B9FC9D457}" dt="2022-04-24T18:10:50.091" v="11160" actId="478"/>
          <ac:spMkLst>
            <pc:docMk/>
            <pc:sldMk cId="3613540113" sldId="517"/>
            <ac:spMk id="88" creationId="{FFAF3EF7-ECB1-4FA8-9FBF-EA2EB52B0995}"/>
          </ac:spMkLst>
        </pc:spChg>
        <pc:spChg chg="del">
          <ac:chgData name="zur bonsen georg" userId="5444515566c7376a" providerId="LiveId" clId="{18CD7E6B-2C8E-405B-A237-843B9FC9D457}" dt="2022-04-24T18:10:50.091" v="11160" actId="478"/>
          <ac:spMkLst>
            <pc:docMk/>
            <pc:sldMk cId="3613540113" sldId="517"/>
            <ac:spMk id="89" creationId="{BA583704-8B95-4A43-99B4-6BC6B6B316D3}"/>
          </ac:spMkLst>
        </pc:spChg>
        <pc:spChg chg="del">
          <ac:chgData name="zur bonsen georg" userId="5444515566c7376a" providerId="LiveId" clId="{18CD7E6B-2C8E-405B-A237-843B9FC9D457}" dt="2022-04-24T18:10:50.091" v="11160" actId="478"/>
          <ac:spMkLst>
            <pc:docMk/>
            <pc:sldMk cId="3613540113" sldId="517"/>
            <ac:spMk id="90" creationId="{273001C5-EBBF-4CB2-A520-D98228025B2C}"/>
          </ac:spMkLst>
        </pc:spChg>
        <pc:spChg chg="del">
          <ac:chgData name="zur bonsen georg" userId="5444515566c7376a" providerId="LiveId" clId="{18CD7E6B-2C8E-405B-A237-843B9FC9D457}" dt="2022-04-24T18:10:50.091" v="11160" actId="478"/>
          <ac:spMkLst>
            <pc:docMk/>
            <pc:sldMk cId="3613540113" sldId="517"/>
            <ac:spMk id="91" creationId="{FE7BAECC-630B-4AD3-A536-0A3BB7554FD6}"/>
          </ac:spMkLst>
        </pc:spChg>
        <pc:spChg chg="del">
          <ac:chgData name="zur bonsen georg" userId="5444515566c7376a" providerId="LiveId" clId="{18CD7E6B-2C8E-405B-A237-843B9FC9D457}" dt="2022-04-24T18:10:50.091" v="11160" actId="478"/>
          <ac:spMkLst>
            <pc:docMk/>
            <pc:sldMk cId="3613540113" sldId="517"/>
            <ac:spMk id="92" creationId="{3598A97A-FFF7-4401-AF47-428F444A41EA}"/>
          </ac:spMkLst>
        </pc:spChg>
        <pc:spChg chg="del">
          <ac:chgData name="zur bonsen georg" userId="5444515566c7376a" providerId="LiveId" clId="{18CD7E6B-2C8E-405B-A237-843B9FC9D457}" dt="2022-04-24T18:10:50.091" v="11160" actId="478"/>
          <ac:spMkLst>
            <pc:docMk/>
            <pc:sldMk cId="3613540113" sldId="517"/>
            <ac:spMk id="93" creationId="{213A46E3-49EA-40D6-B6BB-13C81BA15319}"/>
          </ac:spMkLst>
        </pc:spChg>
        <pc:spChg chg="del">
          <ac:chgData name="zur bonsen georg" userId="5444515566c7376a" providerId="LiveId" clId="{18CD7E6B-2C8E-405B-A237-843B9FC9D457}" dt="2022-04-24T18:10:50.091" v="11160" actId="478"/>
          <ac:spMkLst>
            <pc:docMk/>
            <pc:sldMk cId="3613540113" sldId="517"/>
            <ac:spMk id="94" creationId="{24082245-76AD-45C5-B1CD-334773C3EE7E}"/>
          </ac:spMkLst>
        </pc:spChg>
        <pc:spChg chg="del">
          <ac:chgData name="zur bonsen georg" userId="5444515566c7376a" providerId="LiveId" clId="{18CD7E6B-2C8E-405B-A237-843B9FC9D457}" dt="2022-04-24T18:10:50.091" v="11160" actId="478"/>
          <ac:spMkLst>
            <pc:docMk/>
            <pc:sldMk cId="3613540113" sldId="517"/>
            <ac:spMk id="95" creationId="{C9DD8028-44B6-4262-B6DF-A3839B907D5C}"/>
          </ac:spMkLst>
        </pc:spChg>
        <pc:spChg chg="del">
          <ac:chgData name="zur bonsen georg" userId="5444515566c7376a" providerId="LiveId" clId="{18CD7E6B-2C8E-405B-A237-843B9FC9D457}" dt="2022-04-24T18:10:50.091" v="11160" actId="478"/>
          <ac:spMkLst>
            <pc:docMk/>
            <pc:sldMk cId="3613540113" sldId="517"/>
            <ac:spMk id="96" creationId="{59501D39-DC6A-40F2-AC0C-A3E08B8586C6}"/>
          </ac:spMkLst>
        </pc:spChg>
        <pc:spChg chg="del">
          <ac:chgData name="zur bonsen georg" userId="5444515566c7376a" providerId="LiveId" clId="{18CD7E6B-2C8E-405B-A237-843B9FC9D457}" dt="2022-04-24T18:10:50.091" v="11160" actId="478"/>
          <ac:spMkLst>
            <pc:docMk/>
            <pc:sldMk cId="3613540113" sldId="517"/>
            <ac:spMk id="97" creationId="{1BA0CAF0-DF6C-4E8A-A477-40E7F0EA5DD2}"/>
          </ac:spMkLst>
        </pc:spChg>
        <pc:spChg chg="del">
          <ac:chgData name="zur bonsen georg" userId="5444515566c7376a" providerId="LiveId" clId="{18CD7E6B-2C8E-405B-A237-843B9FC9D457}" dt="2022-04-24T18:10:50.091" v="11160" actId="478"/>
          <ac:spMkLst>
            <pc:docMk/>
            <pc:sldMk cId="3613540113" sldId="517"/>
            <ac:spMk id="98" creationId="{EF0569DC-8B42-4E32-A322-88A2C67D0C05}"/>
          </ac:spMkLst>
        </pc:spChg>
        <pc:spChg chg="del">
          <ac:chgData name="zur bonsen georg" userId="5444515566c7376a" providerId="LiveId" clId="{18CD7E6B-2C8E-405B-A237-843B9FC9D457}" dt="2022-04-24T18:10:50.091" v="11160" actId="478"/>
          <ac:spMkLst>
            <pc:docMk/>
            <pc:sldMk cId="3613540113" sldId="517"/>
            <ac:spMk id="99" creationId="{20834EA1-5C27-45CE-8593-82B1476477A8}"/>
          </ac:spMkLst>
        </pc:spChg>
        <pc:spChg chg="del">
          <ac:chgData name="zur bonsen georg" userId="5444515566c7376a" providerId="LiveId" clId="{18CD7E6B-2C8E-405B-A237-843B9FC9D457}" dt="2022-04-24T18:10:50.091" v="11160" actId="478"/>
          <ac:spMkLst>
            <pc:docMk/>
            <pc:sldMk cId="3613540113" sldId="517"/>
            <ac:spMk id="100" creationId="{4543FE51-85C0-4DB1-B928-2096925C9817}"/>
          </ac:spMkLst>
        </pc:spChg>
        <pc:spChg chg="add mod">
          <ac:chgData name="zur bonsen georg" userId="5444515566c7376a" providerId="LiveId" clId="{18CD7E6B-2C8E-405B-A237-843B9FC9D457}" dt="2022-04-24T19:38:34.478" v="12574" actId="14100"/>
          <ac:spMkLst>
            <pc:docMk/>
            <pc:sldMk cId="3613540113" sldId="517"/>
            <ac:spMk id="101" creationId="{857F6BC8-F97F-4DF2-9710-CCE72C17FD42}"/>
          </ac:spMkLst>
        </pc:spChg>
        <pc:spChg chg="add mod">
          <ac:chgData name="zur bonsen georg" userId="5444515566c7376a" providerId="LiveId" clId="{18CD7E6B-2C8E-405B-A237-843B9FC9D457}" dt="2022-04-24T19:41:43.795" v="12845" actId="114"/>
          <ac:spMkLst>
            <pc:docMk/>
            <pc:sldMk cId="3613540113" sldId="517"/>
            <ac:spMk id="103" creationId="{79AFE7B5-2FAB-45B7-B996-465ABDB73428}"/>
          </ac:spMkLst>
        </pc:spChg>
        <pc:spChg chg="add mod">
          <ac:chgData name="zur bonsen georg" userId="5444515566c7376a" providerId="LiveId" clId="{18CD7E6B-2C8E-405B-A237-843B9FC9D457}" dt="2022-04-24T19:38:34.478" v="12574" actId="14100"/>
          <ac:spMkLst>
            <pc:docMk/>
            <pc:sldMk cId="3613540113" sldId="517"/>
            <ac:spMk id="104" creationId="{FEC42A58-273E-4921-BDBA-B5CB54876BB3}"/>
          </ac:spMkLst>
        </pc:spChg>
        <pc:spChg chg="add mod">
          <ac:chgData name="zur bonsen georg" userId="5444515566c7376a" providerId="LiveId" clId="{18CD7E6B-2C8E-405B-A237-843B9FC9D457}" dt="2022-04-24T19:31:45.409" v="12337" actId="3064"/>
          <ac:spMkLst>
            <pc:docMk/>
            <pc:sldMk cId="3613540113" sldId="517"/>
            <ac:spMk id="105" creationId="{2293924F-1FFC-4CA9-ACDA-5F7EA62908A7}"/>
          </ac:spMkLst>
        </pc:spChg>
        <pc:spChg chg="del">
          <ac:chgData name="zur bonsen georg" userId="5444515566c7376a" providerId="LiveId" clId="{18CD7E6B-2C8E-405B-A237-843B9FC9D457}" dt="2022-04-24T18:10:50.091" v="11160" actId="478"/>
          <ac:spMkLst>
            <pc:docMk/>
            <pc:sldMk cId="3613540113" sldId="517"/>
            <ac:spMk id="106" creationId="{569443BF-A519-4247-9C59-73E0C648B534}"/>
          </ac:spMkLst>
        </pc:spChg>
        <pc:spChg chg="del">
          <ac:chgData name="zur bonsen georg" userId="5444515566c7376a" providerId="LiveId" clId="{18CD7E6B-2C8E-405B-A237-843B9FC9D457}" dt="2022-04-24T18:10:50.091" v="11160" actId="478"/>
          <ac:spMkLst>
            <pc:docMk/>
            <pc:sldMk cId="3613540113" sldId="517"/>
            <ac:spMk id="107" creationId="{CB76399E-FA26-4202-AA89-BBF7B05A8091}"/>
          </ac:spMkLst>
        </pc:spChg>
        <pc:spChg chg="add mod">
          <ac:chgData name="zur bonsen georg" userId="5444515566c7376a" providerId="LiveId" clId="{18CD7E6B-2C8E-405B-A237-843B9FC9D457}" dt="2022-04-24T19:31:55.352" v="12340" actId="1035"/>
          <ac:spMkLst>
            <pc:docMk/>
            <pc:sldMk cId="3613540113" sldId="517"/>
            <ac:spMk id="109" creationId="{7013077E-0D0C-4E03-A47C-7727672C9DBA}"/>
          </ac:spMkLst>
        </pc:spChg>
        <pc:spChg chg="add mod">
          <ac:chgData name="zur bonsen georg" userId="5444515566c7376a" providerId="LiveId" clId="{18CD7E6B-2C8E-405B-A237-843B9FC9D457}" dt="2022-04-24T19:41:20.298" v="12844" actId="6549"/>
          <ac:spMkLst>
            <pc:docMk/>
            <pc:sldMk cId="3613540113" sldId="517"/>
            <ac:spMk id="110" creationId="{D253F267-7749-4833-85B3-CE312535C694}"/>
          </ac:spMkLst>
        </pc:spChg>
        <pc:spChg chg="del">
          <ac:chgData name="zur bonsen georg" userId="5444515566c7376a" providerId="LiveId" clId="{18CD7E6B-2C8E-405B-A237-843B9FC9D457}" dt="2022-04-24T18:10:50.091" v="11160" actId="478"/>
          <ac:spMkLst>
            <pc:docMk/>
            <pc:sldMk cId="3613540113" sldId="517"/>
            <ac:spMk id="111" creationId="{0E212DA4-1DC8-441E-A4AE-E36E7513D353}"/>
          </ac:spMkLst>
        </pc:spChg>
        <pc:spChg chg="add mod">
          <ac:chgData name="zur bonsen georg" userId="5444515566c7376a" providerId="LiveId" clId="{18CD7E6B-2C8E-405B-A237-843B9FC9D457}" dt="2022-04-24T19:39:21.304" v="12607" actId="1037"/>
          <ac:spMkLst>
            <pc:docMk/>
            <pc:sldMk cId="3613540113" sldId="517"/>
            <ac:spMk id="112" creationId="{A0C5CA70-B1E2-415B-A1CC-5A05A2FFC509}"/>
          </ac:spMkLst>
        </pc:spChg>
        <pc:spChg chg="add mod">
          <ac:chgData name="zur bonsen georg" userId="5444515566c7376a" providerId="LiveId" clId="{18CD7E6B-2C8E-405B-A237-843B9FC9D457}" dt="2022-04-24T19:39:21.304" v="12607" actId="1037"/>
          <ac:spMkLst>
            <pc:docMk/>
            <pc:sldMk cId="3613540113" sldId="517"/>
            <ac:spMk id="113" creationId="{7FC65303-C83E-42EB-8AD9-842EEA94121F}"/>
          </ac:spMkLst>
        </pc:spChg>
        <pc:spChg chg="add mod">
          <ac:chgData name="zur bonsen georg" userId="5444515566c7376a" providerId="LiveId" clId="{18CD7E6B-2C8E-405B-A237-843B9FC9D457}" dt="2022-04-24T19:39:21.304" v="12607" actId="1037"/>
          <ac:spMkLst>
            <pc:docMk/>
            <pc:sldMk cId="3613540113" sldId="517"/>
            <ac:spMk id="114" creationId="{6BD7CA6C-BDAF-4520-9088-EB8D4799AFE1}"/>
          </ac:spMkLst>
        </pc:spChg>
        <pc:spChg chg="add mod">
          <ac:chgData name="zur bonsen georg" userId="5444515566c7376a" providerId="LiveId" clId="{18CD7E6B-2C8E-405B-A237-843B9FC9D457}" dt="2022-04-24T19:39:21.304" v="12607" actId="1037"/>
          <ac:spMkLst>
            <pc:docMk/>
            <pc:sldMk cId="3613540113" sldId="517"/>
            <ac:spMk id="115" creationId="{07B0E6BF-40BE-4E63-A0B1-48BD47E1A164}"/>
          </ac:spMkLst>
        </pc:spChg>
        <pc:spChg chg="add mod">
          <ac:chgData name="zur bonsen georg" userId="5444515566c7376a" providerId="LiveId" clId="{18CD7E6B-2C8E-405B-A237-843B9FC9D457}" dt="2022-04-24T19:38:42.095" v="12580" actId="1037"/>
          <ac:spMkLst>
            <pc:docMk/>
            <pc:sldMk cId="3613540113" sldId="517"/>
            <ac:spMk id="116" creationId="{A789FA78-F0CE-4368-85B8-69C621CE13F6}"/>
          </ac:spMkLst>
        </pc:spChg>
        <pc:spChg chg="add mod">
          <ac:chgData name="zur bonsen georg" userId="5444515566c7376a" providerId="LiveId" clId="{18CD7E6B-2C8E-405B-A237-843B9FC9D457}" dt="2022-04-24T19:39:21.304" v="12607" actId="1037"/>
          <ac:spMkLst>
            <pc:docMk/>
            <pc:sldMk cId="3613540113" sldId="517"/>
            <ac:spMk id="117" creationId="{286446C3-008A-4668-A3A3-1A7CB4A22F42}"/>
          </ac:spMkLst>
        </pc:spChg>
        <pc:spChg chg="add mod">
          <ac:chgData name="zur bonsen georg" userId="5444515566c7376a" providerId="LiveId" clId="{18CD7E6B-2C8E-405B-A237-843B9FC9D457}" dt="2022-04-24T19:38:42.095" v="12580" actId="1037"/>
          <ac:spMkLst>
            <pc:docMk/>
            <pc:sldMk cId="3613540113" sldId="517"/>
            <ac:spMk id="118" creationId="{462EC032-A5A4-46ED-A02C-E59ADEE95410}"/>
          </ac:spMkLst>
        </pc:spChg>
        <pc:spChg chg="add mod">
          <ac:chgData name="zur bonsen georg" userId="5444515566c7376a" providerId="LiveId" clId="{18CD7E6B-2C8E-405B-A237-843B9FC9D457}" dt="2022-04-24T19:38:42.095" v="12580" actId="1037"/>
          <ac:spMkLst>
            <pc:docMk/>
            <pc:sldMk cId="3613540113" sldId="517"/>
            <ac:spMk id="119" creationId="{0C92636E-79B5-476E-9DFE-4D8F7042E835}"/>
          </ac:spMkLst>
        </pc:spChg>
        <pc:spChg chg="add mod">
          <ac:chgData name="zur bonsen georg" userId="5444515566c7376a" providerId="LiveId" clId="{18CD7E6B-2C8E-405B-A237-843B9FC9D457}" dt="2022-04-24T19:38:42.095" v="12580" actId="1037"/>
          <ac:spMkLst>
            <pc:docMk/>
            <pc:sldMk cId="3613540113" sldId="517"/>
            <ac:spMk id="120" creationId="{0ED89430-8BC4-4BE0-8316-A2A98DEFA25B}"/>
          </ac:spMkLst>
        </pc:spChg>
        <pc:spChg chg="add mod">
          <ac:chgData name="zur bonsen georg" userId="5444515566c7376a" providerId="LiveId" clId="{18CD7E6B-2C8E-405B-A237-843B9FC9D457}" dt="2022-04-24T19:39:21.304" v="12607" actId="1037"/>
          <ac:spMkLst>
            <pc:docMk/>
            <pc:sldMk cId="3613540113" sldId="517"/>
            <ac:spMk id="121" creationId="{03BC9655-F5FD-440E-959D-F56B6B32951D}"/>
          </ac:spMkLst>
        </pc:spChg>
        <pc:spChg chg="add del mod">
          <ac:chgData name="zur bonsen georg" userId="5444515566c7376a" providerId="LiveId" clId="{18CD7E6B-2C8E-405B-A237-843B9FC9D457}" dt="2022-04-24T18:19:24.697" v="11540" actId="478"/>
          <ac:spMkLst>
            <pc:docMk/>
            <pc:sldMk cId="3613540113" sldId="517"/>
            <ac:spMk id="122" creationId="{2BFE41F5-24AC-4FD3-A87C-9EFCC92F4CAC}"/>
          </ac:spMkLst>
        </pc:spChg>
        <pc:spChg chg="add del mod">
          <ac:chgData name="zur bonsen georg" userId="5444515566c7376a" providerId="LiveId" clId="{18CD7E6B-2C8E-405B-A237-843B9FC9D457}" dt="2022-04-24T18:19:22.021" v="11539" actId="478"/>
          <ac:spMkLst>
            <pc:docMk/>
            <pc:sldMk cId="3613540113" sldId="517"/>
            <ac:spMk id="123" creationId="{9521B95A-A6ED-45D9-9730-6ACD2815FDCA}"/>
          </ac:spMkLst>
        </pc:spChg>
        <pc:spChg chg="add mod">
          <ac:chgData name="zur bonsen georg" userId="5444515566c7376a" providerId="LiveId" clId="{18CD7E6B-2C8E-405B-A237-843B9FC9D457}" dt="2022-04-24T19:39:21.304" v="12607" actId="1037"/>
          <ac:spMkLst>
            <pc:docMk/>
            <pc:sldMk cId="3613540113" sldId="517"/>
            <ac:spMk id="124" creationId="{15F960E5-E2ED-434B-AB5A-3AC5F70F4679}"/>
          </ac:spMkLst>
        </pc:spChg>
        <pc:spChg chg="add mod">
          <ac:chgData name="zur bonsen georg" userId="5444515566c7376a" providerId="LiveId" clId="{18CD7E6B-2C8E-405B-A237-843B9FC9D457}" dt="2022-04-24T19:39:21.304" v="12607" actId="1037"/>
          <ac:spMkLst>
            <pc:docMk/>
            <pc:sldMk cId="3613540113" sldId="517"/>
            <ac:spMk id="125" creationId="{53607AE4-33E1-487E-B5EF-B34F216A59B1}"/>
          </ac:spMkLst>
        </pc:spChg>
        <pc:spChg chg="add mod">
          <ac:chgData name="zur bonsen georg" userId="5444515566c7376a" providerId="LiveId" clId="{18CD7E6B-2C8E-405B-A237-843B9FC9D457}" dt="2022-04-24T19:35:32.519" v="12508" actId="1035"/>
          <ac:spMkLst>
            <pc:docMk/>
            <pc:sldMk cId="3613540113" sldId="517"/>
            <ac:spMk id="126" creationId="{E7AE17C7-355C-4977-B5E5-0A3CB3BF34E3}"/>
          </ac:spMkLst>
        </pc:spChg>
        <pc:spChg chg="add mod">
          <ac:chgData name="zur bonsen georg" userId="5444515566c7376a" providerId="LiveId" clId="{18CD7E6B-2C8E-405B-A237-843B9FC9D457}" dt="2022-04-24T19:39:21.304" v="12607" actId="1037"/>
          <ac:spMkLst>
            <pc:docMk/>
            <pc:sldMk cId="3613540113" sldId="517"/>
            <ac:spMk id="127" creationId="{6FC6AD87-0A94-49DF-9B70-55103B70F884}"/>
          </ac:spMkLst>
        </pc:spChg>
        <pc:spChg chg="add mod">
          <ac:chgData name="zur bonsen georg" userId="5444515566c7376a" providerId="LiveId" clId="{18CD7E6B-2C8E-405B-A237-843B9FC9D457}" dt="2022-04-24T19:39:21.304" v="12607" actId="1037"/>
          <ac:spMkLst>
            <pc:docMk/>
            <pc:sldMk cId="3613540113" sldId="517"/>
            <ac:spMk id="128" creationId="{52AF3196-AF46-479C-AB9C-3CCCC02DF404}"/>
          </ac:spMkLst>
        </pc:spChg>
        <pc:spChg chg="add mod">
          <ac:chgData name="zur bonsen georg" userId="5444515566c7376a" providerId="LiveId" clId="{18CD7E6B-2C8E-405B-A237-843B9FC9D457}" dt="2022-04-24T19:39:21.304" v="12607" actId="1037"/>
          <ac:spMkLst>
            <pc:docMk/>
            <pc:sldMk cId="3613540113" sldId="517"/>
            <ac:spMk id="129" creationId="{664B5EB9-D1B1-4781-8B9F-DE711926743C}"/>
          </ac:spMkLst>
        </pc:spChg>
        <pc:spChg chg="add mod">
          <ac:chgData name="zur bonsen georg" userId="5444515566c7376a" providerId="LiveId" clId="{18CD7E6B-2C8E-405B-A237-843B9FC9D457}" dt="2022-04-24T19:39:21.304" v="12607" actId="1037"/>
          <ac:spMkLst>
            <pc:docMk/>
            <pc:sldMk cId="3613540113" sldId="517"/>
            <ac:spMk id="130" creationId="{66E235CC-E737-4AF1-AED3-DF9A28195D4D}"/>
          </ac:spMkLst>
        </pc:spChg>
        <pc:spChg chg="add mod">
          <ac:chgData name="zur bonsen georg" userId="5444515566c7376a" providerId="LiveId" clId="{18CD7E6B-2C8E-405B-A237-843B9FC9D457}" dt="2022-04-24T19:37:15.407" v="12548" actId="1035"/>
          <ac:spMkLst>
            <pc:docMk/>
            <pc:sldMk cId="3613540113" sldId="517"/>
            <ac:spMk id="131" creationId="{86674185-551B-4EBF-AD25-791BE31328D9}"/>
          </ac:spMkLst>
        </pc:spChg>
        <pc:spChg chg="add mod">
          <ac:chgData name="zur bonsen georg" userId="5444515566c7376a" providerId="LiveId" clId="{18CD7E6B-2C8E-405B-A237-843B9FC9D457}" dt="2022-04-24T19:37:12.007" v="12547" actId="14100"/>
          <ac:spMkLst>
            <pc:docMk/>
            <pc:sldMk cId="3613540113" sldId="517"/>
            <ac:spMk id="132" creationId="{4F7391EF-7FF2-45F3-A787-211B1402DFEA}"/>
          </ac:spMkLst>
        </pc:spChg>
        <pc:spChg chg="add mod">
          <ac:chgData name="zur bonsen georg" userId="5444515566c7376a" providerId="LiveId" clId="{18CD7E6B-2C8E-405B-A237-843B9FC9D457}" dt="2022-04-24T19:37:17.584" v="12549" actId="1035"/>
          <ac:spMkLst>
            <pc:docMk/>
            <pc:sldMk cId="3613540113" sldId="517"/>
            <ac:spMk id="133" creationId="{7500411B-2F12-4268-A9EB-494D30033C31}"/>
          </ac:spMkLst>
        </pc:spChg>
        <pc:spChg chg="add mod">
          <ac:chgData name="zur bonsen georg" userId="5444515566c7376a" providerId="LiveId" clId="{18CD7E6B-2C8E-405B-A237-843B9FC9D457}" dt="2022-04-24T19:37:19.392" v="12550" actId="1035"/>
          <ac:spMkLst>
            <pc:docMk/>
            <pc:sldMk cId="3613540113" sldId="517"/>
            <ac:spMk id="134" creationId="{3CDF3E06-5EEC-4DB9-A4C6-586AD58DC7C9}"/>
          </ac:spMkLst>
        </pc:spChg>
        <pc:spChg chg="add mod">
          <ac:chgData name="zur bonsen georg" userId="5444515566c7376a" providerId="LiveId" clId="{18CD7E6B-2C8E-405B-A237-843B9FC9D457}" dt="2022-04-24T19:38:42.095" v="12580" actId="1037"/>
          <ac:spMkLst>
            <pc:docMk/>
            <pc:sldMk cId="3613540113" sldId="517"/>
            <ac:spMk id="135" creationId="{5FC280AD-1F25-4164-9E1F-205D0794CD27}"/>
          </ac:spMkLst>
        </pc:spChg>
        <pc:spChg chg="add mod">
          <ac:chgData name="zur bonsen georg" userId="5444515566c7376a" providerId="LiveId" clId="{18CD7E6B-2C8E-405B-A237-843B9FC9D457}" dt="2022-04-24T19:39:21.304" v="12607" actId="1037"/>
          <ac:spMkLst>
            <pc:docMk/>
            <pc:sldMk cId="3613540113" sldId="517"/>
            <ac:spMk id="136" creationId="{77551AC2-6B8E-4C0F-8797-CC45560EFF21}"/>
          </ac:spMkLst>
        </pc:spChg>
        <pc:spChg chg="add mod">
          <ac:chgData name="zur bonsen georg" userId="5444515566c7376a" providerId="LiveId" clId="{18CD7E6B-2C8E-405B-A237-843B9FC9D457}" dt="2022-04-24T19:36:49.738" v="12543" actId="14100"/>
          <ac:spMkLst>
            <pc:docMk/>
            <pc:sldMk cId="3613540113" sldId="517"/>
            <ac:spMk id="137" creationId="{1FEB9D5D-B435-47F5-8BAC-4522C256C21E}"/>
          </ac:spMkLst>
        </pc:spChg>
        <pc:spChg chg="add mod">
          <ac:chgData name="zur bonsen georg" userId="5444515566c7376a" providerId="LiveId" clId="{18CD7E6B-2C8E-405B-A237-843B9FC9D457}" dt="2022-04-24T19:32:41.397" v="12411" actId="122"/>
          <ac:spMkLst>
            <pc:docMk/>
            <pc:sldMk cId="3613540113" sldId="517"/>
            <ac:spMk id="138" creationId="{AC7B4E1E-5B7B-4BA5-B8F0-7A81C67BC828}"/>
          </ac:spMkLst>
        </pc:spChg>
        <pc:spChg chg="add mod">
          <ac:chgData name="zur bonsen georg" userId="5444515566c7376a" providerId="LiveId" clId="{18CD7E6B-2C8E-405B-A237-843B9FC9D457}" dt="2022-04-24T19:39:21.304" v="12607" actId="1037"/>
          <ac:spMkLst>
            <pc:docMk/>
            <pc:sldMk cId="3613540113" sldId="517"/>
            <ac:spMk id="139" creationId="{95ADC085-2DC5-4678-89CA-9818B81AF463}"/>
          </ac:spMkLst>
        </pc:spChg>
        <pc:spChg chg="add mod">
          <ac:chgData name="zur bonsen georg" userId="5444515566c7376a" providerId="LiveId" clId="{18CD7E6B-2C8E-405B-A237-843B9FC9D457}" dt="2022-04-24T19:40:03.883" v="12677" actId="1036"/>
          <ac:spMkLst>
            <pc:docMk/>
            <pc:sldMk cId="3613540113" sldId="517"/>
            <ac:spMk id="140" creationId="{F61C16DB-80F9-4B61-981D-2B4320A3A0DC}"/>
          </ac:spMkLst>
        </pc:spChg>
        <pc:spChg chg="add mod">
          <ac:chgData name="zur bonsen georg" userId="5444515566c7376a" providerId="LiveId" clId="{18CD7E6B-2C8E-405B-A237-843B9FC9D457}" dt="2022-04-24T19:39:59.781" v="12639" actId="14100"/>
          <ac:spMkLst>
            <pc:docMk/>
            <pc:sldMk cId="3613540113" sldId="517"/>
            <ac:spMk id="141" creationId="{32BE120D-3045-4462-8DE4-38EAFDB2F6D3}"/>
          </ac:spMkLst>
        </pc:spChg>
        <pc:spChg chg="add mod">
          <ac:chgData name="zur bonsen georg" userId="5444515566c7376a" providerId="LiveId" clId="{18CD7E6B-2C8E-405B-A237-843B9FC9D457}" dt="2022-04-24T19:37:24.484" v="12551" actId="14100"/>
          <ac:spMkLst>
            <pc:docMk/>
            <pc:sldMk cId="3613540113" sldId="517"/>
            <ac:spMk id="142" creationId="{70DC3E93-A1DB-41B8-BBC5-831CFAC38B7B}"/>
          </ac:spMkLst>
        </pc:spChg>
        <pc:spChg chg="add mod">
          <ac:chgData name="zur bonsen georg" userId="5444515566c7376a" providerId="LiveId" clId="{18CD7E6B-2C8E-405B-A237-843B9FC9D457}" dt="2022-04-24T19:37:27.517" v="12555" actId="1035"/>
          <ac:spMkLst>
            <pc:docMk/>
            <pc:sldMk cId="3613540113" sldId="517"/>
            <ac:spMk id="143" creationId="{1CB939A9-FD43-4646-B5C4-15FDE88BF907}"/>
          </ac:spMkLst>
        </pc:spChg>
        <pc:spChg chg="add mod">
          <ac:chgData name="zur bonsen georg" userId="5444515566c7376a" providerId="LiveId" clId="{18CD7E6B-2C8E-405B-A237-843B9FC9D457}" dt="2022-04-24T19:37:27.517" v="12555" actId="1035"/>
          <ac:spMkLst>
            <pc:docMk/>
            <pc:sldMk cId="3613540113" sldId="517"/>
            <ac:spMk id="144" creationId="{941A02E5-EF2F-4475-BF2C-129AEE8B6E62}"/>
          </ac:spMkLst>
        </pc:spChg>
        <pc:spChg chg="add del mod">
          <ac:chgData name="zur bonsen georg" userId="5444515566c7376a" providerId="LiveId" clId="{18CD7E6B-2C8E-405B-A237-843B9FC9D457}" dt="2022-04-24T19:39:16.165" v="12602" actId="478"/>
          <ac:spMkLst>
            <pc:docMk/>
            <pc:sldMk cId="3613540113" sldId="517"/>
            <ac:spMk id="145" creationId="{DBEA787C-B8C7-4BE1-86D5-1A6F7633C47D}"/>
          </ac:spMkLst>
        </pc:spChg>
        <pc:spChg chg="add mod">
          <ac:chgData name="zur bonsen georg" userId="5444515566c7376a" providerId="LiveId" clId="{18CD7E6B-2C8E-405B-A237-843B9FC9D457}" dt="2022-04-24T19:40:40.346" v="12768" actId="14100"/>
          <ac:spMkLst>
            <pc:docMk/>
            <pc:sldMk cId="3613540113" sldId="517"/>
            <ac:spMk id="146" creationId="{90CA9FC4-F5F0-4562-A436-935C389A3F88}"/>
          </ac:spMkLst>
        </pc:spChg>
        <pc:spChg chg="add mod">
          <ac:chgData name="zur bonsen georg" userId="5444515566c7376a" providerId="LiveId" clId="{18CD7E6B-2C8E-405B-A237-843B9FC9D457}" dt="2022-04-24T19:41:04.928" v="12843" actId="20577"/>
          <ac:spMkLst>
            <pc:docMk/>
            <pc:sldMk cId="3613540113" sldId="517"/>
            <ac:spMk id="147" creationId="{5F92431B-D8F5-48B3-BAEF-513C7191DFC2}"/>
          </ac:spMkLst>
        </pc:spChg>
        <pc:grpChg chg="del">
          <ac:chgData name="zur bonsen georg" userId="5444515566c7376a" providerId="LiveId" clId="{18CD7E6B-2C8E-405B-A237-843B9FC9D457}" dt="2022-04-24T18:10:50.091" v="11160" actId="478"/>
          <ac:grpSpMkLst>
            <pc:docMk/>
            <pc:sldMk cId="3613540113" sldId="517"/>
            <ac:grpSpMk id="108" creationId="{23A4939E-7A11-4DE4-ABA5-4A699BA25ED4}"/>
          </ac:grpSpMkLst>
        </pc:grpChg>
        <pc:cxnChg chg="del">
          <ac:chgData name="zur bonsen georg" userId="5444515566c7376a" providerId="LiveId" clId="{18CD7E6B-2C8E-405B-A237-843B9FC9D457}" dt="2022-04-24T18:10:50.091" v="11160" actId="478"/>
          <ac:cxnSpMkLst>
            <pc:docMk/>
            <pc:sldMk cId="3613540113" sldId="517"/>
            <ac:cxnSpMk id="49" creationId="{48D66365-D37C-45BC-B23E-71F347D01CAC}"/>
          </ac:cxnSpMkLst>
        </pc:cxnChg>
        <pc:cxnChg chg="del">
          <ac:chgData name="zur bonsen georg" userId="5444515566c7376a" providerId="LiveId" clId="{18CD7E6B-2C8E-405B-A237-843B9FC9D457}" dt="2022-04-24T18:10:50.091" v="11160" actId="478"/>
          <ac:cxnSpMkLst>
            <pc:docMk/>
            <pc:sldMk cId="3613540113" sldId="517"/>
            <ac:cxnSpMk id="50" creationId="{12BC7B7F-E63B-4202-8BD1-D3D2BB179550}"/>
          </ac:cxnSpMkLst>
        </pc:cxnChg>
        <pc:cxnChg chg="del">
          <ac:chgData name="zur bonsen georg" userId="5444515566c7376a" providerId="LiveId" clId="{18CD7E6B-2C8E-405B-A237-843B9FC9D457}" dt="2022-04-24T18:10:50.091" v="11160" actId="478"/>
          <ac:cxnSpMkLst>
            <pc:docMk/>
            <pc:sldMk cId="3613540113" sldId="517"/>
            <ac:cxnSpMk id="51" creationId="{902CA58C-AA75-4D07-838F-11799D28965F}"/>
          </ac:cxnSpMkLst>
        </pc:cxnChg>
        <pc:cxnChg chg="del">
          <ac:chgData name="zur bonsen georg" userId="5444515566c7376a" providerId="LiveId" clId="{18CD7E6B-2C8E-405B-A237-843B9FC9D457}" dt="2022-04-24T18:10:50.091" v="11160" actId="478"/>
          <ac:cxnSpMkLst>
            <pc:docMk/>
            <pc:sldMk cId="3613540113" sldId="517"/>
            <ac:cxnSpMk id="102" creationId="{9790E2B3-7045-4D08-9FC1-D3E037BECFC0}"/>
          </ac:cxnSpMkLst>
        </pc:cxnChg>
      </pc:sldChg>
    </pc:docChg>
  </pc:docChgLst>
  <pc:docChgLst>
    <pc:chgData name="zur bonsen georg" userId="5444515566c7376a" providerId="LiveId" clId="{FDDA43C8-544C-43C8-B7EC-BDEEF2A8748B}"/>
    <pc:docChg chg="undo custSel addSld modSld">
      <pc:chgData name="zur bonsen georg" userId="5444515566c7376a" providerId="LiveId" clId="{FDDA43C8-544C-43C8-B7EC-BDEEF2A8748B}" dt="2024-02-11T12:50:55.913" v="413" actId="2890"/>
      <pc:docMkLst>
        <pc:docMk/>
      </pc:docMkLst>
      <pc:sldChg chg="addSp delSp modSp mod">
        <pc:chgData name="zur bonsen georg" userId="5444515566c7376a" providerId="LiveId" clId="{FDDA43C8-544C-43C8-B7EC-BDEEF2A8748B}" dt="2024-02-11T10:45:01.044" v="42" actId="1037"/>
        <pc:sldMkLst>
          <pc:docMk/>
          <pc:sldMk cId="3131759380" sldId="398"/>
        </pc:sldMkLst>
        <pc:spChg chg="add mod">
          <ac:chgData name="zur bonsen georg" userId="5444515566c7376a" providerId="LiveId" clId="{FDDA43C8-544C-43C8-B7EC-BDEEF2A8748B}" dt="2024-02-11T10:45:01.044" v="42" actId="1037"/>
          <ac:spMkLst>
            <pc:docMk/>
            <pc:sldMk cId="3131759380" sldId="398"/>
            <ac:spMk id="3" creationId="{832A4DA8-14F5-B274-83F4-F5DA5592359F}"/>
          </ac:spMkLst>
        </pc:spChg>
        <pc:spChg chg="add mod">
          <ac:chgData name="zur bonsen georg" userId="5444515566c7376a" providerId="LiveId" clId="{FDDA43C8-544C-43C8-B7EC-BDEEF2A8748B}" dt="2024-02-11T10:45:01.044" v="42" actId="1037"/>
          <ac:spMkLst>
            <pc:docMk/>
            <pc:sldMk cId="3131759380" sldId="398"/>
            <ac:spMk id="4" creationId="{312EECA3-9927-3AC7-63C7-699918CC2FDF}"/>
          </ac:spMkLst>
        </pc:spChg>
        <pc:spChg chg="add mod">
          <ac:chgData name="zur bonsen georg" userId="5444515566c7376a" providerId="LiveId" clId="{FDDA43C8-544C-43C8-B7EC-BDEEF2A8748B}" dt="2024-02-11T10:45:01.044" v="42" actId="1037"/>
          <ac:spMkLst>
            <pc:docMk/>
            <pc:sldMk cId="3131759380" sldId="398"/>
            <ac:spMk id="6" creationId="{F9236918-DB65-31F5-12DF-F826F69528F0}"/>
          </ac:spMkLst>
        </pc:spChg>
        <pc:spChg chg="add mod">
          <ac:chgData name="zur bonsen georg" userId="5444515566c7376a" providerId="LiveId" clId="{FDDA43C8-544C-43C8-B7EC-BDEEF2A8748B}" dt="2024-02-11T10:45:01.044" v="42" actId="1037"/>
          <ac:spMkLst>
            <pc:docMk/>
            <pc:sldMk cId="3131759380" sldId="398"/>
            <ac:spMk id="7" creationId="{14FA2DF9-C54B-C604-F032-89A382EF21E5}"/>
          </ac:spMkLst>
        </pc:spChg>
        <pc:spChg chg="add mod">
          <ac:chgData name="zur bonsen georg" userId="5444515566c7376a" providerId="LiveId" clId="{FDDA43C8-544C-43C8-B7EC-BDEEF2A8748B}" dt="2024-02-11T10:45:01.044" v="42" actId="1037"/>
          <ac:spMkLst>
            <pc:docMk/>
            <pc:sldMk cId="3131759380" sldId="398"/>
            <ac:spMk id="8" creationId="{83CC15F2-5EA5-9BA0-7F87-C76ACC9756EB}"/>
          </ac:spMkLst>
        </pc:spChg>
        <pc:spChg chg="add mod">
          <ac:chgData name="zur bonsen georg" userId="5444515566c7376a" providerId="LiveId" clId="{FDDA43C8-544C-43C8-B7EC-BDEEF2A8748B}" dt="2024-02-11T10:45:01.044" v="42" actId="1037"/>
          <ac:spMkLst>
            <pc:docMk/>
            <pc:sldMk cId="3131759380" sldId="398"/>
            <ac:spMk id="9" creationId="{2177432F-BAAD-B59A-9B01-CA8CB80C92C2}"/>
          </ac:spMkLst>
        </pc:spChg>
        <pc:spChg chg="add mod">
          <ac:chgData name="zur bonsen georg" userId="5444515566c7376a" providerId="LiveId" clId="{FDDA43C8-544C-43C8-B7EC-BDEEF2A8748B}" dt="2024-02-11T10:45:01.044" v="42" actId="1037"/>
          <ac:spMkLst>
            <pc:docMk/>
            <pc:sldMk cId="3131759380" sldId="398"/>
            <ac:spMk id="10" creationId="{4051C003-F353-E3D2-2EA1-F322907B0E95}"/>
          </ac:spMkLst>
        </pc:spChg>
        <pc:spChg chg="add mod">
          <ac:chgData name="zur bonsen georg" userId="5444515566c7376a" providerId="LiveId" clId="{FDDA43C8-544C-43C8-B7EC-BDEEF2A8748B}" dt="2024-02-11T10:45:01.044" v="42" actId="1037"/>
          <ac:spMkLst>
            <pc:docMk/>
            <pc:sldMk cId="3131759380" sldId="398"/>
            <ac:spMk id="11" creationId="{5D47FC18-5FD1-D84A-51F5-70AEB876F5BC}"/>
          </ac:spMkLst>
        </pc:spChg>
        <pc:spChg chg="del">
          <ac:chgData name="zur bonsen georg" userId="5444515566c7376a" providerId="LiveId" clId="{FDDA43C8-544C-43C8-B7EC-BDEEF2A8748B}" dt="2024-02-11T10:42:37.865" v="1" actId="478"/>
          <ac:spMkLst>
            <pc:docMk/>
            <pc:sldMk cId="3131759380" sldId="398"/>
            <ac:spMk id="12" creationId="{964A7BF0-E985-451A-B8FE-A83AB8E1F9A3}"/>
          </ac:spMkLst>
        </pc:spChg>
        <pc:spChg chg="del">
          <ac:chgData name="zur bonsen georg" userId="5444515566c7376a" providerId="LiveId" clId="{FDDA43C8-544C-43C8-B7EC-BDEEF2A8748B}" dt="2024-02-11T10:42:37.865" v="1" actId="478"/>
          <ac:spMkLst>
            <pc:docMk/>
            <pc:sldMk cId="3131759380" sldId="398"/>
            <ac:spMk id="14" creationId="{B8B58D71-141A-4F3C-AD06-0DF78C6C134E}"/>
          </ac:spMkLst>
        </pc:spChg>
        <pc:spChg chg="add mod">
          <ac:chgData name="zur bonsen georg" userId="5444515566c7376a" providerId="LiveId" clId="{FDDA43C8-544C-43C8-B7EC-BDEEF2A8748B}" dt="2024-02-11T10:45:01.044" v="42" actId="1037"/>
          <ac:spMkLst>
            <pc:docMk/>
            <pc:sldMk cId="3131759380" sldId="398"/>
            <ac:spMk id="15" creationId="{59E582DF-B809-5C37-0642-D9FBE04C6874}"/>
          </ac:spMkLst>
        </pc:spChg>
        <pc:spChg chg="add mod">
          <ac:chgData name="zur bonsen georg" userId="5444515566c7376a" providerId="LiveId" clId="{FDDA43C8-544C-43C8-B7EC-BDEEF2A8748B}" dt="2024-02-11T10:45:01.044" v="42" actId="1037"/>
          <ac:spMkLst>
            <pc:docMk/>
            <pc:sldMk cId="3131759380" sldId="398"/>
            <ac:spMk id="16" creationId="{0ECD57D7-546C-CA6D-8E44-3373266E0BAD}"/>
          </ac:spMkLst>
        </pc:spChg>
        <pc:spChg chg="add mod">
          <ac:chgData name="zur bonsen georg" userId="5444515566c7376a" providerId="LiveId" clId="{FDDA43C8-544C-43C8-B7EC-BDEEF2A8748B}" dt="2024-02-11T10:45:01.044" v="42" actId="1037"/>
          <ac:spMkLst>
            <pc:docMk/>
            <pc:sldMk cId="3131759380" sldId="398"/>
            <ac:spMk id="17" creationId="{739F77FA-DCF1-00EE-EA9D-7FB4E2D2DB6F}"/>
          </ac:spMkLst>
        </pc:spChg>
        <pc:spChg chg="del">
          <ac:chgData name="zur bonsen georg" userId="5444515566c7376a" providerId="LiveId" clId="{FDDA43C8-544C-43C8-B7EC-BDEEF2A8748B}" dt="2024-02-11T10:42:37.865" v="1" actId="478"/>
          <ac:spMkLst>
            <pc:docMk/>
            <pc:sldMk cId="3131759380" sldId="398"/>
            <ac:spMk id="18" creationId="{F67FD3A2-ABB9-45DE-BA9C-303163671948}"/>
          </ac:spMkLst>
        </pc:spChg>
        <pc:spChg chg="add mod">
          <ac:chgData name="zur bonsen georg" userId="5444515566c7376a" providerId="LiveId" clId="{FDDA43C8-544C-43C8-B7EC-BDEEF2A8748B}" dt="2024-02-11T10:45:01.044" v="42" actId="1037"/>
          <ac:spMkLst>
            <pc:docMk/>
            <pc:sldMk cId="3131759380" sldId="398"/>
            <ac:spMk id="19" creationId="{7B864755-8167-CB05-2154-0E85921A5A82}"/>
          </ac:spMkLst>
        </pc:spChg>
        <pc:spChg chg="add mod">
          <ac:chgData name="zur bonsen georg" userId="5444515566c7376a" providerId="LiveId" clId="{FDDA43C8-544C-43C8-B7EC-BDEEF2A8748B}" dt="2024-02-11T10:45:01.044" v="42" actId="1037"/>
          <ac:spMkLst>
            <pc:docMk/>
            <pc:sldMk cId="3131759380" sldId="398"/>
            <ac:spMk id="20" creationId="{4961AFC3-CDC4-CEBE-D794-A08A5056D71F}"/>
          </ac:spMkLst>
        </pc:spChg>
        <pc:spChg chg="add mod">
          <ac:chgData name="zur bonsen georg" userId="5444515566c7376a" providerId="LiveId" clId="{FDDA43C8-544C-43C8-B7EC-BDEEF2A8748B}" dt="2024-02-11T10:45:01.044" v="42" actId="1037"/>
          <ac:spMkLst>
            <pc:docMk/>
            <pc:sldMk cId="3131759380" sldId="398"/>
            <ac:spMk id="21" creationId="{2AB4B69A-E5D1-D697-6E81-7691E1499D16}"/>
          </ac:spMkLst>
        </pc:spChg>
        <pc:spChg chg="add mod">
          <ac:chgData name="zur bonsen georg" userId="5444515566c7376a" providerId="LiveId" clId="{FDDA43C8-544C-43C8-B7EC-BDEEF2A8748B}" dt="2024-02-11T10:45:01.044" v="42" actId="1037"/>
          <ac:spMkLst>
            <pc:docMk/>
            <pc:sldMk cId="3131759380" sldId="398"/>
            <ac:spMk id="22" creationId="{1075787A-43CE-F1D5-4898-651FA6F29767}"/>
          </ac:spMkLst>
        </pc:spChg>
        <pc:spChg chg="add mod">
          <ac:chgData name="zur bonsen georg" userId="5444515566c7376a" providerId="LiveId" clId="{FDDA43C8-544C-43C8-B7EC-BDEEF2A8748B}" dt="2024-02-11T10:45:01.044" v="42" actId="1037"/>
          <ac:spMkLst>
            <pc:docMk/>
            <pc:sldMk cId="3131759380" sldId="398"/>
            <ac:spMk id="23" creationId="{CDBC9524-ED2B-CA5E-CC55-A120FB8AD237}"/>
          </ac:spMkLst>
        </pc:spChg>
        <pc:spChg chg="add mod">
          <ac:chgData name="zur bonsen georg" userId="5444515566c7376a" providerId="LiveId" clId="{FDDA43C8-544C-43C8-B7EC-BDEEF2A8748B}" dt="2024-02-11T10:45:01.044" v="42" actId="1037"/>
          <ac:spMkLst>
            <pc:docMk/>
            <pc:sldMk cId="3131759380" sldId="398"/>
            <ac:spMk id="24" creationId="{9B2CBEAA-6393-D683-74E4-4CC0B61DA34C}"/>
          </ac:spMkLst>
        </pc:spChg>
        <pc:spChg chg="add mod">
          <ac:chgData name="zur bonsen georg" userId="5444515566c7376a" providerId="LiveId" clId="{FDDA43C8-544C-43C8-B7EC-BDEEF2A8748B}" dt="2024-02-11T10:45:01.044" v="42" actId="1037"/>
          <ac:spMkLst>
            <pc:docMk/>
            <pc:sldMk cId="3131759380" sldId="398"/>
            <ac:spMk id="25" creationId="{5D94BA7D-30AB-A11D-E9CA-BE73AC5BC1A4}"/>
          </ac:spMkLst>
        </pc:spChg>
        <pc:spChg chg="add mod">
          <ac:chgData name="zur bonsen georg" userId="5444515566c7376a" providerId="LiveId" clId="{FDDA43C8-544C-43C8-B7EC-BDEEF2A8748B}" dt="2024-02-11T10:45:01.044" v="42" actId="1037"/>
          <ac:spMkLst>
            <pc:docMk/>
            <pc:sldMk cId="3131759380" sldId="398"/>
            <ac:spMk id="26" creationId="{66F5BF58-FADE-99F5-3A7F-E14F06C24D89}"/>
          </ac:spMkLst>
        </pc:spChg>
        <pc:spChg chg="add mod">
          <ac:chgData name="zur bonsen georg" userId="5444515566c7376a" providerId="LiveId" clId="{FDDA43C8-544C-43C8-B7EC-BDEEF2A8748B}" dt="2024-02-11T10:45:01.044" v="42" actId="1037"/>
          <ac:spMkLst>
            <pc:docMk/>
            <pc:sldMk cId="3131759380" sldId="398"/>
            <ac:spMk id="27" creationId="{178FB7F5-6E54-3FF9-9272-F423042172E3}"/>
          </ac:spMkLst>
        </pc:spChg>
        <pc:spChg chg="add mod">
          <ac:chgData name="zur bonsen georg" userId="5444515566c7376a" providerId="LiveId" clId="{FDDA43C8-544C-43C8-B7EC-BDEEF2A8748B}" dt="2024-02-11T10:45:01.044" v="42" actId="1037"/>
          <ac:spMkLst>
            <pc:docMk/>
            <pc:sldMk cId="3131759380" sldId="398"/>
            <ac:spMk id="28" creationId="{237443D6-86E5-77BE-78A4-8ED73940B7F2}"/>
          </ac:spMkLst>
        </pc:spChg>
        <pc:spChg chg="add mod">
          <ac:chgData name="zur bonsen georg" userId="5444515566c7376a" providerId="LiveId" clId="{FDDA43C8-544C-43C8-B7EC-BDEEF2A8748B}" dt="2024-02-11T10:45:01.044" v="42" actId="1037"/>
          <ac:spMkLst>
            <pc:docMk/>
            <pc:sldMk cId="3131759380" sldId="398"/>
            <ac:spMk id="29" creationId="{047C7530-4350-3C6E-733C-240EC878E596}"/>
          </ac:spMkLst>
        </pc:spChg>
        <pc:spChg chg="add mod">
          <ac:chgData name="zur bonsen georg" userId="5444515566c7376a" providerId="LiveId" clId="{FDDA43C8-544C-43C8-B7EC-BDEEF2A8748B}" dt="2024-02-11T10:45:01.044" v="42" actId="1037"/>
          <ac:spMkLst>
            <pc:docMk/>
            <pc:sldMk cId="3131759380" sldId="398"/>
            <ac:spMk id="30" creationId="{1681A0A9-A93F-0FB6-4C8F-D1ECD56C9608}"/>
          </ac:spMkLst>
        </pc:spChg>
        <pc:spChg chg="add mod">
          <ac:chgData name="zur bonsen georg" userId="5444515566c7376a" providerId="LiveId" clId="{FDDA43C8-544C-43C8-B7EC-BDEEF2A8748B}" dt="2024-02-11T10:45:01.044" v="42" actId="1037"/>
          <ac:spMkLst>
            <pc:docMk/>
            <pc:sldMk cId="3131759380" sldId="398"/>
            <ac:spMk id="31" creationId="{0D9753AE-ED03-B4B5-8841-184B260F6059}"/>
          </ac:spMkLst>
        </pc:spChg>
        <pc:spChg chg="add del mod">
          <ac:chgData name="zur bonsen georg" userId="5444515566c7376a" providerId="LiveId" clId="{FDDA43C8-544C-43C8-B7EC-BDEEF2A8748B}" dt="2024-02-11T10:42:52.842" v="3" actId="478"/>
          <ac:spMkLst>
            <pc:docMk/>
            <pc:sldMk cId="3131759380" sldId="398"/>
            <ac:spMk id="32" creationId="{B8051EAD-1243-921A-9EAC-DBCE65667686}"/>
          </ac:spMkLst>
        </pc:spChg>
        <pc:spChg chg="mod">
          <ac:chgData name="zur bonsen georg" userId="5444515566c7376a" providerId="LiveId" clId="{FDDA43C8-544C-43C8-B7EC-BDEEF2A8748B}" dt="2024-02-11T10:42:43.675" v="2"/>
          <ac:spMkLst>
            <pc:docMk/>
            <pc:sldMk cId="3131759380" sldId="398"/>
            <ac:spMk id="34" creationId="{ED7032F5-5C97-3155-341B-C47179F6ABC6}"/>
          </ac:spMkLst>
        </pc:spChg>
        <pc:spChg chg="add mod">
          <ac:chgData name="zur bonsen georg" userId="5444515566c7376a" providerId="LiveId" clId="{FDDA43C8-544C-43C8-B7EC-BDEEF2A8748B}" dt="2024-02-11T10:45:01.044" v="42" actId="1037"/>
          <ac:spMkLst>
            <pc:docMk/>
            <pc:sldMk cId="3131759380" sldId="398"/>
            <ac:spMk id="36" creationId="{5838CF20-B48D-8F4A-2674-3312B4E60E4E}"/>
          </ac:spMkLst>
        </pc:spChg>
        <pc:spChg chg="add mod">
          <ac:chgData name="zur bonsen georg" userId="5444515566c7376a" providerId="LiveId" clId="{FDDA43C8-544C-43C8-B7EC-BDEEF2A8748B}" dt="2024-02-11T10:45:01.044" v="42" actId="1037"/>
          <ac:spMkLst>
            <pc:docMk/>
            <pc:sldMk cId="3131759380" sldId="398"/>
            <ac:spMk id="37" creationId="{D8406D83-C225-8611-B9B8-72016443D1CE}"/>
          </ac:spMkLst>
        </pc:spChg>
        <pc:spChg chg="add mod">
          <ac:chgData name="zur bonsen georg" userId="5444515566c7376a" providerId="LiveId" clId="{FDDA43C8-544C-43C8-B7EC-BDEEF2A8748B}" dt="2024-02-11T10:45:01.044" v="42" actId="1037"/>
          <ac:spMkLst>
            <pc:docMk/>
            <pc:sldMk cId="3131759380" sldId="398"/>
            <ac:spMk id="38" creationId="{7794CAE5-B206-694B-2144-83186F40F2AB}"/>
          </ac:spMkLst>
        </pc:spChg>
        <pc:spChg chg="add mod">
          <ac:chgData name="zur bonsen georg" userId="5444515566c7376a" providerId="LiveId" clId="{FDDA43C8-544C-43C8-B7EC-BDEEF2A8748B}" dt="2024-02-11T10:45:01.044" v="42" actId="1037"/>
          <ac:spMkLst>
            <pc:docMk/>
            <pc:sldMk cId="3131759380" sldId="398"/>
            <ac:spMk id="39" creationId="{BC9327EC-36D3-2A33-FAFC-7B12723EAD7B}"/>
          </ac:spMkLst>
        </pc:spChg>
        <pc:spChg chg="del">
          <ac:chgData name="zur bonsen georg" userId="5444515566c7376a" providerId="LiveId" clId="{FDDA43C8-544C-43C8-B7EC-BDEEF2A8748B}" dt="2024-02-11T10:42:37.865" v="1" actId="478"/>
          <ac:spMkLst>
            <pc:docMk/>
            <pc:sldMk cId="3131759380" sldId="398"/>
            <ac:spMk id="40" creationId="{CC735710-683A-4F58-92BB-C0302AF04B30}"/>
          </ac:spMkLst>
        </pc:spChg>
        <pc:spChg chg="add mod">
          <ac:chgData name="zur bonsen georg" userId="5444515566c7376a" providerId="LiveId" clId="{FDDA43C8-544C-43C8-B7EC-BDEEF2A8748B}" dt="2024-02-11T10:45:01.044" v="42" actId="1037"/>
          <ac:spMkLst>
            <pc:docMk/>
            <pc:sldMk cId="3131759380" sldId="398"/>
            <ac:spMk id="41" creationId="{A740394F-F492-9E96-A91B-8CFF923D0203}"/>
          </ac:spMkLst>
        </pc:spChg>
        <pc:spChg chg="del">
          <ac:chgData name="zur bonsen georg" userId="5444515566c7376a" providerId="LiveId" clId="{FDDA43C8-544C-43C8-B7EC-BDEEF2A8748B}" dt="2024-02-11T10:42:37.865" v="1" actId="478"/>
          <ac:spMkLst>
            <pc:docMk/>
            <pc:sldMk cId="3131759380" sldId="398"/>
            <ac:spMk id="42" creationId="{12AA0730-F57C-448A-AD1F-EC87DC27F205}"/>
          </ac:spMkLst>
        </pc:spChg>
        <pc:spChg chg="add mod">
          <ac:chgData name="zur bonsen georg" userId="5444515566c7376a" providerId="LiveId" clId="{FDDA43C8-544C-43C8-B7EC-BDEEF2A8748B}" dt="2024-02-11T10:45:01.044" v="42" actId="1037"/>
          <ac:spMkLst>
            <pc:docMk/>
            <pc:sldMk cId="3131759380" sldId="398"/>
            <ac:spMk id="43" creationId="{6386C0A7-46AB-B837-5FAB-B08B95CD0868}"/>
          </ac:spMkLst>
        </pc:spChg>
        <pc:spChg chg="add mod">
          <ac:chgData name="zur bonsen georg" userId="5444515566c7376a" providerId="LiveId" clId="{FDDA43C8-544C-43C8-B7EC-BDEEF2A8748B}" dt="2024-02-11T10:45:01.044" v="42" actId="1037"/>
          <ac:spMkLst>
            <pc:docMk/>
            <pc:sldMk cId="3131759380" sldId="398"/>
            <ac:spMk id="44" creationId="{EF913952-1D4C-C76B-4259-B61257B2550F}"/>
          </ac:spMkLst>
        </pc:spChg>
        <pc:spChg chg="add mod">
          <ac:chgData name="zur bonsen georg" userId="5444515566c7376a" providerId="LiveId" clId="{FDDA43C8-544C-43C8-B7EC-BDEEF2A8748B}" dt="2024-02-11T10:45:01.044" v="42" actId="1037"/>
          <ac:spMkLst>
            <pc:docMk/>
            <pc:sldMk cId="3131759380" sldId="398"/>
            <ac:spMk id="45" creationId="{0E6BDE2D-9D8E-62B1-CDCF-E56E9DD132E9}"/>
          </ac:spMkLst>
        </pc:spChg>
        <pc:spChg chg="del">
          <ac:chgData name="zur bonsen georg" userId="5444515566c7376a" providerId="LiveId" clId="{FDDA43C8-544C-43C8-B7EC-BDEEF2A8748B}" dt="2024-02-11T10:42:37.865" v="1" actId="478"/>
          <ac:spMkLst>
            <pc:docMk/>
            <pc:sldMk cId="3131759380" sldId="398"/>
            <ac:spMk id="48" creationId="{F2CA6AF3-0270-45E8-8070-ADF967272428}"/>
          </ac:spMkLst>
        </pc:spChg>
        <pc:spChg chg="del">
          <ac:chgData name="zur bonsen georg" userId="5444515566c7376a" providerId="LiveId" clId="{FDDA43C8-544C-43C8-B7EC-BDEEF2A8748B}" dt="2024-02-11T10:42:37.865" v="1" actId="478"/>
          <ac:spMkLst>
            <pc:docMk/>
            <pc:sldMk cId="3131759380" sldId="398"/>
            <ac:spMk id="49" creationId="{F2D4CBD8-89AC-4913-A233-BF4A45765F84}"/>
          </ac:spMkLst>
        </pc:spChg>
        <pc:spChg chg="del">
          <ac:chgData name="zur bonsen georg" userId="5444515566c7376a" providerId="LiveId" clId="{FDDA43C8-544C-43C8-B7EC-BDEEF2A8748B}" dt="2024-02-11T10:42:37.865" v="1" actId="478"/>
          <ac:spMkLst>
            <pc:docMk/>
            <pc:sldMk cId="3131759380" sldId="398"/>
            <ac:spMk id="50" creationId="{6231599F-DC1A-406C-8664-B6EDBF11697B}"/>
          </ac:spMkLst>
        </pc:spChg>
        <pc:spChg chg="del">
          <ac:chgData name="zur bonsen georg" userId="5444515566c7376a" providerId="LiveId" clId="{FDDA43C8-544C-43C8-B7EC-BDEEF2A8748B}" dt="2024-02-11T10:42:37.865" v="1" actId="478"/>
          <ac:spMkLst>
            <pc:docMk/>
            <pc:sldMk cId="3131759380" sldId="398"/>
            <ac:spMk id="57" creationId="{BBE41B35-2F80-42A7-A270-BB33E695D11C}"/>
          </ac:spMkLst>
        </pc:spChg>
        <pc:spChg chg="del">
          <ac:chgData name="zur bonsen georg" userId="5444515566c7376a" providerId="LiveId" clId="{FDDA43C8-544C-43C8-B7EC-BDEEF2A8748B}" dt="2024-02-11T10:42:37.865" v="1" actId="478"/>
          <ac:spMkLst>
            <pc:docMk/>
            <pc:sldMk cId="3131759380" sldId="398"/>
            <ac:spMk id="58" creationId="{795074BF-E5A1-48F0-ABD9-6681637262FA}"/>
          </ac:spMkLst>
        </pc:spChg>
        <pc:spChg chg="del">
          <ac:chgData name="zur bonsen georg" userId="5444515566c7376a" providerId="LiveId" clId="{FDDA43C8-544C-43C8-B7EC-BDEEF2A8748B}" dt="2024-02-11T10:42:37.865" v="1" actId="478"/>
          <ac:spMkLst>
            <pc:docMk/>
            <pc:sldMk cId="3131759380" sldId="398"/>
            <ac:spMk id="62" creationId="{47A6AC1E-3493-4245-A6D6-6C596AD17620}"/>
          </ac:spMkLst>
        </pc:spChg>
        <pc:spChg chg="del">
          <ac:chgData name="zur bonsen georg" userId="5444515566c7376a" providerId="LiveId" clId="{FDDA43C8-544C-43C8-B7EC-BDEEF2A8748B}" dt="2024-02-11T10:42:37.865" v="1" actId="478"/>
          <ac:spMkLst>
            <pc:docMk/>
            <pc:sldMk cId="3131759380" sldId="398"/>
            <ac:spMk id="64" creationId="{14999E4D-C16E-4AFE-AB25-9041CE49133C}"/>
          </ac:spMkLst>
        </pc:spChg>
        <pc:spChg chg="del">
          <ac:chgData name="zur bonsen georg" userId="5444515566c7376a" providerId="LiveId" clId="{FDDA43C8-544C-43C8-B7EC-BDEEF2A8748B}" dt="2024-02-11T10:42:37.865" v="1" actId="478"/>
          <ac:spMkLst>
            <pc:docMk/>
            <pc:sldMk cId="3131759380" sldId="398"/>
            <ac:spMk id="67" creationId="{EFA8FD6F-8AAD-41B9-B976-D10FBC45A9AB}"/>
          </ac:spMkLst>
        </pc:spChg>
        <pc:spChg chg="del">
          <ac:chgData name="zur bonsen georg" userId="5444515566c7376a" providerId="LiveId" clId="{FDDA43C8-544C-43C8-B7EC-BDEEF2A8748B}" dt="2024-02-11T10:42:37.865" v="1" actId="478"/>
          <ac:spMkLst>
            <pc:docMk/>
            <pc:sldMk cId="3131759380" sldId="398"/>
            <ac:spMk id="70" creationId="{66F6B636-CC14-45EC-A21B-17EB762B80F6}"/>
          </ac:spMkLst>
        </pc:spChg>
        <pc:spChg chg="del">
          <ac:chgData name="zur bonsen georg" userId="5444515566c7376a" providerId="LiveId" clId="{FDDA43C8-544C-43C8-B7EC-BDEEF2A8748B}" dt="2024-02-11T10:42:37.865" v="1" actId="478"/>
          <ac:spMkLst>
            <pc:docMk/>
            <pc:sldMk cId="3131759380" sldId="398"/>
            <ac:spMk id="74" creationId="{3213BAC2-0569-43DD-87D2-81F95D95DECE}"/>
          </ac:spMkLst>
        </pc:spChg>
        <pc:spChg chg="del">
          <ac:chgData name="zur bonsen georg" userId="5444515566c7376a" providerId="LiveId" clId="{FDDA43C8-544C-43C8-B7EC-BDEEF2A8748B}" dt="2024-02-11T10:42:37.865" v="1" actId="478"/>
          <ac:spMkLst>
            <pc:docMk/>
            <pc:sldMk cId="3131759380" sldId="398"/>
            <ac:spMk id="75" creationId="{35BD99F5-4322-48C1-8BFF-57FE539B2F21}"/>
          </ac:spMkLst>
        </pc:spChg>
        <pc:spChg chg="del">
          <ac:chgData name="zur bonsen georg" userId="5444515566c7376a" providerId="LiveId" clId="{FDDA43C8-544C-43C8-B7EC-BDEEF2A8748B}" dt="2024-02-11T10:42:37.865" v="1" actId="478"/>
          <ac:spMkLst>
            <pc:docMk/>
            <pc:sldMk cId="3131759380" sldId="398"/>
            <ac:spMk id="76" creationId="{179BDC43-722A-4B80-8071-BEB016032439}"/>
          </ac:spMkLst>
        </pc:spChg>
        <pc:spChg chg="del">
          <ac:chgData name="zur bonsen georg" userId="5444515566c7376a" providerId="LiveId" clId="{FDDA43C8-544C-43C8-B7EC-BDEEF2A8748B}" dt="2024-02-11T10:42:37.865" v="1" actId="478"/>
          <ac:spMkLst>
            <pc:docMk/>
            <pc:sldMk cId="3131759380" sldId="398"/>
            <ac:spMk id="86" creationId="{509A4ED7-ED07-4563-A5AF-25BE527102A3}"/>
          </ac:spMkLst>
        </pc:spChg>
        <pc:spChg chg="del">
          <ac:chgData name="zur bonsen georg" userId="5444515566c7376a" providerId="LiveId" clId="{FDDA43C8-544C-43C8-B7EC-BDEEF2A8748B}" dt="2024-02-11T10:42:37.865" v="1" actId="478"/>
          <ac:spMkLst>
            <pc:docMk/>
            <pc:sldMk cId="3131759380" sldId="398"/>
            <ac:spMk id="87" creationId="{D6C158D8-191B-442E-B975-7E39AFAF8EE8}"/>
          </ac:spMkLst>
        </pc:spChg>
        <pc:spChg chg="del">
          <ac:chgData name="zur bonsen georg" userId="5444515566c7376a" providerId="LiveId" clId="{FDDA43C8-544C-43C8-B7EC-BDEEF2A8748B}" dt="2024-02-11T10:42:37.865" v="1" actId="478"/>
          <ac:spMkLst>
            <pc:docMk/>
            <pc:sldMk cId="3131759380" sldId="398"/>
            <ac:spMk id="89" creationId="{30EC3988-54C0-443F-964D-93436DB074AB}"/>
          </ac:spMkLst>
        </pc:spChg>
        <pc:spChg chg="del">
          <ac:chgData name="zur bonsen georg" userId="5444515566c7376a" providerId="LiveId" clId="{FDDA43C8-544C-43C8-B7EC-BDEEF2A8748B}" dt="2024-02-11T10:42:37.865" v="1" actId="478"/>
          <ac:spMkLst>
            <pc:docMk/>
            <pc:sldMk cId="3131759380" sldId="398"/>
            <ac:spMk id="90" creationId="{57FA14E1-BCCF-4806-9607-1724CD30A02E}"/>
          </ac:spMkLst>
        </pc:spChg>
        <pc:spChg chg="del">
          <ac:chgData name="zur bonsen georg" userId="5444515566c7376a" providerId="LiveId" clId="{FDDA43C8-544C-43C8-B7EC-BDEEF2A8748B}" dt="2024-02-11T10:42:37.865" v="1" actId="478"/>
          <ac:spMkLst>
            <pc:docMk/>
            <pc:sldMk cId="3131759380" sldId="398"/>
            <ac:spMk id="91" creationId="{05EDC96F-CE68-418F-BBCF-61A443B2D183}"/>
          </ac:spMkLst>
        </pc:spChg>
        <pc:spChg chg="del">
          <ac:chgData name="zur bonsen georg" userId="5444515566c7376a" providerId="LiveId" clId="{FDDA43C8-544C-43C8-B7EC-BDEEF2A8748B}" dt="2024-02-11T10:42:37.865" v="1" actId="478"/>
          <ac:spMkLst>
            <pc:docMk/>
            <pc:sldMk cId="3131759380" sldId="398"/>
            <ac:spMk id="95" creationId="{E8D47682-1B6C-4548-BD82-4741067392EF}"/>
          </ac:spMkLst>
        </pc:spChg>
        <pc:spChg chg="del">
          <ac:chgData name="zur bonsen georg" userId="5444515566c7376a" providerId="LiveId" clId="{FDDA43C8-544C-43C8-B7EC-BDEEF2A8748B}" dt="2024-02-11T10:42:37.865" v="1" actId="478"/>
          <ac:spMkLst>
            <pc:docMk/>
            <pc:sldMk cId="3131759380" sldId="398"/>
            <ac:spMk id="96" creationId="{6ED8B32E-7F9A-42A7-A257-CD55D8B60743}"/>
          </ac:spMkLst>
        </pc:spChg>
        <pc:spChg chg="del">
          <ac:chgData name="zur bonsen georg" userId="5444515566c7376a" providerId="LiveId" clId="{FDDA43C8-544C-43C8-B7EC-BDEEF2A8748B}" dt="2024-02-11T10:42:37.865" v="1" actId="478"/>
          <ac:spMkLst>
            <pc:docMk/>
            <pc:sldMk cId="3131759380" sldId="398"/>
            <ac:spMk id="103" creationId="{3994F20E-1809-45DA-A2DA-EAD0FF06EDBF}"/>
          </ac:spMkLst>
        </pc:spChg>
        <pc:spChg chg="del">
          <ac:chgData name="zur bonsen georg" userId="5444515566c7376a" providerId="LiveId" clId="{FDDA43C8-544C-43C8-B7EC-BDEEF2A8748B}" dt="2024-02-11T10:42:37.865" v="1" actId="478"/>
          <ac:spMkLst>
            <pc:docMk/>
            <pc:sldMk cId="3131759380" sldId="398"/>
            <ac:spMk id="104" creationId="{B26B1955-2BB5-4D62-92EE-E5D71FC7C011}"/>
          </ac:spMkLst>
        </pc:spChg>
        <pc:spChg chg="del">
          <ac:chgData name="zur bonsen georg" userId="5444515566c7376a" providerId="LiveId" clId="{FDDA43C8-544C-43C8-B7EC-BDEEF2A8748B}" dt="2024-02-11T10:42:37.865" v="1" actId="478"/>
          <ac:spMkLst>
            <pc:docMk/>
            <pc:sldMk cId="3131759380" sldId="398"/>
            <ac:spMk id="116" creationId="{2CEA51A4-B416-484B-ADF6-96AE4B8A2AD9}"/>
          </ac:spMkLst>
        </pc:spChg>
        <pc:spChg chg="del">
          <ac:chgData name="zur bonsen georg" userId="5444515566c7376a" providerId="LiveId" clId="{FDDA43C8-544C-43C8-B7EC-BDEEF2A8748B}" dt="2024-02-11T10:42:37.865" v="1" actId="478"/>
          <ac:spMkLst>
            <pc:docMk/>
            <pc:sldMk cId="3131759380" sldId="398"/>
            <ac:spMk id="124" creationId="{CAEEF56D-B13E-47D0-8AC5-ADD85D8E0C46}"/>
          </ac:spMkLst>
        </pc:spChg>
        <pc:spChg chg="del">
          <ac:chgData name="zur bonsen georg" userId="5444515566c7376a" providerId="LiveId" clId="{FDDA43C8-544C-43C8-B7EC-BDEEF2A8748B}" dt="2024-02-11T10:42:37.865" v="1" actId="478"/>
          <ac:spMkLst>
            <pc:docMk/>
            <pc:sldMk cId="3131759380" sldId="398"/>
            <ac:spMk id="126" creationId="{BED03999-2D4C-49F8-8982-CDD5CA20CF2D}"/>
          </ac:spMkLst>
        </pc:spChg>
        <pc:spChg chg="del">
          <ac:chgData name="zur bonsen georg" userId="5444515566c7376a" providerId="LiveId" clId="{FDDA43C8-544C-43C8-B7EC-BDEEF2A8748B}" dt="2024-02-11T10:42:37.865" v="1" actId="478"/>
          <ac:spMkLst>
            <pc:docMk/>
            <pc:sldMk cId="3131759380" sldId="398"/>
            <ac:spMk id="127" creationId="{8D93D78E-EF03-4099-9AF8-07AE51F90407}"/>
          </ac:spMkLst>
        </pc:spChg>
        <pc:grpChg chg="add mod">
          <ac:chgData name="zur bonsen georg" userId="5444515566c7376a" providerId="LiveId" clId="{FDDA43C8-544C-43C8-B7EC-BDEEF2A8748B}" dt="2024-02-11T10:45:01.044" v="42" actId="1037"/>
          <ac:grpSpMkLst>
            <pc:docMk/>
            <pc:sldMk cId="3131759380" sldId="398"/>
            <ac:grpSpMk id="33" creationId="{3BE46A15-7FF7-CBBC-A488-7FEF46B616E6}"/>
          </ac:grpSpMkLst>
        </pc:grpChg>
        <pc:picChg chg="mod">
          <ac:chgData name="zur bonsen georg" userId="5444515566c7376a" providerId="LiveId" clId="{FDDA43C8-544C-43C8-B7EC-BDEEF2A8748B}" dt="2024-02-11T10:44:51.244" v="38" actId="14100"/>
          <ac:picMkLst>
            <pc:docMk/>
            <pc:sldMk cId="3131759380" sldId="398"/>
            <ac:picMk id="35" creationId="{A365FC6D-8D5D-D5FB-BF52-96B5BE76DDD6}"/>
          </ac:picMkLst>
        </pc:picChg>
        <pc:cxnChg chg="del">
          <ac:chgData name="zur bonsen georg" userId="5444515566c7376a" providerId="LiveId" clId="{FDDA43C8-544C-43C8-B7EC-BDEEF2A8748B}" dt="2024-02-11T10:42:37.865" v="1" actId="478"/>
          <ac:cxnSpMkLst>
            <pc:docMk/>
            <pc:sldMk cId="3131759380" sldId="398"/>
            <ac:cxnSpMk id="5" creationId="{D128DDCA-BEE4-4929-91C5-1EF6D4E8219B}"/>
          </ac:cxnSpMkLst>
        </pc:cxnChg>
        <pc:cxnChg chg="add mod">
          <ac:chgData name="zur bonsen georg" userId="5444515566c7376a" providerId="LiveId" clId="{FDDA43C8-544C-43C8-B7EC-BDEEF2A8748B}" dt="2024-02-11T10:45:01.044" v="42" actId="1037"/>
          <ac:cxnSpMkLst>
            <pc:docMk/>
            <pc:sldMk cId="3131759380" sldId="398"/>
            <ac:cxnSpMk id="13" creationId="{7C64FFA7-8DCB-C67F-C4BA-17FF1173B24B}"/>
          </ac:cxnSpMkLst>
        </pc:cxnChg>
        <pc:cxnChg chg="del">
          <ac:chgData name="zur bonsen georg" userId="5444515566c7376a" providerId="LiveId" clId="{FDDA43C8-544C-43C8-B7EC-BDEEF2A8748B}" dt="2024-02-11T10:42:37.865" v="1" actId="478"/>
          <ac:cxnSpMkLst>
            <pc:docMk/>
            <pc:sldMk cId="3131759380" sldId="398"/>
            <ac:cxnSpMk id="54" creationId="{123A190C-8FFD-4B17-8527-52B19C52876B}"/>
          </ac:cxnSpMkLst>
        </pc:cxnChg>
        <pc:cxnChg chg="del">
          <ac:chgData name="zur bonsen georg" userId="5444515566c7376a" providerId="LiveId" clId="{FDDA43C8-544C-43C8-B7EC-BDEEF2A8748B}" dt="2024-02-11T10:42:37.865" v="1" actId="478"/>
          <ac:cxnSpMkLst>
            <pc:docMk/>
            <pc:sldMk cId="3131759380" sldId="398"/>
            <ac:cxnSpMk id="59" creationId="{ECFEF118-B761-42D5-9631-80E9BFDEF855}"/>
          </ac:cxnSpMkLst>
        </pc:cxnChg>
        <pc:cxnChg chg="del">
          <ac:chgData name="zur bonsen georg" userId="5444515566c7376a" providerId="LiveId" clId="{FDDA43C8-544C-43C8-B7EC-BDEEF2A8748B}" dt="2024-02-11T10:42:37.865" v="1" actId="478"/>
          <ac:cxnSpMkLst>
            <pc:docMk/>
            <pc:sldMk cId="3131759380" sldId="398"/>
            <ac:cxnSpMk id="60" creationId="{4D2922DB-9EB8-4B01-9CA0-B185E54DAF55}"/>
          </ac:cxnSpMkLst>
        </pc:cxnChg>
        <pc:cxnChg chg="del">
          <ac:chgData name="zur bonsen georg" userId="5444515566c7376a" providerId="LiveId" clId="{FDDA43C8-544C-43C8-B7EC-BDEEF2A8748B}" dt="2024-02-11T10:42:37.865" v="1" actId="478"/>
          <ac:cxnSpMkLst>
            <pc:docMk/>
            <pc:sldMk cId="3131759380" sldId="398"/>
            <ac:cxnSpMk id="61" creationId="{4A7F2212-4028-4A13-92C4-32F5C490694A}"/>
          </ac:cxnSpMkLst>
        </pc:cxnChg>
        <pc:cxnChg chg="del">
          <ac:chgData name="zur bonsen georg" userId="5444515566c7376a" providerId="LiveId" clId="{FDDA43C8-544C-43C8-B7EC-BDEEF2A8748B}" dt="2024-02-11T10:42:37.865" v="1" actId="478"/>
          <ac:cxnSpMkLst>
            <pc:docMk/>
            <pc:sldMk cId="3131759380" sldId="398"/>
            <ac:cxnSpMk id="63" creationId="{A84B0C48-C7B1-426A-9A14-3276A890A708}"/>
          </ac:cxnSpMkLst>
        </pc:cxnChg>
        <pc:cxnChg chg="del">
          <ac:chgData name="zur bonsen georg" userId="5444515566c7376a" providerId="LiveId" clId="{FDDA43C8-544C-43C8-B7EC-BDEEF2A8748B}" dt="2024-02-11T10:42:37.865" v="1" actId="478"/>
          <ac:cxnSpMkLst>
            <pc:docMk/>
            <pc:sldMk cId="3131759380" sldId="398"/>
            <ac:cxnSpMk id="78" creationId="{F7944FC9-3AC1-41F4-AE25-ECA7A8B4374A}"/>
          </ac:cxnSpMkLst>
        </pc:cxnChg>
        <pc:cxnChg chg="del">
          <ac:chgData name="zur bonsen georg" userId="5444515566c7376a" providerId="LiveId" clId="{FDDA43C8-544C-43C8-B7EC-BDEEF2A8748B}" dt="2024-02-11T10:42:37.865" v="1" actId="478"/>
          <ac:cxnSpMkLst>
            <pc:docMk/>
            <pc:sldMk cId="3131759380" sldId="398"/>
            <ac:cxnSpMk id="84" creationId="{5162B8FC-E202-4A9E-AA7D-C17401391218}"/>
          </ac:cxnSpMkLst>
        </pc:cxnChg>
        <pc:cxnChg chg="del">
          <ac:chgData name="zur bonsen georg" userId="5444515566c7376a" providerId="LiveId" clId="{FDDA43C8-544C-43C8-B7EC-BDEEF2A8748B}" dt="2024-02-11T10:42:37.865" v="1" actId="478"/>
          <ac:cxnSpMkLst>
            <pc:docMk/>
            <pc:sldMk cId="3131759380" sldId="398"/>
            <ac:cxnSpMk id="85" creationId="{84C9CE55-52B5-491F-AD3D-86B1BA759180}"/>
          </ac:cxnSpMkLst>
        </pc:cxnChg>
        <pc:cxnChg chg="del">
          <ac:chgData name="zur bonsen georg" userId="5444515566c7376a" providerId="LiveId" clId="{FDDA43C8-544C-43C8-B7EC-BDEEF2A8748B}" dt="2024-02-11T10:42:37.865" v="1" actId="478"/>
          <ac:cxnSpMkLst>
            <pc:docMk/>
            <pc:sldMk cId="3131759380" sldId="398"/>
            <ac:cxnSpMk id="88" creationId="{96E765CF-399A-41D3-A8DE-6FFF20F4E74E}"/>
          </ac:cxnSpMkLst>
        </pc:cxnChg>
        <pc:cxnChg chg="del">
          <ac:chgData name="zur bonsen georg" userId="5444515566c7376a" providerId="LiveId" clId="{FDDA43C8-544C-43C8-B7EC-BDEEF2A8748B}" dt="2024-02-11T10:42:37.865" v="1" actId="478"/>
          <ac:cxnSpMkLst>
            <pc:docMk/>
            <pc:sldMk cId="3131759380" sldId="398"/>
            <ac:cxnSpMk id="92" creationId="{49EECA0E-29C4-44E9-B639-122E156942BA}"/>
          </ac:cxnSpMkLst>
        </pc:cxnChg>
        <pc:cxnChg chg="del">
          <ac:chgData name="zur bonsen georg" userId="5444515566c7376a" providerId="LiveId" clId="{FDDA43C8-544C-43C8-B7EC-BDEEF2A8748B}" dt="2024-02-11T10:42:37.865" v="1" actId="478"/>
          <ac:cxnSpMkLst>
            <pc:docMk/>
            <pc:sldMk cId="3131759380" sldId="398"/>
            <ac:cxnSpMk id="93" creationId="{BD3789DA-214E-4070-B2E8-C77AF7050675}"/>
          </ac:cxnSpMkLst>
        </pc:cxnChg>
        <pc:cxnChg chg="del">
          <ac:chgData name="zur bonsen georg" userId="5444515566c7376a" providerId="LiveId" clId="{FDDA43C8-544C-43C8-B7EC-BDEEF2A8748B}" dt="2024-02-11T10:42:37.865" v="1" actId="478"/>
          <ac:cxnSpMkLst>
            <pc:docMk/>
            <pc:sldMk cId="3131759380" sldId="398"/>
            <ac:cxnSpMk id="94" creationId="{9F5EBB4B-633F-4669-A0F6-00AC836F8225}"/>
          </ac:cxnSpMkLst>
        </pc:cxnChg>
        <pc:cxnChg chg="del mod">
          <ac:chgData name="zur bonsen georg" userId="5444515566c7376a" providerId="LiveId" clId="{FDDA43C8-544C-43C8-B7EC-BDEEF2A8748B}" dt="2024-02-11T10:42:37.865" v="1" actId="478"/>
          <ac:cxnSpMkLst>
            <pc:docMk/>
            <pc:sldMk cId="3131759380" sldId="398"/>
            <ac:cxnSpMk id="98" creationId="{22D009E9-3EB0-4703-AB82-DEBDA03225EF}"/>
          </ac:cxnSpMkLst>
        </pc:cxnChg>
        <pc:cxnChg chg="del">
          <ac:chgData name="zur bonsen georg" userId="5444515566c7376a" providerId="LiveId" clId="{FDDA43C8-544C-43C8-B7EC-BDEEF2A8748B}" dt="2024-02-11T10:42:37.865" v="1" actId="478"/>
          <ac:cxnSpMkLst>
            <pc:docMk/>
            <pc:sldMk cId="3131759380" sldId="398"/>
            <ac:cxnSpMk id="99" creationId="{970BDF38-481C-4283-AE11-62BC2F9307EC}"/>
          </ac:cxnSpMkLst>
        </pc:cxnChg>
        <pc:cxnChg chg="del">
          <ac:chgData name="zur bonsen georg" userId="5444515566c7376a" providerId="LiveId" clId="{FDDA43C8-544C-43C8-B7EC-BDEEF2A8748B}" dt="2024-02-11T10:42:37.865" v="1" actId="478"/>
          <ac:cxnSpMkLst>
            <pc:docMk/>
            <pc:sldMk cId="3131759380" sldId="398"/>
            <ac:cxnSpMk id="100" creationId="{A2F10621-9368-4AD2-B284-9C31322BF95E}"/>
          </ac:cxnSpMkLst>
        </pc:cxnChg>
        <pc:cxnChg chg="del">
          <ac:chgData name="zur bonsen georg" userId="5444515566c7376a" providerId="LiveId" clId="{FDDA43C8-544C-43C8-B7EC-BDEEF2A8748B}" dt="2024-02-11T10:42:37.865" v="1" actId="478"/>
          <ac:cxnSpMkLst>
            <pc:docMk/>
            <pc:sldMk cId="3131759380" sldId="398"/>
            <ac:cxnSpMk id="101" creationId="{33BBBC62-5B76-4CAC-948D-FA393ABB6822}"/>
          </ac:cxnSpMkLst>
        </pc:cxnChg>
        <pc:cxnChg chg="del">
          <ac:chgData name="zur bonsen georg" userId="5444515566c7376a" providerId="LiveId" clId="{FDDA43C8-544C-43C8-B7EC-BDEEF2A8748B}" dt="2024-02-11T10:42:37.865" v="1" actId="478"/>
          <ac:cxnSpMkLst>
            <pc:docMk/>
            <pc:sldMk cId="3131759380" sldId="398"/>
            <ac:cxnSpMk id="102" creationId="{360D836F-B46B-4501-83FD-2F7F48955B2B}"/>
          </ac:cxnSpMkLst>
        </pc:cxnChg>
        <pc:cxnChg chg="del mod">
          <ac:chgData name="zur bonsen georg" userId="5444515566c7376a" providerId="LiveId" clId="{FDDA43C8-544C-43C8-B7EC-BDEEF2A8748B}" dt="2024-02-11T10:42:37.865" v="1" actId="478"/>
          <ac:cxnSpMkLst>
            <pc:docMk/>
            <pc:sldMk cId="3131759380" sldId="398"/>
            <ac:cxnSpMk id="105" creationId="{875103E7-3CED-44F7-9CE0-E7843BA99310}"/>
          </ac:cxnSpMkLst>
        </pc:cxnChg>
        <pc:cxnChg chg="del mod">
          <ac:chgData name="zur bonsen georg" userId="5444515566c7376a" providerId="LiveId" clId="{FDDA43C8-544C-43C8-B7EC-BDEEF2A8748B}" dt="2024-02-11T10:42:37.865" v="1" actId="478"/>
          <ac:cxnSpMkLst>
            <pc:docMk/>
            <pc:sldMk cId="3131759380" sldId="398"/>
            <ac:cxnSpMk id="119" creationId="{88EEA407-315F-4E6E-A44E-23FF3D449F1B}"/>
          </ac:cxnSpMkLst>
        </pc:cxnChg>
        <pc:cxnChg chg="del mod">
          <ac:chgData name="zur bonsen georg" userId="5444515566c7376a" providerId="LiveId" clId="{FDDA43C8-544C-43C8-B7EC-BDEEF2A8748B}" dt="2024-02-11T10:42:37.865" v="1" actId="478"/>
          <ac:cxnSpMkLst>
            <pc:docMk/>
            <pc:sldMk cId="3131759380" sldId="398"/>
            <ac:cxnSpMk id="120" creationId="{D239C0C7-8785-4586-AD5C-70F87A3B31A0}"/>
          </ac:cxnSpMkLst>
        </pc:cxnChg>
        <pc:cxnChg chg="del">
          <ac:chgData name="zur bonsen georg" userId="5444515566c7376a" providerId="LiveId" clId="{FDDA43C8-544C-43C8-B7EC-BDEEF2A8748B}" dt="2024-02-11T10:42:37.865" v="1" actId="478"/>
          <ac:cxnSpMkLst>
            <pc:docMk/>
            <pc:sldMk cId="3131759380" sldId="398"/>
            <ac:cxnSpMk id="123" creationId="{2EB0CC1C-F673-4181-B9D8-2981D298C838}"/>
          </ac:cxnSpMkLst>
        </pc:cxnChg>
        <pc:cxnChg chg="del mod">
          <ac:chgData name="zur bonsen georg" userId="5444515566c7376a" providerId="LiveId" clId="{FDDA43C8-544C-43C8-B7EC-BDEEF2A8748B}" dt="2024-02-11T10:42:37.865" v="1" actId="478"/>
          <ac:cxnSpMkLst>
            <pc:docMk/>
            <pc:sldMk cId="3131759380" sldId="398"/>
            <ac:cxnSpMk id="125" creationId="{E0B9CDB7-4912-4242-8A58-4FF6384F26A2}"/>
          </ac:cxnSpMkLst>
        </pc:cxnChg>
      </pc:sldChg>
      <pc:sldChg chg="add">
        <pc:chgData name="zur bonsen georg" userId="5444515566c7376a" providerId="LiveId" clId="{FDDA43C8-544C-43C8-B7EC-BDEEF2A8748B}" dt="2024-02-11T10:42:33.548" v="0" actId="2890"/>
        <pc:sldMkLst>
          <pc:docMk/>
          <pc:sldMk cId="3593765422" sldId="518"/>
        </pc:sldMkLst>
      </pc:sldChg>
      <pc:sldChg chg="addSp delSp modSp add mod">
        <pc:chgData name="zur bonsen georg" userId="5444515566c7376a" providerId="LiveId" clId="{FDDA43C8-544C-43C8-B7EC-BDEEF2A8748B}" dt="2024-02-11T12:23:46.455" v="407" actId="207"/>
        <pc:sldMkLst>
          <pc:docMk/>
          <pc:sldMk cId="2734610136" sldId="519"/>
        </pc:sldMkLst>
        <pc:spChg chg="mod">
          <ac:chgData name="zur bonsen georg" userId="5444515566c7376a" providerId="LiveId" clId="{FDDA43C8-544C-43C8-B7EC-BDEEF2A8748B}" dt="2024-02-11T12:19:17.944" v="293" actId="20577"/>
          <ac:spMkLst>
            <pc:docMk/>
            <pc:sldMk cId="2734610136" sldId="519"/>
            <ac:spMk id="2" creationId="{FDA5F58D-784E-390B-095D-48B6D49FB6D9}"/>
          </ac:spMkLst>
        </pc:spChg>
        <pc:spChg chg="del">
          <ac:chgData name="zur bonsen georg" userId="5444515566c7376a" providerId="LiveId" clId="{FDDA43C8-544C-43C8-B7EC-BDEEF2A8748B}" dt="2024-02-11T11:40:58.281" v="44" actId="478"/>
          <ac:spMkLst>
            <pc:docMk/>
            <pc:sldMk cId="2734610136" sldId="519"/>
            <ac:spMk id="3" creationId="{25E3CD92-A8C7-5F49-11DF-802F13475C36}"/>
          </ac:spMkLst>
        </pc:spChg>
        <pc:spChg chg="del">
          <ac:chgData name="zur bonsen georg" userId="5444515566c7376a" providerId="LiveId" clId="{FDDA43C8-544C-43C8-B7EC-BDEEF2A8748B}" dt="2024-02-11T11:40:58.281" v="44" actId="478"/>
          <ac:spMkLst>
            <pc:docMk/>
            <pc:sldMk cId="2734610136" sldId="519"/>
            <ac:spMk id="4" creationId="{06C8490F-C5C6-D9B9-7D06-346F716FD64C}"/>
          </ac:spMkLst>
        </pc:spChg>
        <pc:spChg chg="add del mod">
          <ac:chgData name="zur bonsen georg" userId="5444515566c7376a" providerId="LiveId" clId="{FDDA43C8-544C-43C8-B7EC-BDEEF2A8748B}" dt="2024-02-11T11:50:38.422" v="74" actId="478"/>
          <ac:spMkLst>
            <pc:docMk/>
            <pc:sldMk cId="2734610136" sldId="519"/>
            <ac:spMk id="5" creationId="{F0B088AE-8823-8881-6584-532976CC23C8}"/>
          </ac:spMkLst>
        </pc:spChg>
        <pc:spChg chg="del">
          <ac:chgData name="zur bonsen georg" userId="5444515566c7376a" providerId="LiveId" clId="{FDDA43C8-544C-43C8-B7EC-BDEEF2A8748B}" dt="2024-02-11T11:40:58.281" v="44" actId="478"/>
          <ac:spMkLst>
            <pc:docMk/>
            <pc:sldMk cId="2734610136" sldId="519"/>
            <ac:spMk id="6" creationId="{A58CA13F-1564-6472-ED56-DC79E381871B}"/>
          </ac:spMkLst>
        </pc:spChg>
        <pc:spChg chg="del">
          <ac:chgData name="zur bonsen georg" userId="5444515566c7376a" providerId="LiveId" clId="{FDDA43C8-544C-43C8-B7EC-BDEEF2A8748B}" dt="2024-02-11T11:40:58.281" v="44" actId="478"/>
          <ac:spMkLst>
            <pc:docMk/>
            <pc:sldMk cId="2734610136" sldId="519"/>
            <ac:spMk id="7" creationId="{EC9E570A-86B1-BCE5-4922-4F7481D3AF46}"/>
          </ac:spMkLst>
        </pc:spChg>
        <pc:spChg chg="del">
          <ac:chgData name="zur bonsen georg" userId="5444515566c7376a" providerId="LiveId" clId="{FDDA43C8-544C-43C8-B7EC-BDEEF2A8748B}" dt="2024-02-11T11:40:58.281" v="44" actId="478"/>
          <ac:spMkLst>
            <pc:docMk/>
            <pc:sldMk cId="2734610136" sldId="519"/>
            <ac:spMk id="8" creationId="{118E4B12-4431-F374-3013-00A17F919000}"/>
          </ac:spMkLst>
        </pc:spChg>
        <pc:spChg chg="del">
          <ac:chgData name="zur bonsen georg" userId="5444515566c7376a" providerId="LiveId" clId="{FDDA43C8-544C-43C8-B7EC-BDEEF2A8748B}" dt="2024-02-11T11:40:58.281" v="44" actId="478"/>
          <ac:spMkLst>
            <pc:docMk/>
            <pc:sldMk cId="2734610136" sldId="519"/>
            <ac:spMk id="9" creationId="{9CEECF9E-3A4D-BC7B-A042-15DDE3806E46}"/>
          </ac:spMkLst>
        </pc:spChg>
        <pc:spChg chg="del">
          <ac:chgData name="zur bonsen georg" userId="5444515566c7376a" providerId="LiveId" clId="{FDDA43C8-544C-43C8-B7EC-BDEEF2A8748B}" dt="2024-02-11T11:40:58.281" v="44" actId="478"/>
          <ac:spMkLst>
            <pc:docMk/>
            <pc:sldMk cId="2734610136" sldId="519"/>
            <ac:spMk id="10" creationId="{C922B165-8E13-8900-3D73-A36C0902C151}"/>
          </ac:spMkLst>
        </pc:spChg>
        <pc:spChg chg="del">
          <ac:chgData name="zur bonsen georg" userId="5444515566c7376a" providerId="LiveId" clId="{FDDA43C8-544C-43C8-B7EC-BDEEF2A8748B}" dt="2024-02-11T11:40:58.281" v="44" actId="478"/>
          <ac:spMkLst>
            <pc:docMk/>
            <pc:sldMk cId="2734610136" sldId="519"/>
            <ac:spMk id="11" creationId="{3F368BF3-3B9B-8504-A10D-8671127E0B45}"/>
          </ac:spMkLst>
        </pc:spChg>
        <pc:spChg chg="add del mod">
          <ac:chgData name="zur bonsen georg" userId="5444515566c7376a" providerId="LiveId" clId="{FDDA43C8-544C-43C8-B7EC-BDEEF2A8748B}" dt="2024-02-11T11:50:38.422" v="74" actId="478"/>
          <ac:spMkLst>
            <pc:docMk/>
            <pc:sldMk cId="2734610136" sldId="519"/>
            <ac:spMk id="14" creationId="{8384ACD2-9679-644F-3E4E-4BFEC9E2B1C5}"/>
          </ac:spMkLst>
        </pc:spChg>
        <pc:spChg chg="del">
          <ac:chgData name="zur bonsen georg" userId="5444515566c7376a" providerId="LiveId" clId="{FDDA43C8-544C-43C8-B7EC-BDEEF2A8748B}" dt="2024-02-11T11:40:58.281" v="44" actId="478"/>
          <ac:spMkLst>
            <pc:docMk/>
            <pc:sldMk cId="2734610136" sldId="519"/>
            <ac:spMk id="15" creationId="{CA3D6582-995D-815D-B110-12D555E7BAA5}"/>
          </ac:spMkLst>
        </pc:spChg>
        <pc:spChg chg="del">
          <ac:chgData name="zur bonsen georg" userId="5444515566c7376a" providerId="LiveId" clId="{FDDA43C8-544C-43C8-B7EC-BDEEF2A8748B}" dt="2024-02-11T11:40:58.281" v="44" actId="478"/>
          <ac:spMkLst>
            <pc:docMk/>
            <pc:sldMk cId="2734610136" sldId="519"/>
            <ac:spMk id="16" creationId="{4F8AB306-F378-9352-107D-42695159548F}"/>
          </ac:spMkLst>
        </pc:spChg>
        <pc:spChg chg="del">
          <ac:chgData name="zur bonsen georg" userId="5444515566c7376a" providerId="LiveId" clId="{FDDA43C8-544C-43C8-B7EC-BDEEF2A8748B}" dt="2024-02-11T11:40:58.281" v="44" actId="478"/>
          <ac:spMkLst>
            <pc:docMk/>
            <pc:sldMk cId="2734610136" sldId="519"/>
            <ac:spMk id="17" creationId="{C2E8C24B-B66E-5D83-1A03-2DD821356FC5}"/>
          </ac:spMkLst>
        </pc:spChg>
        <pc:spChg chg="del">
          <ac:chgData name="zur bonsen georg" userId="5444515566c7376a" providerId="LiveId" clId="{FDDA43C8-544C-43C8-B7EC-BDEEF2A8748B}" dt="2024-02-11T11:40:58.281" v="44" actId="478"/>
          <ac:spMkLst>
            <pc:docMk/>
            <pc:sldMk cId="2734610136" sldId="519"/>
            <ac:spMk id="19" creationId="{83DBBA3A-FCDA-6BE3-E413-D566809BE86D}"/>
          </ac:spMkLst>
        </pc:spChg>
        <pc:spChg chg="del">
          <ac:chgData name="zur bonsen georg" userId="5444515566c7376a" providerId="LiveId" clId="{FDDA43C8-544C-43C8-B7EC-BDEEF2A8748B}" dt="2024-02-11T11:40:58.281" v="44" actId="478"/>
          <ac:spMkLst>
            <pc:docMk/>
            <pc:sldMk cId="2734610136" sldId="519"/>
            <ac:spMk id="20" creationId="{2842908B-A81A-331C-2318-BBE273B41396}"/>
          </ac:spMkLst>
        </pc:spChg>
        <pc:spChg chg="del">
          <ac:chgData name="zur bonsen georg" userId="5444515566c7376a" providerId="LiveId" clId="{FDDA43C8-544C-43C8-B7EC-BDEEF2A8748B}" dt="2024-02-11T11:40:58.281" v="44" actId="478"/>
          <ac:spMkLst>
            <pc:docMk/>
            <pc:sldMk cId="2734610136" sldId="519"/>
            <ac:spMk id="21" creationId="{5E9F3B11-B350-874F-8BEA-5A2C0CE56E2A}"/>
          </ac:spMkLst>
        </pc:spChg>
        <pc:spChg chg="del">
          <ac:chgData name="zur bonsen georg" userId="5444515566c7376a" providerId="LiveId" clId="{FDDA43C8-544C-43C8-B7EC-BDEEF2A8748B}" dt="2024-02-11T11:40:58.281" v="44" actId="478"/>
          <ac:spMkLst>
            <pc:docMk/>
            <pc:sldMk cId="2734610136" sldId="519"/>
            <ac:spMk id="22" creationId="{A02231E3-86B5-138D-9D67-EB5125885D4E}"/>
          </ac:spMkLst>
        </pc:spChg>
        <pc:spChg chg="del">
          <ac:chgData name="zur bonsen georg" userId="5444515566c7376a" providerId="LiveId" clId="{FDDA43C8-544C-43C8-B7EC-BDEEF2A8748B}" dt="2024-02-11T11:40:58.281" v="44" actId="478"/>
          <ac:spMkLst>
            <pc:docMk/>
            <pc:sldMk cId="2734610136" sldId="519"/>
            <ac:spMk id="23" creationId="{BE1AD768-144E-0B3C-215A-151F723620D6}"/>
          </ac:spMkLst>
        </pc:spChg>
        <pc:spChg chg="del">
          <ac:chgData name="zur bonsen georg" userId="5444515566c7376a" providerId="LiveId" clId="{FDDA43C8-544C-43C8-B7EC-BDEEF2A8748B}" dt="2024-02-11T11:40:58.281" v="44" actId="478"/>
          <ac:spMkLst>
            <pc:docMk/>
            <pc:sldMk cId="2734610136" sldId="519"/>
            <ac:spMk id="24" creationId="{FC79059A-2989-E1B6-8616-5186071457BC}"/>
          </ac:spMkLst>
        </pc:spChg>
        <pc:spChg chg="del">
          <ac:chgData name="zur bonsen georg" userId="5444515566c7376a" providerId="LiveId" clId="{FDDA43C8-544C-43C8-B7EC-BDEEF2A8748B}" dt="2024-02-11T11:40:58.281" v="44" actId="478"/>
          <ac:spMkLst>
            <pc:docMk/>
            <pc:sldMk cId="2734610136" sldId="519"/>
            <ac:spMk id="25" creationId="{71DACA3B-58CC-0915-B666-48BEA515D3CF}"/>
          </ac:spMkLst>
        </pc:spChg>
        <pc:spChg chg="del">
          <ac:chgData name="zur bonsen georg" userId="5444515566c7376a" providerId="LiveId" clId="{FDDA43C8-544C-43C8-B7EC-BDEEF2A8748B}" dt="2024-02-11T11:40:58.281" v="44" actId="478"/>
          <ac:spMkLst>
            <pc:docMk/>
            <pc:sldMk cId="2734610136" sldId="519"/>
            <ac:spMk id="26" creationId="{117CA020-8A91-E7C7-BF2D-93C0BF90BBBB}"/>
          </ac:spMkLst>
        </pc:spChg>
        <pc:spChg chg="del">
          <ac:chgData name="zur bonsen georg" userId="5444515566c7376a" providerId="LiveId" clId="{FDDA43C8-544C-43C8-B7EC-BDEEF2A8748B}" dt="2024-02-11T11:40:58.281" v="44" actId="478"/>
          <ac:spMkLst>
            <pc:docMk/>
            <pc:sldMk cId="2734610136" sldId="519"/>
            <ac:spMk id="27" creationId="{8997B311-C5C6-D770-91C9-AABE3E454AC9}"/>
          </ac:spMkLst>
        </pc:spChg>
        <pc:spChg chg="del">
          <ac:chgData name="zur bonsen georg" userId="5444515566c7376a" providerId="LiveId" clId="{FDDA43C8-544C-43C8-B7EC-BDEEF2A8748B}" dt="2024-02-11T11:40:58.281" v="44" actId="478"/>
          <ac:spMkLst>
            <pc:docMk/>
            <pc:sldMk cId="2734610136" sldId="519"/>
            <ac:spMk id="28" creationId="{5D54C90C-A2F3-8240-B03C-8FE068844D10}"/>
          </ac:spMkLst>
        </pc:spChg>
        <pc:spChg chg="del">
          <ac:chgData name="zur bonsen georg" userId="5444515566c7376a" providerId="LiveId" clId="{FDDA43C8-544C-43C8-B7EC-BDEEF2A8748B}" dt="2024-02-11T11:40:58.281" v="44" actId="478"/>
          <ac:spMkLst>
            <pc:docMk/>
            <pc:sldMk cId="2734610136" sldId="519"/>
            <ac:spMk id="29" creationId="{52EF28F3-E23F-B9E9-D231-CB469BC255E6}"/>
          </ac:spMkLst>
        </pc:spChg>
        <pc:spChg chg="del">
          <ac:chgData name="zur bonsen georg" userId="5444515566c7376a" providerId="LiveId" clId="{FDDA43C8-544C-43C8-B7EC-BDEEF2A8748B}" dt="2024-02-11T11:40:58.281" v="44" actId="478"/>
          <ac:spMkLst>
            <pc:docMk/>
            <pc:sldMk cId="2734610136" sldId="519"/>
            <ac:spMk id="30" creationId="{555097E0-19B3-4EF5-B78F-2D43D4F78E3A}"/>
          </ac:spMkLst>
        </pc:spChg>
        <pc:spChg chg="del">
          <ac:chgData name="zur bonsen georg" userId="5444515566c7376a" providerId="LiveId" clId="{FDDA43C8-544C-43C8-B7EC-BDEEF2A8748B}" dt="2024-02-11T11:40:58.281" v="44" actId="478"/>
          <ac:spMkLst>
            <pc:docMk/>
            <pc:sldMk cId="2734610136" sldId="519"/>
            <ac:spMk id="31" creationId="{27A39035-06A9-F3A8-326C-EEAB62FA01A3}"/>
          </ac:spMkLst>
        </pc:spChg>
        <pc:spChg chg="add del mod">
          <ac:chgData name="zur bonsen georg" userId="5444515566c7376a" providerId="LiveId" clId="{FDDA43C8-544C-43C8-B7EC-BDEEF2A8748B}" dt="2024-02-11T11:50:38.422" v="74" actId="478"/>
          <ac:spMkLst>
            <pc:docMk/>
            <pc:sldMk cId="2734610136" sldId="519"/>
            <ac:spMk id="32" creationId="{3622C609-DFB4-AA27-C6D9-FF87D37E6FD5}"/>
          </ac:spMkLst>
        </pc:spChg>
        <pc:spChg chg="del">
          <ac:chgData name="zur bonsen georg" userId="5444515566c7376a" providerId="LiveId" clId="{FDDA43C8-544C-43C8-B7EC-BDEEF2A8748B}" dt="2024-02-11T11:40:58.281" v="44" actId="478"/>
          <ac:spMkLst>
            <pc:docMk/>
            <pc:sldMk cId="2734610136" sldId="519"/>
            <ac:spMk id="36" creationId="{76C973C4-BF72-5740-F958-772F2D365399}"/>
          </ac:spMkLst>
        </pc:spChg>
        <pc:spChg chg="del">
          <ac:chgData name="zur bonsen georg" userId="5444515566c7376a" providerId="LiveId" clId="{FDDA43C8-544C-43C8-B7EC-BDEEF2A8748B}" dt="2024-02-11T11:40:58.281" v="44" actId="478"/>
          <ac:spMkLst>
            <pc:docMk/>
            <pc:sldMk cId="2734610136" sldId="519"/>
            <ac:spMk id="37" creationId="{070B6BDF-BB77-3ECC-CBE7-34C46C6A35AB}"/>
          </ac:spMkLst>
        </pc:spChg>
        <pc:spChg chg="del">
          <ac:chgData name="zur bonsen georg" userId="5444515566c7376a" providerId="LiveId" clId="{FDDA43C8-544C-43C8-B7EC-BDEEF2A8748B}" dt="2024-02-11T11:40:58.281" v="44" actId="478"/>
          <ac:spMkLst>
            <pc:docMk/>
            <pc:sldMk cId="2734610136" sldId="519"/>
            <ac:spMk id="38" creationId="{E53C44F4-5854-9F13-E84F-D380B0A58B31}"/>
          </ac:spMkLst>
        </pc:spChg>
        <pc:spChg chg="del">
          <ac:chgData name="zur bonsen georg" userId="5444515566c7376a" providerId="LiveId" clId="{FDDA43C8-544C-43C8-B7EC-BDEEF2A8748B}" dt="2024-02-11T11:40:58.281" v="44" actId="478"/>
          <ac:spMkLst>
            <pc:docMk/>
            <pc:sldMk cId="2734610136" sldId="519"/>
            <ac:spMk id="39" creationId="{AF6279F4-1968-CDF5-0962-8FAAA30F2FF5}"/>
          </ac:spMkLst>
        </pc:spChg>
        <pc:spChg chg="del">
          <ac:chgData name="zur bonsen georg" userId="5444515566c7376a" providerId="LiveId" clId="{FDDA43C8-544C-43C8-B7EC-BDEEF2A8748B}" dt="2024-02-11T11:40:58.281" v="44" actId="478"/>
          <ac:spMkLst>
            <pc:docMk/>
            <pc:sldMk cId="2734610136" sldId="519"/>
            <ac:spMk id="41" creationId="{C74A9975-093F-97E3-7176-0D9376F88042}"/>
          </ac:spMkLst>
        </pc:spChg>
        <pc:spChg chg="add del mod">
          <ac:chgData name="zur bonsen georg" userId="5444515566c7376a" providerId="LiveId" clId="{FDDA43C8-544C-43C8-B7EC-BDEEF2A8748B}" dt="2024-02-11T11:41:14.514" v="49" actId="478"/>
          <ac:spMkLst>
            <pc:docMk/>
            <pc:sldMk cId="2734610136" sldId="519"/>
            <ac:spMk id="42" creationId="{AD99360E-2BA5-4C88-2F7A-96F69A8940E3}"/>
          </ac:spMkLst>
        </pc:spChg>
        <pc:spChg chg="del">
          <ac:chgData name="zur bonsen georg" userId="5444515566c7376a" providerId="LiveId" clId="{FDDA43C8-544C-43C8-B7EC-BDEEF2A8748B}" dt="2024-02-11T11:40:58.281" v="44" actId="478"/>
          <ac:spMkLst>
            <pc:docMk/>
            <pc:sldMk cId="2734610136" sldId="519"/>
            <ac:spMk id="43" creationId="{E31BFC0E-D482-41BA-DA08-F382D80D781C}"/>
          </ac:spMkLst>
        </pc:spChg>
        <pc:spChg chg="del">
          <ac:chgData name="zur bonsen georg" userId="5444515566c7376a" providerId="LiveId" clId="{FDDA43C8-544C-43C8-B7EC-BDEEF2A8748B}" dt="2024-02-11T11:40:58.281" v="44" actId="478"/>
          <ac:spMkLst>
            <pc:docMk/>
            <pc:sldMk cId="2734610136" sldId="519"/>
            <ac:spMk id="44" creationId="{0F4985E5-9FBC-41F3-8F91-8421048CB004}"/>
          </ac:spMkLst>
        </pc:spChg>
        <pc:spChg chg="del">
          <ac:chgData name="zur bonsen georg" userId="5444515566c7376a" providerId="LiveId" clId="{FDDA43C8-544C-43C8-B7EC-BDEEF2A8748B}" dt="2024-02-11T11:40:58.281" v="44" actId="478"/>
          <ac:spMkLst>
            <pc:docMk/>
            <pc:sldMk cId="2734610136" sldId="519"/>
            <ac:spMk id="45" creationId="{BE9F31DF-E644-8852-F641-27F994CBE845}"/>
          </ac:spMkLst>
        </pc:spChg>
        <pc:spChg chg="add mod">
          <ac:chgData name="zur bonsen georg" userId="5444515566c7376a" providerId="LiveId" clId="{FDDA43C8-544C-43C8-B7EC-BDEEF2A8748B}" dt="2024-02-11T12:23:46.455" v="407" actId="207"/>
          <ac:spMkLst>
            <pc:docMk/>
            <pc:sldMk cId="2734610136" sldId="519"/>
            <ac:spMk id="46" creationId="{B0D31A81-F769-A561-01B8-6DDA6313541A}"/>
          </ac:spMkLst>
        </pc:spChg>
        <pc:spChg chg="add del mod">
          <ac:chgData name="zur bonsen georg" userId="5444515566c7376a" providerId="LiveId" clId="{FDDA43C8-544C-43C8-B7EC-BDEEF2A8748B}" dt="2024-02-11T11:57:56.229" v="121" actId="478"/>
          <ac:spMkLst>
            <pc:docMk/>
            <pc:sldMk cId="2734610136" sldId="519"/>
            <ac:spMk id="47" creationId="{DAB57399-3835-EEC5-8655-48546637236C}"/>
          </ac:spMkLst>
        </pc:spChg>
        <pc:spChg chg="add del mod">
          <ac:chgData name="zur bonsen georg" userId="5444515566c7376a" providerId="LiveId" clId="{FDDA43C8-544C-43C8-B7EC-BDEEF2A8748B}" dt="2024-02-11T11:57:56.229" v="121" actId="478"/>
          <ac:spMkLst>
            <pc:docMk/>
            <pc:sldMk cId="2734610136" sldId="519"/>
            <ac:spMk id="48" creationId="{B0DB8DF2-9A77-65D2-F6AC-5854E14835F9}"/>
          </ac:spMkLst>
        </pc:spChg>
        <pc:spChg chg="add mod">
          <ac:chgData name="zur bonsen georg" userId="5444515566c7376a" providerId="LiveId" clId="{FDDA43C8-544C-43C8-B7EC-BDEEF2A8748B}" dt="2024-02-11T12:19:02.353" v="273" actId="14100"/>
          <ac:spMkLst>
            <pc:docMk/>
            <pc:sldMk cId="2734610136" sldId="519"/>
            <ac:spMk id="50" creationId="{6719B432-3D49-DC61-DB10-C0ED04439BB4}"/>
          </ac:spMkLst>
        </pc:spChg>
        <pc:spChg chg="add del mod">
          <ac:chgData name="zur bonsen georg" userId="5444515566c7376a" providerId="LiveId" clId="{FDDA43C8-544C-43C8-B7EC-BDEEF2A8748B}" dt="2024-02-11T12:08:49.200" v="192" actId="478"/>
          <ac:spMkLst>
            <pc:docMk/>
            <pc:sldMk cId="2734610136" sldId="519"/>
            <ac:spMk id="51" creationId="{D048ADB9-986D-92D4-086C-2DBDC51472A4}"/>
          </ac:spMkLst>
        </pc:spChg>
        <pc:grpChg chg="del">
          <ac:chgData name="zur bonsen georg" userId="5444515566c7376a" providerId="LiveId" clId="{FDDA43C8-544C-43C8-B7EC-BDEEF2A8748B}" dt="2024-02-11T11:40:58.281" v="44" actId="478"/>
          <ac:grpSpMkLst>
            <pc:docMk/>
            <pc:sldMk cId="2734610136" sldId="519"/>
            <ac:grpSpMk id="33" creationId="{BDC81A41-B156-4F4C-AFAD-EB351B29BBAA}"/>
          </ac:grpSpMkLst>
        </pc:grpChg>
        <pc:picChg chg="add del mod">
          <ac:chgData name="zur bonsen georg" userId="5444515566c7376a" providerId="LiveId" clId="{FDDA43C8-544C-43C8-B7EC-BDEEF2A8748B}" dt="2024-02-11T11:50:38.422" v="74" actId="478"/>
          <ac:picMkLst>
            <pc:docMk/>
            <pc:sldMk cId="2734610136" sldId="519"/>
            <ac:picMk id="12" creationId="{B8EE830E-C343-BB36-5D3D-8F591AE10CAB}"/>
          </ac:picMkLst>
        </pc:picChg>
        <pc:picChg chg="add del mod">
          <ac:chgData name="zur bonsen georg" userId="5444515566c7376a" providerId="LiveId" clId="{FDDA43C8-544C-43C8-B7EC-BDEEF2A8748B}" dt="2024-02-11T11:50:38.422" v="74" actId="478"/>
          <ac:picMkLst>
            <pc:docMk/>
            <pc:sldMk cId="2734610136" sldId="519"/>
            <ac:picMk id="18" creationId="{A9FBC14E-EF11-711B-6032-F7B84866715C}"/>
          </ac:picMkLst>
        </pc:picChg>
        <pc:picChg chg="add del mod">
          <ac:chgData name="zur bonsen georg" userId="5444515566c7376a" providerId="LiveId" clId="{FDDA43C8-544C-43C8-B7EC-BDEEF2A8748B}" dt="2024-02-11T11:50:38.422" v="74" actId="478"/>
          <ac:picMkLst>
            <pc:docMk/>
            <pc:sldMk cId="2734610136" sldId="519"/>
            <ac:picMk id="40" creationId="{C81497C2-1FA2-44D7-9F7B-03B06518C630}"/>
          </ac:picMkLst>
        </pc:picChg>
        <pc:cxnChg chg="del">
          <ac:chgData name="zur bonsen georg" userId="5444515566c7376a" providerId="LiveId" clId="{FDDA43C8-544C-43C8-B7EC-BDEEF2A8748B}" dt="2024-02-11T11:40:58.281" v="44" actId="478"/>
          <ac:cxnSpMkLst>
            <pc:docMk/>
            <pc:sldMk cId="2734610136" sldId="519"/>
            <ac:cxnSpMk id="13" creationId="{C125848F-821F-7D85-8EC5-2D1519B3481E}"/>
          </ac:cxnSpMkLst>
        </pc:cxnChg>
      </pc:sldChg>
      <pc:sldChg chg="modSp add mod">
        <pc:chgData name="zur bonsen georg" userId="5444515566c7376a" providerId="LiveId" clId="{FDDA43C8-544C-43C8-B7EC-BDEEF2A8748B}" dt="2024-02-11T12:24:06.235" v="410" actId="207"/>
        <pc:sldMkLst>
          <pc:docMk/>
          <pc:sldMk cId="1350568882" sldId="520"/>
        </pc:sldMkLst>
        <pc:spChg chg="mod">
          <ac:chgData name="zur bonsen georg" userId="5444515566c7376a" providerId="LiveId" clId="{FDDA43C8-544C-43C8-B7EC-BDEEF2A8748B}" dt="2024-02-11T12:24:06.235" v="410" actId="207"/>
          <ac:spMkLst>
            <pc:docMk/>
            <pc:sldMk cId="1350568882" sldId="520"/>
            <ac:spMk id="5" creationId="{00D51134-FDE6-F486-446B-B9AF3DDBCF5E}"/>
          </ac:spMkLst>
        </pc:spChg>
        <pc:spChg chg="mod">
          <ac:chgData name="zur bonsen georg" userId="5444515566c7376a" providerId="LiveId" clId="{FDDA43C8-544C-43C8-B7EC-BDEEF2A8748B}" dt="2024-02-11T12:24:06.235" v="410" actId="207"/>
          <ac:spMkLst>
            <pc:docMk/>
            <pc:sldMk cId="1350568882" sldId="520"/>
            <ac:spMk id="14" creationId="{DB95BE20-6B9C-3A46-4380-1B39B760D73B}"/>
          </ac:spMkLst>
        </pc:spChg>
        <pc:spChg chg="mod">
          <ac:chgData name="zur bonsen georg" userId="5444515566c7376a" providerId="LiveId" clId="{FDDA43C8-544C-43C8-B7EC-BDEEF2A8748B}" dt="2024-02-11T12:24:06.235" v="410" actId="207"/>
          <ac:spMkLst>
            <pc:docMk/>
            <pc:sldMk cId="1350568882" sldId="520"/>
            <ac:spMk id="32" creationId="{7E5CF891-4033-F6AA-3038-7E9DF9F70719}"/>
          </ac:spMkLst>
        </pc:spChg>
        <pc:picChg chg="mod">
          <ac:chgData name="zur bonsen georg" userId="5444515566c7376a" providerId="LiveId" clId="{FDDA43C8-544C-43C8-B7EC-BDEEF2A8748B}" dt="2024-02-11T12:24:06.235" v="410" actId="207"/>
          <ac:picMkLst>
            <pc:docMk/>
            <pc:sldMk cId="1350568882" sldId="520"/>
            <ac:picMk id="12" creationId="{41CC49A5-9AF0-8C93-F33F-EFD27E58D0DF}"/>
          </ac:picMkLst>
        </pc:picChg>
        <pc:picChg chg="mod modCrop">
          <ac:chgData name="zur bonsen georg" userId="5444515566c7376a" providerId="LiveId" clId="{FDDA43C8-544C-43C8-B7EC-BDEEF2A8748B}" dt="2024-02-11T12:24:06.235" v="410" actId="207"/>
          <ac:picMkLst>
            <pc:docMk/>
            <pc:sldMk cId="1350568882" sldId="520"/>
            <ac:picMk id="18" creationId="{078772AB-2BEF-9ECE-7257-2B4BEDEE2DEB}"/>
          </ac:picMkLst>
        </pc:picChg>
        <pc:picChg chg="mod">
          <ac:chgData name="zur bonsen georg" userId="5444515566c7376a" providerId="LiveId" clId="{FDDA43C8-544C-43C8-B7EC-BDEEF2A8748B}" dt="2024-02-11T12:24:06.235" v="410" actId="207"/>
          <ac:picMkLst>
            <pc:docMk/>
            <pc:sldMk cId="1350568882" sldId="520"/>
            <ac:picMk id="40" creationId="{2D57B087-CB81-5903-7690-9B1A5FFD74A8}"/>
          </ac:picMkLst>
        </pc:picChg>
      </pc:sldChg>
      <pc:sldChg chg="addSp delSp modSp add mod">
        <pc:chgData name="zur bonsen georg" userId="5444515566c7376a" providerId="LiveId" clId="{FDDA43C8-544C-43C8-B7EC-BDEEF2A8748B}" dt="2024-02-11T12:26:27.475" v="412" actId="2711"/>
        <pc:sldMkLst>
          <pc:docMk/>
          <pc:sldMk cId="1583574806" sldId="521"/>
        </pc:sldMkLst>
        <pc:spChg chg="mod">
          <ac:chgData name="zur bonsen georg" userId="5444515566c7376a" providerId="LiveId" clId="{FDDA43C8-544C-43C8-B7EC-BDEEF2A8748B}" dt="2024-02-11T12:20:56.275" v="324" actId="207"/>
          <ac:spMkLst>
            <pc:docMk/>
            <pc:sldMk cId="1583574806" sldId="521"/>
            <ac:spMk id="2" creationId="{F9E67945-BEED-5098-1877-2F7D45E498D1}"/>
          </ac:spMkLst>
        </pc:spChg>
        <pc:spChg chg="del">
          <ac:chgData name="zur bonsen georg" userId="5444515566c7376a" providerId="LiveId" clId="{FDDA43C8-544C-43C8-B7EC-BDEEF2A8748B}" dt="2024-02-11T12:14:50.043" v="202" actId="478"/>
          <ac:spMkLst>
            <pc:docMk/>
            <pc:sldMk cId="1583574806" sldId="521"/>
            <ac:spMk id="3" creationId="{288896D0-B92D-4CF7-E463-85DB643709C2}"/>
          </ac:spMkLst>
        </pc:spChg>
        <pc:spChg chg="del">
          <ac:chgData name="zur bonsen georg" userId="5444515566c7376a" providerId="LiveId" clId="{FDDA43C8-544C-43C8-B7EC-BDEEF2A8748B}" dt="2024-02-11T12:14:50.043" v="202" actId="478"/>
          <ac:spMkLst>
            <pc:docMk/>
            <pc:sldMk cId="1583574806" sldId="521"/>
            <ac:spMk id="4" creationId="{B9F2F7C5-FD10-8913-47A8-A76521198145}"/>
          </ac:spMkLst>
        </pc:spChg>
        <pc:spChg chg="add mod">
          <ac:chgData name="zur bonsen georg" userId="5444515566c7376a" providerId="LiveId" clId="{FDDA43C8-544C-43C8-B7EC-BDEEF2A8748B}" dt="2024-02-11T12:26:27.475" v="412" actId="2711"/>
          <ac:spMkLst>
            <pc:docMk/>
            <pc:sldMk cId="1583574806" sldId="521"/>
            <ac:spMk id="5" creationId="{6D894AE8-D892-8C79-8AE8-48A971A3B40B}"/>
          </ac:spMkLst>
        </pc:spChg>
        <pc:spChg chg="del">
          <ac:chgData name="zur bonsen georg" userId="5444515566c7376a" providerId="LiveId" clId="{FDDA43C8-544C-43C8-B7EC-BDEEF2A8748B}" dt="2024-02-11T12:14:50.043" v="202" actId="478"/>
          <ac:spMkLst>
            <pc:docMk/>
            <pc:sldMk cId="1583574806" sldId="521"/>
            <ac:spMk id="6" creationId="{A04FE90B-65AB-DB02-1654-841A8F944957}"/>
          </ac:spMkLst>
        </pc:spChg>
        <pc:spChg chg="del">
          <ac:chgData name="zur bonsen georg" userId="5444515566c7376a" providerId="LiveId" clId="{FDDA43C8-544C-43C8-B7EC-BDEEF2A8748B}" dt="2024-02-11T12:14:50.043" v="202" actId="478"/>
          <ac:spMkLst>
            <pc:docMk/>
            <pc:sldMk cId="1583574806" sldId="521"/>
            <ac:spMk id="7" creationId="{5408B134-3888-D80F-1AF3-79E7A2615E7B}"/>
          </ac:spMkLst>
        </pc:spChg>
        <pc:spChg chg="del">
          <ac:chgData name="zur bonsen georg" userId="5444515566c7376a" providerId="LiveId" clId="{FDDA43C8-544C-43C8-B7EC-BDEEF2A8748B}" dt="2024-02-11T12:14:50.043" v="202" actId="478"/>
          <ac:spMkLst>
            <pc:docMk/>
            <pc:sldMk cId="1583574806" sldId="521"/>
            <ac:spMk id="8" creationId="{BFD3AEAC-5231-A2C4-6C1F-991D0AFD35E6}"/>
          </ac:spMkLst>
        </pc:spChg>
        <pc:spChg chg="del">
          <ac:chgData name="zur bonsen georg" userId="5444515566c7376a" providerId="LiveId" clId="{FDDA43C8-544C-43C8-B7EC-BDEEF2A8748B}" dt="2024-02-11T12:14:50.043" v="202" actId="478"/>
          <ac:spMkLst>
            <pc:docMk/>
            <pc:sldMk cId="1583574806" sldId="521"/>
            <ac:spMk id="9" creationId="{64693254-D5F2-8897-4472-0F62ECD42CDE}"/>
          </ac:spMkLst>
        </pc:spChg>
        <pc:spChg chg="del">
          <ac:chgData name="zur bonsen georg" userId="5444515566c7376a" providerId="LiveId" clId="{FDDA43C8-544C-43C8-B7EC-BDEEF2A8748B}" dt="2024-02-11T12:14:50.043" v="202" actId="478"/>
          <ac:spMkLst>
            <pc:docMk/>
            <pc:sldMk cId="1583574806" sldId="521"/>
            <ac:spMk id="10" creationId="{4A5FBB33-42C1-AFB5-74DC-9C6C214412D8}"/>
          </ac:spMkLst>
        </pc:spChg>
        <pc:spChg chg="del">
          <ac:chgData name="zur bonsen georg" userId="5444515566c7376a" providerId="LiveId" clId="{FDDA43C8-544C-43C8-B7EC-BDEEF2A8748B}" dt="2024-02-11T12:14:50.043" v="202" actId="478"/>
          <ac:spMkLst>
            <pc:docMk/>
            <pc:sldMk cId="1583574806" sldId="521"/>
            <ac:spMk id="11" creationId="{61CAE1D4-89A0-6851-3E72-287AB89F6A96}"/>
          </ac:spMkLst>
        </pc:spChg>
        <pc:spChg chg="add mod">
          <ac:chgData name="zur bonsen georg" userId="5444515566c7376a" providerId="LiveId" clId="{FDDA43C8-544C-43C8-B7EC-BDEEF2A8748B}" dt="2024-02-11T12:26:27.475" v="412" actId="2711"/>
          <ac:spMkLst>
            <pc:docMk/>
            <pc:sldMk cId="1583574806" sldId="521"/>
            <ac:spMk id="12" creationId="{BBC6591B-E25D-89AE-1F2F-DE713858A173}"/>
          </ac:spMkLst>
        </pc:spChg>
        <pc:spChg chg="add mod">
          <ac:chgData name="zur bonsen georg" userId="5444515566c7376a" providerId="LiveId" clId="{FDDA43C8-544C-43C8-B7EC-BDEEF2A8748B}" dt="2024-02-11T12:26:27.475" v="412" actId="2711"/>
          <ac:spMkLst>
            <pc:docMk/>
            <pc:sldMk cId="1583574806" sldId="521"/>
            <ac:spMk id="14" creationId="{00FA806E-056E-9A47-50BE-3DC25C2A0FFA}"/>
          </ac:spMkLst>
        </pc:spChg>
        <pc:spChg chg="del">
          <ac:chgData name="zur bonsen georg" userId="5444515566c7376a" providerId="LiveId" clId="{FDDA43C8-544C-43C8-B7EC-BDEEF2A8748B}" dt="2024-02-11T12:14:50.043" v="202" actId="478"/>
          <ac:spMkLst>
            <pc:docMk/>
            <pc:sldMk cId="1583574806" sldId="521"/>
            <ac:spMk id="15" creationId="{D0EC95E8-90C7-6C5A-4196-82C9E2457752}"/>
          </ac:spMkLst>
        </pc:spChg>
        <pc:spChg chg="del">
          <ac:chgData name="zur bonsen georg" userId="5444515566c7376a" providerId="LiveId" clId="{FDDA43C8-544C-43C8-B7EC-BDEEF2A8748B}" dt="2024-02-11T12:14:50.043" v="202" actId="478"/>
          <ac:spMkLst>
            <pc:docMk/>
            <pc:sldMk cId="1583574806" sldId="521"/>
            <ac:spMk id="16" creationId="{6AD7DE6F-A360-C309-0D83-808F12478C51}"/>
          </ac:spMkLst>
        </pc:spChg>
        <pc:spChg chg="del">
          <ac:chgData name="zur bonsen georg" userId="5444515566c7376a" providerId="LiveId" clId="{FDDA43C8-544C-43C8-B7EC-BDEEF2A8748B}" dt="2024-02-11T12:14:50.043" v="202" actId="478"/>
          <ac:spMkLst>
            <pc:docMk/>
            <pc:sldMk cId="1583574806" sldId="521"/>
            <ac:spMk id="17" creationId="{70009C29-85B2-42BA-E969-9163B6E319A5}"/>
          </ac:spMkLst>
        </pc:spChg>
        <pc:spChg chg="add mod">
          <ac:chgData name="zur bonsen georg" userId="5444515566c7376a" providerId="LiveId" clId="{FDDA43C8-544C-43C8-B7EC-BDEEF2A8748B}" dt="2024-02-11T12:26:27.475" v="412" actId="2711"/>
          <ac:spMkLst>
            <pc:docMk/>
            <pc:sldMk cId="1583574806" sldId="521"/>
            <ac:spMk id="18" creationId="{EA32C841-3F8E-F12B-6316-2B3FBDA19BD4}"/>
          </ac:spMkLst>
        </pc:spChg>
        <pc:spChg chg="del">
          <ac:chgData name="zur bonsen georg" userId="5444515566c7376a" providerId="LiveId" clId="{FDDA43C8-544C-43C8-B7EC-BDEEF2A8748B}" dt="2024-02-11T12:14:50.043" v="202" actId="478"/>
          <ac:spMkLst>
            <pc:docMk/>
            <pc:sldMk cId="1583574806" sldId="521"/>
            <ac:spMk id="19" creationId="{6DD3C336-CEB3-2906-EC86-03530939FCFB}"/>
          </ac:spMkLst>
        </pc:spChg>
        <pc:spChg chg="del">
          <ac:chgData name="zur bonsen georg" userId="5444515566c7376a" providerId="LiveId" clId="{FDDA43C8-544C-43C8-B7EC-BDEEF2A8748B}" dt="2024-02-11T12:14:50.043" v="202" actId="478"/>
          <ac:spMkLst>
            <pc:docMk/>
            <pc:sldMk cId="1583574806" sldId="521"/>
            <ac:spMk id="20" creationId="{F586DD2D-EF50-872E-F91C-F70BAC41A606}"/>
          </ac:spMkLst>
        </pc:spChg>
        <pc:spChg chg="del">
          <ac:chgData name="zur bonsen georg" userId="5444515566c7376a" providerId="LiveId" clId="{FDDA43C8-544C-43C8-B7EC-BDEEF2A8748B}" dt="2024-02-11T12:14:50.043" v="202" actId="478"/>
          <ac:spMkLst>
            <pc:docMk/>
            <pc:sldMk cId="1583574806" sldId="521"/>
            <ac:spMk id="21" creationId="{D2FD404B-8503-F36A-60B0-D4B8106CC409}"/>
          </ac:spMkLst>
        </pc:spChg>
        <pc:spChg chg="del">
          <ac:chgData name="zur bonsen georg" userId="5444515566c7376a" providerId="LiveId" clId="{FDDA43C8-544C-43C8-B7EC-BDEEF2A8748B}" dt="2024-02-11T12:14:50.043" v="202" actId="478"/>
          <ac:spMkLst>
            <pc:docMk/>
            <pc:sldMk cId="1583574806" sldId="521"/>
            <ac:spMk id="22" creationId="{8DFD0451-5B47-5764-ECA7-80D004A48B8B}"/>
          </ac:spMkLst>
        </pc:spChg>
        <pc:spChg chg="del">
          <ac:chgData name="zur bonsen georg" userId="5444515566c7376a" providerId="LiveId" clId="{FDDA43C8-544C-43C8-B7EC-BDEEF2A8748B}" dt="2024-02-11T12:14:50.043" v="202" actId="478"/>
          <ac:spMkLst>
            <pc:docMk/>
            <pc:sldMk cId="1583574806" sldId="521"/>
            <ac:spMk id="23" creationId="{40998842-F6D5-71FE-6209-C016E1FA8218}"/>
          </ac:spMkLst>
        </pc:spChg>
        <pc:spChg chg="del">
          <ac:chgData name="zur bonsen georg" userId="5444515566c7376a" providerId="LiveId" clId="{FDDA43C8-544C-43C8-B7EC-BDEEF2A8748B}" dt="2024-02-11T12:14:50.043" v="202" actId="478"/>
          <ac:spMkLst>
            <pc:docMk/>
            <pc:sldMk cId="1583574806" sldId="521"/>
            <ac:spMk id="24" creationId="{2B171440-F5C1-607B-9C0D-4EF077935568}"/>
          </ac:spMkLst>
        </pc:spChg>
        <pc:spChg chg="del">
          <ac:chgData name="zur bonsen georg" userId="5444515566c7376a" providerId="LiveId" clId="{FDDA43C8-544C-43C8-B7EC-BDEEF2A8748B}" dt="2024-02-11T12:14:50.043" v="202" actId="478"/>
          <ac:spMkLst>
            <pc:docMk/>
            <pc:sldMk cId="1583574806" sldId="521"/>
            <ac:spMk id="25" creationId="{EF9BE0CA-E5DA-39D1-C797-9FD07E0B26E1}"/>
          </ac:spMkLst>
        </pc:spChg>
        <pc:spChg chg="del">
          <ac:chgData name="zur bonsen georg" userId="5444515566c7376a" providerId="LiveId" clId="{FDDA43C8-544C-43C8-B7EC-BDEEF2A8748B}" dt="2024-02-11T12:14:50.043" v="202" actId="478"/>
          <ac:spMkLst>
            <pc:docMk/>
            <pc:sldMk cId="1583574806" sldId="521"/>
            <ac:spMk id="26" creationId="{5268E766-DC16-A3A5-0DDA-203F22C93D46}"/>
          </ac:spMkLst>
        </pc:spChg>
        <pc:spChg chg="del">
          <ac:chgData name="zur bonsen georg" userId="5444515566c7376a" providerId="LiveId" clId="{FDDA43C8-544C-43C8-B7EC-BDEEF2A8748B}" dt="2024-02-11T12:14:50.043" v="202" actId="478"/>
          <ac:spMkLst>
            <pc:docMk/>
            <pc:sldMk cId="1583574806" sldId="521"/>
            <ac:spMk id="27" creationId="{E109C0C0-DE7E-8AB1-973B-B605BB7A8159}"/>
          </ac:spMkLst>
        </pc:spChg>
        <pc:spChg chg="del">
          <ac:chgData name="zur bonsen georg" userId="5444515566c7376a" providerId="LiveId" clId="{FDDA43C8-544C-43C8-B7EC-BDEEF2A8748B}" dt="2024-02-11T12:14:50.043" v="202" actId="478"/>
          <ac:spMkLst>
            <pc:docMk/>
            <pc:sldMk cId="1583574806" sldId="521"/>
            <ac:spMk id="28" creationId="{72EFC12A-7F82-16AA-CC56-0915554C6011}"/>
          </ac:spMkLst>
        </pc:spChg>
        <pc:spChg chg="del">
          <ac:chgData name="zur bonsen georg" userId="5444515566c7376a" providerId="LiveId" clId="{FDDA43C8-544C-43C8-B7EC-BDEEF2A8748B}" dt="2024-02-11T12:14:50.043" v="202" actId="478"/>
          <ac:spMkLst>
            <pc:docMk/>
            <pc:sldMk cId="1583574806" sldId="521"/>
            <ac:spMk id="29" creationId="{E89DEE96-8658-6557-CB22-D5698ACCA813}"/>
          </ac:spMkLst>
        </pc:spChg>
        <pc:spChg chg="del">
          <ac:chgData name="zur bonsen georg" userId="5444515566c7376a" providerId="LiveId" clId="{FDDA43C8-544C-43C8-B7EC-BDEEF2A8748B}" dt="2024-02-11T12:14:50.043" v="202" actId="478"/>
          <ac:spMkLst>
            <pc:docMk/>
            <pc:sldMk cId="1583574806" sldId="521"/>
            <ac:spMk id="30" creationId="{808BFCC9-52C7-C036-0C1E-53AFE9FC3498}"/>
          </ac:spMkLst>
        </pc:spChg>
        <pc:spChg chg="del">
          <ac:chgData name="zur bonsen georg" userId="5444515566c7376a" providerId="LiveId" clId="{FDDA43C8-544C-43C8-B7EC-BDEEF2A8748B}" dt="2024-02-11T12:14:50.043" v="202" actId="478"/>
          <ac:spMkLst>
            <pc:docMk/>
            <pc:sldMk cId="1583574806" sldId="521"/>
            <ac:spMk id="31" creationId="{C6E8DAD4-5A46-E749-75CE-D29A70F24754}"/>
          </ac:spMkLst>
        </pc:spChg>
        <pc:spChg chg="add mod">
          <ac:chgData name="zur bonsen georg" userId="5444515566c7376a" providerId="LiveId" clId="{FDDA43C8-544C-43C8-B7EC-BDEEF2A8748B}" dt="2024-02-11T12:26:27.475" v="412" actId="2711"/>
          <ac:spMkLst>
            <pc:docMk/>
            <pc:sldMk cId="1583574806" sldId="521"/>
            <ac:spMk id="32" creationId="{925EE578-F524-CADF-9A51-49D6A514F3D5}"/>
          </ac:spMkLst>
        </pc:spChg>
        <pc:spChg chg="del">
          <ac:chgData name="zur bonsen georg" userId="5444515566c7376a" providerId="LiveId" clId="{FDDA43C8-544C-43C8-B7EC-BDEEF2A8748B}" dt="2024-02-11T12:14:50.043" v="202" actId="478"/>
          <ac:spMkLst>
            <pc:docMk/>
            <pc:sldMk cId="1583574806" sldId="521"/>
            <ac:spMk id="36" creationId="{2546F343-8C1C-8673-94E9-F622D6BA44F9}"/>
          </ac:spMkLst>
        </pc:spChg>
        <pc:spChg chg="del">
          <ac:chgData name="zur bonsen georg" userId="5444515566c7376a" providerId="LiveId" clId="{FDDA43C8-544C-43C8-B7EC-BDEEF2A8748B}" dt="2024-02-11T12:14:50.043" v="202" actId="478"/>
          <ac:spMkLst>
            <pc:docMk/>
            <pc:sldMk cId="1583574806" sldId="521"/>
            <ac:spMk id="37" creationId="{88007A00-F77B-7D48-5ABA-236EEC20A91B}"/>
          </ac:spMkLst>
        </pc:spChg>
        <pc:spChg chg="del">
          <ac:chgData name="zur bonsen georg" userId="5444515566c7376a" providerId="LiveId" clId="{FDDA43C8-544C-43C8-B7EC-BDEEF2A8748B}" dt="2024-02-11T12:14:50.043" v="202" actId="478"/>
          <ac:spMkLst>
            <pc:docMk/>
            <pc:sldMk cId="1583574806" sldId="521"/>
            <ac:spMk id="38" creationId="{0DF96021-D8FD-DA10-454E-895313E50F01}"/>
          </ac:spMkLst>
        </pc:spChg>
        <pc:spChg chg="del">
          <ac:chgData name="zur bonsen georg" userId="5444515566c7376a" providerId="LiveId" clId="{FDDA43C8-544C-43C8-B7EC-BDEEF2A8748B}" dt="2024-02-11T12:14:50.043" v="202" actId="478"/>
          <ac:spMkLst>
            <pc:docMk/>
            <pc:sldMk cId="1583574806" sldId="521"/>
            <ac:spMk id="39" creationId="{B7E4070B-4434-B8EC-15ED-85C407EB563D}"/>
          </ac:spMkLst>
        </pc:spChg>
        <pc:spChg chg="add mod">
          <ac:chgData name="zur bonsen georg" userId="5444515566c7376a" providerId="LiveId" clId="{FDDA43C8-544C-43C8-B7EC-BDEEF2A8748B}" dt="2024-02-11T12:26:27.475" v="412" actId="2711"/>
          <ac:spMkLst>
            <pc:docMk/>
            <pc:sldMk cId="1583574806" sldId="521"/>
            <ac:spMk id="40" creationId="{7FCA007A-993D-6353-11D7-8316FF3C8560}"/>
          </ac:spMkLst>
        </pc:spChg>
        <pc:spChg chg="del">
          <ac:chgData name="zur bonsen georg" userId="5444515566c7376a" providerId="LiveId" clId="{FDDA43C8-544C-43C8-B7EC-BDEEF2A8748B}" dt="2024-02-11T12:14:50.043" v="202" actId="478"/>
          <ac:spMkLst>
            <pc:docMk/>
            <pc:sldMk cId="1583574806" sldId="521"/>
            <ac:spMk id="41" creationId="{755B6AE0-DA97-1179-AE6F-601040A2256A}"/>
          </ac:spMkLst>
        </pc:spChg>
        <pc:spChg chg="add mod">
          <ac:chgData name="zur bonsen georg" userId="5444515566c7376a" providerId="LiveId" clId="{FDDA43C8-544C-43C8-B7EC-BDEEF2A8748B}" dt="2024-02-11T12:26:27.475" v="412" actId="2711"/>
          <ac:spMkLst>
            <pc:docMk/>
            <pc:sldMk cId="1583574806" sldId="521"/>
            <ac:spMk id="42" creationId="{0E1B2F91-63B8-509C-FDEA-6B27CD4FB5E5}"/>
          </ac:spMkLst>
        </pc:spChg>
        <pc:spChg chg="del">
          <ac:chgData name="zur bonsen georg" userId="5444515566c7376a" providerId="LiveId" clId="{FDDA43C8-544C-43C8-B7EC-BDEEF2A8748B}" dt="2024-02-11T12:14:50.043" v="202" actId="478"/>
          <ac:spMkLst>
            <pc:docMk/>
            <pc:sldMk cId="1583574806" sldId="521"/>
            <ac:spMk id="43" creationId="{40A07D2E-3759-43D8-4370-6EE1BD1E9FD6}"/>
          </ac:spMkLst>
        </pc:spChg>
        <pc:spChg chg="del">
          <ac:chgData name="zur bonsen georg" userId="5444515566c7376a" providerId="LiveId" clId="{FDDA43C8-544C-43C8-B7EC-BDEEF2A8748B}" dt="2024-02-11T12:14:50.043" v="202" actId="478"/>
          <ac:spMkLst>
            <pc:docMk/>
            <pc:sldMk cId="1583574806" sldId="521"/>
            <ac:spMk id="44" creationId="{3192CDA0-11F7-6223-7956-621631D2F2E6}"/>
          </ac:spMkLst>
        </pc:spChg>
        <pc:spChg chg="del">
          <ac:chgData name="zur bonsen georg" userId="5444515566c7376a" providerId="LiveId" clId="{FDDA43C8-544C-43C8-B7EC-BDEEF2A8748B}" dt="2024-02-11T12:14:50.043" v="202" actId="478"/>
          <ac:spMkLst>
            <pc:docMk/>
            <pc:sldMk cId="1583574806" sldId="521"/>
            <ac:spMk id="45" creationId="{1D31AD2F-4589-163B-AFA9-0423564D7F99}"/>
          </ac:spMkLst>
        </pc:spChg>
        <pc:spChg chg="add mod">
          <ac:chgData name="zur bonsen georg" userId="5444515566c7376a" providerId="LiveId" clId="{FDDA43C8-544C-43C8-B7EC-BDEEF2A8748B}" dt="2024-02-11T12:26:27.475" v="412" actId="2711"/>
          <ac:spMkLst>
            <pc:docMk/>
            <pc:sldMk cId="1583574806" sldId="521"/>
            <ac:spMk id="46" creationId="{2372816A-C8C9-0407-00AB-A589172DD8D1}"/>
          </ac:spMkLst>
        </pc:spChg>
        <pc:spChg chg="add mod">
          <ac:chgData name="zur bonsen georg" userId="5444515566c7376a" providerId="LiveId" clId="{FDDA43C8-544C-43C8-B7EC-BDEEF2A8748B}" dt="2024-02-11T12:26:27.475" v="412" actId="2711"/>
          <ac:spMkLst>
            <pc:docMk/>
            <pc:sldMk cId="1583574806" sldId="521"/>
            <ac:spMk id="47" creationId="{7D4864C8-360F-1967-FD6D-E3A86B7769AC}"/>
          </ac:spMkLst>
        </pc:spChg>
        <pc:spChg chg="add mod">
          <ac:chgData name="zur bonsen georg" userId="5444515566c7376a" providerId="LiveId" clId="{FDDA43C8-544C-43C8-B7EC-BDEEF2A8748B}" dt="2024-02-11T12:26:27.475" v="412" actId="2711"/>
          <ac:spMkLst>
            <pc:docMk/>
            <pc:sldMk cId="1583574806" sldId="521"/>
            <ac:spMk id="48" creationId="{C2D62268-A707-BF7D-A0FE-8F7B97861EF8}"/>
          </ac:spMkLst>
        </pc:spChg>
        <pc:spChg chg="add mod">
          <ac:chgData name="zur bonsen georg" userId="5444515566c7376a" providerId="LiveId" clId="{FDDA43C8-544C-43C8-B7EC-BDEEF2A8748B}" dt="2024-02-11T12:26:27.475" v="412" actId="2711"/>
          <ac:spMkLst>
            <pc:docMk/>
            <pc:sldMk cId="1583574806" sldId="521"/>
            <ac:spMk id="49" creationId="{C21C4B45-D73F-3D25-9330-E5C0F9BD3416}"/>
          </ac:spMkLst>
        </pc:spChg>
        <pc:spChg chg="add mod">
          <ac:chgData name="zur bonsen georg" userId="5444515566c7376a" providerId="LiveId" clId="{FDDA43C8-544C-43C8-B7EC-BDEEF2A8748B}" dt="2024-02-11T12:26:27.475" v="412" actId="2711"/>
          <ac:spMkLst>
            <pc:docMk/>
            <pc:sldMk cId="1583574806" sldId="521"/>
            <ac:spMk id="50" creationId="{F69D8D13-D613-4072-3563-41F2A3CE07F2}"/>
          </ac:spMkLst>
        </pc:spChg>
        <pc:spChg chg="add mod">
          <ac:chgData name="zur bonsen georg" userId="5444515566c7376a" providerId="LiveId" clId="{FDDA43C8-544C-43C8-B7EC-BDEEF2A8748B}" dt="2024-02-11T12:26:27.475" v="412" actId="2711"/>
          <ac:spMkLst>
            <pc:docMk/>
            <pc:sldMk cId="1583574806" sldId="521"/>
            <ac:spMk id="51" creationId="{5DA3C9D4-3D42-0A6C-7336-63CFECD28801}"/>
          </ac:spMkLst>
        </pc:spChg>
        <pc:spChg chg="add mod">
          <ac:chgData name="zur bonsen georg" userId="5444515566c7376a" providerId="LiveId" clId="{FDDA43C8-544C-43C8-B7EC-BDEEF2A8748B}" dt="2024-02-11T12:26:27.475" v="412" actId="2711"/>
          <ac:spMkLst>
            <pc:docMk/>
            <pc:sldMk cId="1583574806" sldId="521"/>
            <ac:spMk id="52" creationId="{E4CC3BF4-01E3-D0B9-AF03-C1D31F6EA628}"/>
          </ac:spMkLst>
        </pc:spChg>
        <pc:spChg chg="add mod">
          <ac:chgData name="zur bonsen georg" userId="5444515566c7376a" providerId="LiveId" clId="{FDDA43C8-544C-43C8-B7EC-BDEEF2A8748B}" dt="2024-02-11T12:26:27.475" v="412" actId="2711"/>
          <ac:spMkLst>
            <pc:docMk/>
            <pc:sldMk cId="1583574806" sldId="521"/>
            <ac:spMk id="53" creationId="{45BD30EB-6236-D07D-80F1-5B820DAAD677}"/>
          </ac:spMkLst>
        </pc:spChg>
        <pc:spChg chg="add mod">
          <ac:chgData name="zur bonsen georg" userId="5444515566c7376a" providerId="LiveId" clId="{FDDA43C8-544C-43C8-B7EC-BDEEF2A8748B}" dt="2024-02-11T12:26:27.475" v="412" actId="2711"/>
          <ac:spMkLst>
            <pc:docMk/>
            <pc:sldMk cId="1583574806" sldId="521"/>
            <ac:spMk id="54" creationId="{41776CB6-CD55-4448-3FCA-72920FF08F6C}"/>
          </ac:spMkLst>
        </pc:spChg>
        <pc:spChg chg="mod">
          <ac:chgData name="zur bonsen georg" userId="5444515566c7376a" providerId="LiveId" clId="{FDDA43C8-544C-43C8-B7EC-BDEEF2A8748B}" dt="2024-02-11T12:26:27.475" v="412" actId="2711"/>
          <ac:spMkLst>
            <pc:docMk/>
            <pc:sldMk cId="1583574806" sldId="521"/>
            <ac:spMk id="56" creationId="{B5A0562A-1306-DC61-0C18-7D31CD350981}"/>
          </ac:spMkLst>
        </pc:spChg>
        <pc:spChg chg="mod">
          <ac:chgData name="zur bonsen georg" userId="5444515566c7376a" providerId="LiveId" clId="{FDDA43C8-544C-43C8-B7EC-BDEEF2A8748B}" dt="2024-02-11T12:26:27.475" v="412" actId="2711"/>
          <ac:spMkLst>
            <pc:docMk/>
            <pc:sldMk cId="1583574806" sldId="521"/>
            <ac:spMk id="57" creationId="{5C71C91E-062D-5AA6-A7CB-AC7C7AB1DD8B}"/>
          </ac:spMkLst>
        </pc:spChg>
        <pc:spChg chg="mod">
          <ac:chgData name="zur bonsen georg" userId="5444515566c7376a" providerId="LiveId" clId="{FDDA43C8-544C-43C8-B7EC-BDEEF2A8748B}" dt="2024-02-11T12:26:27.475" v="412" actId="2711"/>
          <ac:spMkLst>
            <pc:docMk/>
            <pc:sldMk cId="1583574806" sldId="521"/>
            <ac:spMk id="58" creationId="{8A3FEA93-6B59-166B-6BA4-43A290ABCAFA}"/>
          </ac:spMkLst>
        </pc:spChg>
        <pc:spChg chg="add mod">
          <ac:chgData name="zur bonsen georg" userId="5444515566c7376a" providerId="LiveId" clId="{FDDA43C8-544C-43C8-B7EC-BDEEF2A8748B}" dt="2024-02-11T12:26:27.475" v="412" actId="2711"/>
          <ac:spMkLst>
            <pc:docMk/>
            <pc:sldMk cId="1583574806" sldId="521"/>
            <ac:spMk id="59" creationId="{103439B9-2E14-9EB0-008A-B682C78F8421}"/>
          </ac:spMkLst>
        </pc:spChg>
        <pc:spChg chg="add mod">
          <ac:chgData name="zur bonsen georg" userId="5444515566c7376a" providerId="LiveId" clId="{FDDA43C8-544C-43C8-B7EC-BDEEF2A8748B}" dt="2024-02-11T12:26:27.475" v="412" actId="2711"/>
          <ac:spMkLst>
            <pc:docMk/>
            <pc:sldMk cId="1583574806" sldId="521"/>
            <ac:spMk id="60" creationId="{D29F027B-613C-6F91-70FE-6716EE3BB010}"/>
          </ac:spMkLst>
        </pc:spChg>
        <pc:spChg chg="add mod">
          <ac:chgData name="zur bonsen georg" userId="5444515566c7376a" providerId="LiveId" clId="{FDDA43C8-544C-43C8-B7EC-BDEEF2A8748B}" dt="2024-02-11T12:26:27.475" v="412" actId="2711"/>
          <ac:spMkLst>
            <pc:docMk/>
            <pc:sldMk cId="1583574806" sldId="521"/>
            <ac:spMk id="61" creationId="{D08FC84B-0CED-B153-FE74-9F77D75083EF}"/>
          </ac:spMkLst>
        </pc:spChg>
        <pc:spChg chg="add mod">
          <ac:chgData name="zur bonsen georg" userId="5444515566c7376a" providerId="LiveId" clId="{FDDA43C8-544C-43C8-B7EC-BDEEF2A8748B}" dt="2024-02-11T12:26:27.475" v="412" actId="2711"/>
          <ac:spMkLst>
            <pc:docMk/>
            <pc:sldMk cId="1583574806" sldId="521"/>
            <ac:spMk id="62" creationId="{EB2C8B0C-5315-68CF-C66D-EF87F9A02648}"/>
          </ac:spMkLst>
        </pc:spChg>
        <pc:spChg chg="add mod">
          <ac:chgData name="zur bonsen georg" userId="5444515566c7376a" providerId="LiveId" clId="{FDDA43C8-544C-43C8-B7EC-BDEEF2A8748B}" dt="2024-02-11T12:26:27.475" v="412" actId="2711"/>
          <ac:spMkLst>
            <pc:docMk/>
            <pc:sldMk cId="1583574806" sldId="521"/>
            <ac:spMk id="63" creationId="{E07743BA-C8A2-FCD3-F704-5D6324A7BE2D}"/>
          </ac:spMkLst>
        </pc:spChg>
        <pc:spChg chg="mod">
          <ac:chgData name="zur bonsen georg" userId="5444515566c7376a" providerId="LiveId" clId="{FDDA43C8-544C-43C8-B7EC-BDEEF2A8748B}" dt="2024-02-11T12:26:27.475" v="412" actId="2711"/>
          <ac:spMkLst>
            <pc:docMk/>
            <pc:sldMk cId="1583574806" sldId="521"/>
            <ac:spMk id="65" creationId="{6D444B29-B589-FF03-1C90-AA0A2206920D}"/>
          </ac:spMkLst>
        </pc:spChg>
        <pc:spChg chg="mod">
          <ac:chgData name="zur bonsen georg" userId="5444515566c7376a" providerId="LiveId" clId="{FDDA43C8-544C-43C8-B7EC-BDEEF2A8748B}" dt="2024-02-11T12:26:27.475" v="412" actId="2711"/>
          <ac:spMkLst>
            <pc:docMk/>
            <pc:sldMk cId="1583574806" sldId="521"/>
            <ac:spMk id="66" creationId="{1B3C9541-FFBF-E4C8-E929-87BA14D85018}"/>
          </ac:spMkLst>
        </pc:spChg>
        <pc:spChg chg="add mod">
          <ac:chgData name="zur bonsen georg" userId="5444515566c7376a" providerId="LiveId" clId="{FDDA43C8-544C-43C8-B7EC-BDEEF2A8748B}" dt="2024-02-11T12:26:27.475" v="412" actId="2711"/>
          <ac:spMkLst>
            <pc:docMk/>
            <pc:sldMk cId="1583574806" sldId="521"/>
            <ac:spMk id="67" creationId="{5965C05F-8EB1-2DD9-6E87-69F2E87512D2}"/>
          </ac:spMkLst>
        </pc:spChg>
        <pc:spChg chg="add mod">
          <ac:chgData name="zur bonsen georg" userId="5444515566c7376a" providerId="LiveId" clId="{FDDA43C8-544C-43C8-B7EC-BDEEF2A8748B}" dt="2024-02-11T12:26:27.475" v="412" actId="2711"/>
          <ac:spMkLst>
            <pc:docMk/>
            <pc:sldMk cId="1583574806" sldId="521"/>
            <ac:spMk id="68" creationId="{75C3151C-CB5A-BCE1-FE6D-6EFC6CF49A0E}"/>
          </ac:spMkLst>
        </pc:spChg>
        <pc:spChg chg="add mod">
          <ac:chgData name="zur bonsen georg" userId="5444515566c7376a" providerId="LiveId" clId="{FDDA43C8-544C-43C8-B7EC-BDEEF2A8748B}" dt="2024-02-11T12:26:27.475" v="412" actId="2711"/>
          <ac:spMkLst>
            <pc:docMk/>
            <pc:sldMk cId="1583574806" sldId="521"/>
            <ac:spMk id="69" creationId="{454B68B3-944B-3ED5-A80D-785AE161DAF4}"/>
          </ac:spMkLst>
        </pc:spChg>
        <pc:spChg chg="add mod">
          <ac:chgData name="zur bonsen georg" userId="5444515566c7376a" providerId="LiveId" clId="{FDDA43C8-544C-43C8-B7EC-BDEEF2A8748B}" dt="2024-02-11T12:26:27.475" v="412" actId="2711"/>
          <ac:spMkLst>
            <pc:docMk/>
            <pc:sldMk cId="1583574806" sldId="521"/>
            <ac:spMk id="70" creationId="{1AE269E5-1231-B601-866F-401B4844D22A}"/>
          </ac:spMkLst>
        </pc:spChg>
        <pc:spChg chg="add del mod">
          <ac:chgData name="zur bonsen georg" userId="5444515566c7376a" providerId="LiveId" clId="{FDDA43C8-544C-43C8-B7EC-BDEEF2A8748B}" dt="2024-02-11T12:14:59.421" v="222" actId="478"/>
          <ac:spMkLst>
            <pc:docMk/>
            <pc:sldMk cId="1583574806" sldId="521"/>
            <ac:spMk id="71" creationId="{72AF28BA-C7DB-920A-5D7F-284415E852A1}"/>
          </ac:spMkLst>
        </pc:spChg>
        <pc:spChg chg="add mod">
          <ac:chgData name="zur bonsen georg" userId="5444515566c7376a" providerId="LiveId" clId="{FDDA43C8-544C-43C8-B7EC-BDEEF2A8748B}" dt="2024-02-11T12:26:27.475" v="412" actId="2711"/>
          <ac:spMkLst>
            <pc:docMk/>
            <pc:sldMk cId="1583574806" sldId="521"/>
            <ac:spMk id="72" creationId="{C380263F-B49E-9D41-1BF5-D71CFC061323}"/>
          </ac:spMkLst>
        </pc:spChg>
        <pc:spChg chg="mod">
          <ac:chgData name="zur bonsen georg" userId="5444515566c7376a" providerId="LiveId" clId="{FDDA43C8-544C-43C8-B7EC-BDEEF2A8748B}" dt="2024-02-11T12:26:27.475" v="412" actId="2711"/>
          <ac:spMkLst>
            <pc:docMk/>
            <pc:sldMk cId="1583574806" sldId="521"/>
            <ac:spMk id="74" creationId="{673CA629-898B-1BE8-3A0B-A72812FD6789}"/>
          </ac:spMkLst>
        </pc:spChg>
        <pc:spChg chg="mod">
          <ac:chgData name="zur bonsen georg" userId="5444515566c7376a" providerId="LiveId" clId="{FDDA43C8-544C-43C8-B7EC-BDEEF2A8748B}" dt="2024-02-11T12:26:27.475" v="412" actId="2711"/>
          <ac:spMkLst>
            <pc:docMk/>
            <pc:sldMk cId="1583574806" sldId="521"/>
            <ac:spMk id="75" creationId="{C1B7634F-6F2B-EB93-74F0-0E19DFE4BD26}"/>
          </ac:spMkLst>
        </pc:spChg>
        <pc:spChg chg="mod">
          <ac:chgData name="zur bonsen georg" userId="5444515566c7376a" providerId="LiveId" clId="{FDDA43C8-544C-43C8-B7EC-BDEEF2A8748B}" dt="2024-02-11T12:26:27.475" v="412" actId="2711"/>
          <ac:spMkLst>
            <pc:docMk/>
            <pc:sldMk cId="1583574806" sldId="521"/>
            <ac:spMk id="76" creationId="{B6A46B42-B4A2-2381-D2E8-05524854318F}"/>
          </ac:spMkLst>
        </pc:spChg>
        <pc:spChg chg="mod">
          <ac:chgData name="zur bonsen georg" userId="5444515566c7376a" providerId="LiveId" clId="{FDDA43C8-544C-43C8-B7EC-BDEEF2A8748B}" dt="2024-02-11T12:26:27.475" v="412" actId="2711"/>
          <ac:spMkLst>
            <pc:docMk/>
            <pc:sldMk cId="1583574806" sldId="521"/>
            <ac:spMk id="79" creationId="{1B6863D7-CFCB-F05F-9DC9-26C4CA835956}"/>
          </ac:spMkLst>
        </pc:spChg>
        <pc:spChg chg="mod">
          <ac:chgData name="zur bonsen georg" userId="5444515566c7376a" providerId="LiveId" clId="{FDDA43C8-544C-43C8-B7EC-BDEEF2A8748B}" dt="2024-02-11T12:26:27.475" v="412" actId="2711"/>
          <ac:spMkLst>
            <pc:docMk/>
            <pc:sldMk cId="1583574806" sldId="521"/>
            <ac:spMk id="80" creationId="{648DFC3F-B223-BF3D-FAF6-D202B24A56E8}"/>
          </ac:spMkLst>
        </pc:spChg>
        <pc:spChg chg="mod">
          <ac:chgData name="zur bonsen georg" userId="5444515566c7376a" providerId="LiveId" clId="{FDDA43C8-544C-43C8-B7EC-BDEEF2A8748B}" dt="2024-02-11T12:26:27.475" v="412" actId="2711"/>
          <ac:spMkLst>
            <pc:docMk/>
            <pc:sldMk cId="1583574806" sldId="521"/>
            <ac:spMk id="81" creationId="{4ECEF19B-9AAD-B6FB-76B5-AE8F5C8C1B64}"/>
          </ac:spMkLst>
        </pc:spChg>
        <pc:spChg chg="mod">
          <ac:chgData name="zur bonsen georg" userId="5444515566c7376a" providerId="LiveId" clId="{FDDA43C8-544C-43C8-B7EC-BDEEF2A8748B}" dt="2024-02-11T12:26:27.475" v="412" actId="2711"/>
          <ac:spMkLst>
            <pc:docMk/>
            <pc:sldMk cId="1583574806" sldId="521"/>
            <ac:spMk id="82" creationId="{50348BA0-3D90-2719-896E-7C726A3A2555}"/>
          </ac:spMkLst>
        </pc:spChg>
        <pc:spChg chg="mod">
          <ac:chgData name="zur bonsen georg" userId="5444515566c7376a" providerId="LiveId" clId="{FDDA43C8-544C-43C8-B7EC-BDEEF2A8748B}" dt="2024-02-11T12:26:27.475" v="412" actId="2711"/>
          <ac:spMkLst>
            <pc:docMk/>
            <pc:sldMk cId="1583574806" sldId="521"/>
            <ac:spMk id="83" creationId="{FB8E8171-BD0C-92B8-8819-5FC3C00740C7}"/>
          </ac:spMkLst>
        </pc:spChg>
        <pc:spChg chg="mod">
          <ac:chgData name="zur bonsen georg" userId="5444515566c7376a" providerId="LiveId" clId="{FDDA43C8-544C-43C8-B7EC-BDEEF2A8748B}" dt="2024-02-11T12:26:27.475" v="412" actId="2711"/>
          <ac:spMkLst>
            <pc:docMk/>
            <pc:sldMk cId="1583574806" sldId="521"/>
            <ac:spMk id="84" creationId="{989BBF57-2F25-74B9-4034-EA9861EB0FA5}"/>
          </ac:spMkLst>
        </pc:spChg>
        <pc:spChg chg="mod">
          <ac:chgData name="zur bonsen georg" userId="5444515566c7376a" providerId="LiveId" clId="{FDDA43C8-544C-43C8-B7EC-BDEEF2A8748B}" dt="2024-02-11T12:26:27.475" v="412" actId="2711"/>
          <ac:spMkLst>
            <pc:docMk/>
            <pc:sldMk cId="1583574806" sldId="521"/>
            <ac:spMk id="85" creationId="{7000F469-9937-92A8-C5E4-9EA4B65F279E}"/>
          </ac:spMkLst>
        </pc:spChg>
        <pc:spChg chg="mod">
          <ac:chgData name="zur bonsen georg" userId="5444515566c7376a" providerId="LiveId" clId="{FDDA43C8-544C-43C8-B7EC-BDEEF2A8748B}" dt="2024-02-11T12:26:27.475" v="412" actId="2711"/>
          <ac:spMkLst>
            <pc:docMk/>
            <pc:sldMk cId="1583574806" sldId="521"/>
            <ac:spMk id="86" creationId="{F4C0B768-F476-2076-2F67-39ACAED68242}"/>
          </ac:spMkLst>
        </pc:spChg>
        <pc:spChg chg="mod">
          <ac:chgData name="zur bonsen georg" userId="5444515566c7376a" providerId="LiveId" clId="{FDDA43C8-544C-43C8-B7EC-BDEEF2A8748B}" dt="2024-02-11T12:26:27.475" v="412" actId="2711"/>
          <ac:spMkLst>
            <pc:docMk/>
            <pc:sldMk cId="1583574806" sldId="521"/>
            <ac:spMk id="87" creationId="{AEC3AFC8-E057-67BF-2390-D5F1E390C7DD}"/>
          </ac:spMkLst>
        </pc:spChg>
        <pc:spChg chg="mod">
          <ac:chgData name="zur bonsen georg" userId="5444515566c7376a" providerId="LiveId" clId="{FDDA43C8-544C-43C8-B7EC-BDEEF2A8748B}" dt="2024-02-11T12:26:27.475" v="412" actId="2711"/>
          <ac:spMkLst>
            <pc:docMk/>
            <pc:sldMk cId="1583574806" sldId="521"/>
            <ac:spMk id="88" creationId="{CC014ADE-369B-2C28-36AF-EFA72372E9D9}"/>
          </ac:spMkLst>
        </pc:spChg>
        <pc:spChg chg="mod">
          <ac:chgData name="zur bonsen georg" userId="5444515566c7376a" providerId="LiveId" clId="{FDDA43C8-544C-43C8-B7EC-BDEEF2A8748B}" dt="2024-02-11T12:26:27.475" v="412" actId="2711"/>
          <ac:spMkLst>
            <pc:docMk/>
            <pc:sldMk cId="1583574806" sldId="521"/>
            <ac:spMk id="89" creationId="{BC2B72F5-53E3-979C-413C-7D2CF0FD8BCB}"/>
          </ac:spMkLst>
        </pc:spChg>
        <pc:spChg chg="mod">
          <ac:chgData name="zur bonsen georg" userId="5444515566c7376a" providerId="LiveId" clId="{FDDA43C8-544C-43C8-B7EC-BDEEF2A8748B}" dt="2024-02-11T12:26:27.475" v="412" actId="2711"/>
          <ac:spMkLst>
            <pc:docMk/>
            <pc:sldMk cId="1583574806" sldId="521"/>
            <ac:spMk id="90" creationId="{6ACE396B-D63C-C46B-BC14-005438B6112D}"/>
          </ac:spMkLst>
        </pc:spChg>
        <pc:spChg chg="mod">
          <ac:chgData name="zur bonsen georg" userId="5444515566c7376a" providerId="LiveId" clId="{FDDA43C8-544C-43C8-B7EC-BDEEF2A8748B}" dt="2024-02-11T12:26:27.475" v="412" actId="2711"/>
          <ac:spMkLst>
            <pc:docMk/>
            <pc:sldMk cId="1583574806" sldId="521"/>
            <ac:spMk id="91" creationId="{CD133DBE-167D-7C9A-E388-BBFE0E6F18F6}"/>
          </ac:spMkLst>
        </pc:spChg>
        <pc:spChg chg="mod">
          <ac:chgData name="zur bonsen georg" userId="5444515566c7376a" providerId="LiveId" clId="{FDDA43C8-544C-43C8-B7EC-BDEEF2A8748B}" dt="2024-02-11T12:26:27.475" v="412" actId="2711"/>
          <ac:spMkLst>
            <pc:docMk/>
            <pc:sldMk cId="1583574806" sldId="521"/>
            <ac:spMk id="92" creationId="{D78898CC-FC91-4B2F-D5BE-08F69C605804}"/>
          </ac:spMkLst>
        </pc:spChg>
        <pc:spChg chg="mod">
          <ac:chgData name="zur bonsen georg" userId="5444515566c7376a" providerId="LiveId" clId="{FDDA43C8-544C-43C8-B7EC-BDEEF2A8748B}" dt="2024-02-11T12:26:27.475" v="412" actId="2711"/>
          <ac:spMkLst>
            <pc:docMk/>
            <pc:sldMk cId="1583574806" sldId="521"/>
            <ac:spMk id="93" creationId="{393A955A-0EA1-575B-AF84-0C1C83602DDE}"/>
          </ac:spMkLst>
        </pc:spChg>
        <pc:spChg chg="mod">
          <ac:chgData name="zur bonsen georg" userId="5444515566c7376a" providerId="LiveId" clId="{FDDA43C8-544C-43C8-B7EC-BDEEF2A8748B}" dt="2024-02-11T12:26:27.475" v="412" actId="2711"/>
          <ac:spMkLst>
            <pc:docMk/>
            <pc:sldMk cId="1583574806" sldId="521"/>
            <ac:spMk id="94" creationId="{FD4136E6-94EC-CE62-4E71-24258C8FC2FB}"/>
          </ac:spMkLst>
        </pc:spChg>
        <pc:spChg chg="mod">
          <ac:chgData name="zur bonsen georg" userId="5444515566c7376a" providerId="LiveId" clId="{FDDA43C8-544C-43C8-B7EC-BDEEF2A8748B}" dt="2024-02-11T12:26:27.475" v="412" actId="2711"/>
          <ac:spMkLst>
            <pc:docMk/>
            <pc:sldMk cId="1583574806" sldId="521"/>
            <ac:spMk id="95" creationId="{BD5A9910-AD1D-633B-8C2C-5CFC340EB8BD}"/>
          </ac:spMkLst>
        </pc:spChg>
        <pc:spChg chg="mod">
          <ac:chgData name="zur bonsen georg" userId="5444515566c7376a" providerId="LiveId" clId="{FDDA43C8-544C-43C8-B7EC-BDEEF2A8748B}" dt="2024-02-11T12:26:27.475" v="412" actId="2711"/>
          <ac:spMkLst>
            <pc:docMk/>
            <pc:sldMk cId="1583574806" sldId="521"/>
            <ac:spMk id="96" creationId="{E19744CD-BD8D-4FB5-E98B-3A0082A16120}"/>
          </ac:spMkLst>
        </pc:spChg>
        <pc:spChg chg="mod">
          <ac:chgData name="zur bonsen georg" userId="5444515566c7376a" providerId="LiveId" clId="{FDDA43C8-544C-43C8-B7EC-BDEEF2A8748B}" dt="2024-02-11T12:26:27.475" v="412" actId="2711"/>
          <ac:spMkLst>
            <pc:docMk/>
            <pc:sldMk cId="1583574806" sldId="521"/>
            <ac:spMk id="97" creationId="{42200D91-620C-AE6C-317F-A1D56FBB1A71}"/>
          </ac:spMkLst>
        </pc:spChg>
        <pc:spChg chg="mod">
          <ac:chgData name="zur bonsen georg" userId="5444515566c7376a" providerId="LiveId" clId="{FDDA43C8-544C-43C8-B7EC-BDEEF2A8748B}" dt="2024-02-11T12:26:27.475" v="412" actId="2711"/>
          <ac:spMkLst>
            <pc:docMk/>
            <pc:sldMk cId="1583574806" sldId="521"/>
            <ac:spMk id="98" creationId="{AAC90252-E302-9AA4-9A13-A8416D15B907}"/>
          </ac:spMkLst>
        </pc:spChg>
        <pc:spChg chg="add mod">
          <ac:chgData name="zur bonsen georg" userId="5444515566c7376a" providerId="LiveId" clId="{FDDA43C8-544C-43C8-B7EC-BDEEF2A8748B}" dt="2024-02-11T12:26:27.475" v="412" actId="2711"/>
          <ac:spMkLst>
            <pc:docMk/>
            <pc:sldMk cId="1583574806" sldId="521"/>
            <ac:spMk id="99" creationId="{17A80BAC-6568-FB31-8258-C47BAA52F0CD}"/>
          </ac:spMkLst>
        </pc:spChg>
        <pc:spChg chg="mod">
          <ac:chgData name="zur bonsen georg" userId="5444515566c7376a" providerId="LiveId" clId="{FDDA43C8-544C-43C8-B7EC-BDEEF2A8748B}" dt="2024-02-11T12:26:27.475" v="412" actId="2711"/>
          <ac:spMkLst>
            <pc:docMk/>
            <pc:sldMk cId="1583574806" sldId="521"/>
            <ac:spMk id="101" creationId="{9AFAF75D-6A2E-F08F-29D1-FEA85DCCA362}"/>
          </ac:spMkLst>
        </pc:spChg>
        <pc:spChg chg="mod">
          <ac:chgData name="zur bonsen georg" userId="5444515566c7376a" providerId="LiveId" clId="{FDDA43C8-544C-43C8-B7EC-BDEEF2A8748B}" dt="2024-02-11T12:26:27.475" v="412" actId="2711"/>
          <ac:spMkLst>
            <pc:docMk/>
            <pc:sldMk cId="1583574806" sldId="521"/>
            <ac:spMk id="112" creationId="{1E4345C1-336E-CB5C-BD43-227A92540931}"/>
          </ac:spMkLst>
        </pc:spChg>
        <pc:spChg chg="mod">
          <ac:chgData name="zur bonsen georg" userId="5444515566c7376a" providerId="LiveId" clId="{FDDA43C8-544C-43C8-B7EC-BDEEF2A8748B}" dt="2024-02-11T12:26:27.475" v="412" actId="2711"/>
          <ac:spMkLst>
            <pc:docMk/>
            <pc:sldMk cId="1583574806" sldId="521"/>
            <ac:spMk id="114" creationId="{F19C84D7-A61B-A5D4-7055-5BB6609C12B7}"/>
          </ac:spMkLst>
        </pc:spChg>
        <pc:spChg chg="mod">
          <ac:chgData name="zur bonsen georg" userId="5444515566c7376a" providerId="LiveId" clId="{FDDA43C8-544C-43C8-B7EC-BDEEF2A8748B}" dt="2024-02-11T12:26:27.475" v="412" actId="2711"/>
          <ac:spMkLst>
            <pc:docMk/>
            <pc:sldMk cId="1583574806" sldId="521"/>
            <ac:spMk id="125" creationId="{EA490302-138D-05BC-9D57-45FFDDF8F9DD}"/>
          </ac:spMkLst>
        </pc:spChg>
        <pc:spChg chg="mod">
          <ac:chgData name="zur bonsen georg" userId="5444515566c7376a" providerId="LiveId" clId="{FDDA43C8-544C-43C8-B7EC-BDEEF2A8748B}" dt="2024-02-11T12:26:27.475" v="412" actId="2711"/>
          <ac:spMkLst>
            <pc:docMk/>
            <pc:sldMk cId="1583574806" sldId="521"/>
            <ac:spMk id="127" creationId="{A1AFA65E-30C7-92D8-9BCA-36816821BCA8}"/>
          </ac:spMkLst>
        </pc:spChg>
        <pc:spChg chg="mod">
          <ac:chgData name="zur bonsen georg" userId="5444515566c7376a" providerId="LiveId" clId="{FDDA43C8-544C-43C8-B7EC-BDEEF2A8748B}" dt="2024-02-11T12:26:27.475" v="412" actId="2711"/>
          <ac:spMkLst>
            <pc:docMk/>
            <pc:sldMk cId="1583574806" sldId="521"/>
            <ac:spMk id="128" creationId="{26E345A2-4062-596A-34F8-E9977F7C536D}"/>
          </ac:spMkLst>
        </pc:spChg>
        <pc:spChg chg="add mod">
          <ac:chgData name="zur bonsen georg" userId="5444515566c7376a" providerId="LiveId" clId="{FDDA43C8-544C-43C8-B7EC-BDEEF2A8748B}" dt="2024-02-11T12:26:27.475" v="412" actId="2711"/>
          <ac:spMkLst>
            <pc:docMk/>
            <pc:sldMk cId="1583574806" sldId="521"/>
            <ac:spMk id="129" creationId="{3071225D-9825-6CA1-7582-67607F342852}"/>
          </ac:spMkLst>
        </pc:spChg>
        <pc:spChg chg="add mod">
          <ac:chgData name="zur bonsen georg" userId="5444515566c7376a" providerId="LiveId" clId="{FDDA43C8-544C-43C8-B7EC-BDEEF2A8748B}" dt="2024-02-11T12:26:27.475" v="412" actId="2711"/>
          <ac:spMkLst>
            <pc:docMk/>
            <pc:sldMk cId="1583574806" sldId="521"/>
            <ac:spMk id="130" creationId="{C1298F32-A488-2565-75FA-577F9E0D69BA}"/>
          </ac:spMkLst>
        </pc:spChg>
        <pc:spChg chg="add mod">
          <ac:chgData name="zur bonsen georg" userId="5444515566c7376a" providerId="LiveId" clId="{FDDA43C8-544C-43C8-B7EC-BDEEF2A8748B}" dt="2024-02-11T12:20:56.275" v="324" actId="207"/>
          <ac:spMkLst>
            <pc:docMk/>
            <pc:sldMk cId="1583574806" sldId="521"/>
            <ac:spMk id="131" creationId="{94B80C71-AE6F-171C-161E-7E5D6194B1BF}"/>
          </ac:spMkLst>
        </pc:spChg>
        <pc:spChg chg="add mod">
          <ac:chgData name="zur bonsen georg" userId="5444515566c7376a" providerId="LiveId" clId="{FDDA43C8-544C-43C8-B7EC-BDEEF2A8748B}" dt="2024-02-11T12:26:27.475" v="412" actId="2711"/>
          <ac:spMkLst>
            <pc:docMk/>
            <pc:sldMk cId="1583574806" sldId="521"/>
            <ac:spMk id="133" creationId="{4258D11F-25D7-66F9-3613-5CB803FB7A9D}"/>
          </ac:spMkLst>
        </pc:spChg>
        <pc:grpChg chg="del">
          <ac:chgData name="zur bonsen georg" userId="5444515566c7376a" providerId="LiveId" clId="{FDDA43C8-544C-43C8-B7EC-BDEEF2A8748B}" dt="2024-02-11T12:14:50.043" v="202" actId="478"/>
          <ac:grpSpMkLst>
            <pc:docMk/>
            <pc:sldMk cId="1583574806" sldId="521"/>
            <ac:grpSpMk id="33" creationId="{22CB0BE0-B04A-35EA-C9DE-5A63849ACD7E}"/>
          </ac:grpSpMkLst>
        </pc:grpChg>
        <pc:grpChg chg="add mod">
          <ac:chgData name="zur bonsen georg" userId="5444515566c7376a" providerId="LiveId" clId="{FDDA43C8-544C-43C8-B7EC-BDEEF2A8748B}" dt="2024-02-11T12:20:42.421" v="318" actId="1035"/>
          <ac:grpSpMkLst>
            <pc:docMk/>
            <pc:sldMk cId="1583574806" sldId="521"/>
            <ac:grpSpMk id="55" creationId="{50992F48-1C58-ADE6-487A-11DCF91AD13E}"/>
          </ac:grpSpMkLst>
        </pc:grpChg>
        <pc:grpChg chg="add mod">
          <ac:chgData name="zur bonsen georg" userId="5444515566c7376a" providerId="LiveId" clId="{FDDA43C8-544C-43C8-B7EC-BDEEF2A8748B}" dt="2024-02-11T12:20:42.421" v="318" actId="1035"/>
          <ac:grpSpMkLst>
            <pc:docMk/>
            <pc:sldMk cId="1583574806" sldId="521"/>
            <ac:grpSpMk id="64" creationId="{D94AC979-08C9-6760-827C-4269EBCD4416}"/>
          </ac:grpSpMkLst>
        </pc:grpChg>
        <pc:grpChg chg="add mod">
          <ac:chgData name="zur bonsen georg" userId="5444515566c7376a" providerId="LiveId" clId="{FDDA43C8-544C-43C8-B7EC-BDEEF2A8748B}" dt="2024-02-11T12:20:42.421" v="318" actId="1035"/>
          <ac:grpSpMkLst>
            <pc:docMk/>
            <pc:sldMk cId="1583574806" sldId="521"/>
            <ac:grpSpMk id="73" creationId="{E75E2B3C-54B1-54E2-D309-A7A8B9BA111F}"/>
          </ac:grpSpMkLst>
        </pc:grpChg>
        <pc:grpChg chg="mod">
          <ac:chgData name="zur bonsen georg" userId="5444515566c7376a" providerId="LiveId" clId="{FDDA43C8-544C-43C8-B7EC-BDEEF2A8748B}" dt="2024-02-11T12:14:54.618" v="203"/>
          <ac:grpSpMkLst>
            <pc:docMk/>
            <pc:sldMk cId="1583574806" sldId="521"/>
            <ac:grpSpMk id="77" creationId="{B4DDFB7B-803D-AD76-B7F3-8615B05EAE7B}"/>
          </ac:grpSpMkLst>
        </pc:grpChg>
        <pc:grpChg chg="mod">
          <ac:chgData name="zur bonsen georg" userId="5444515566c7376a" providerId="LiveId" clId="{FDDA43C8-544C-43C8-B7EC-BDEEF2A8748B}" dt="2024-02-11T12:14:54.618" v="203"/>
          <ac:grpSpMkLst>
            <pc:docMk/>
            <pc:sldMk cId="1583574806" sldId="521"/>
            <ac:grpSpMk id="78" creationId="{2C69BD66-721B-6699-EAC6-BDE8C49B4176}"/>
          </ac:grpSpMkLst>
        </pc:grpChg>
        <pc:grpChg chg="add mod">
          <ac:chgData name="zur bonsen georg" userId="5444515566c7376a" providerId="LiveId" clId="{FDDA43C8-544C-43C8-B7EC-BDEEF2A8748B}" dt="2024-02-11T12:20:42.421" v="318" actId="1035"/>
          <ac:grpSpMkLst>
            <pc:docMk/>
            <pc:sldMk cId="1583574806" sldId="521"/>
            <ac:grpSpMk id="100" creationId="{800F9DBB-1B4A-BAEB-0641-ED328F423E14}"/>
          </ac:grpSpMkLst>
        </pc:grpChg>
        <pc:grpChg chg="add mod">
          <ac:chgData name="zur bonsen georg" userId="5444515566c7376a" providerId="LiveId" clId="{FDDA43C8-544C-43C8-B7EC-BDEEF2A8748B}" dt="2024-02-11T12:20:42.421" v="318" actId="1035"/>
          <ac:grpSpMkLst>
            <pc:docMk/>
            <pc:sldMk cId="1583574806" sldId="521"/>
            <ac:grpSpMk id="113" creationId="{2F686216-6CEF-E59C-8113-2C3870458436}"/>
          </ac:grpSpMkLst>
        </pc:grpChg>
        <pc:grpChg chg="add mod">
          <ac:chgData name="zur bonsen georg" userId="5444515566c7376a" providerId="LiveId" clId="{FDDA43C8-544C-43C8-B7EC-BDEEF2A8748B}" dt="2024-02-11T12:20:42.421" v="318" actId="1035"/>
          <ac:grpSpMkLst>
            <pc:docMk/>
            <pc:sldMk cId="1583574806" sldId="521"/>
            <ac:grpSpMk id="126" creationId="{354A2566-4CBC-F039-0A19-271602C7E2E9}"/>
          </ac:grpSpMkLst>
        </pc:grpChg>
        <pc:cxnChg chg="del">
          <ac:chgData name="zur bonsen georg" userId="5444515566c7376a" providerId="LiveId" clId="{FDDA43C8-544C-43C8-B7EC-BDEEF2A8748B}" dt="2024-02-11T12:14:50.043" v="202" actId="478"/>
          <ac:cxnSpMkLst>
            <pc:docMk/>
            <pc:sldMk cId="1583574806" sldId="521"/>
            <ac:cxnSpMk id="13" creationId="{8BF66515-0C3C-76B5-28D0-BF3B74A565D4}"/>
          </ac:cxnSpMkLst>
        </pc:cxnChg>
        <pc:cxnChg chg="mod">
          <ac:chgData name="zur bonsen georg" userId="5444515566c7376a" providerId="LiveId" clId="{FDDA43C8-544C-43C8-B7EC-BDEEF2A8748B}" dt="2024-02-11T12:14:54.618" v="203"/>
          <ac:cxnSpMkLst>
            <pc:docMk/>
            <pc:sldMk cId="1583574806" sldId="521"/>
            <ac:cxnSpMk id="102" creationId="{8C3A32B7-17B8-EBCA-A012-C89DEFF7778F}"/>
          </ac:cxnSpMkLst>
        </pc:cxnChg>
        <pc:cxnChg chg="mod">
          <ac:chgData name="zur bonsen georg" userId="5444515566c7376a" providerId="LiveId" clId="{FDDA43C8-544C-43C8-B7EC-BDEEF2A8748B}" dt="2024-02-11T12:14:54.618" v="203"/>
          <ac:cxnSpMkLst>
            <pc:docMk/>
            <pc:sldMk cId="1583574806" sldId="521"/>
            <ac:cxnSpMk id="103" creationId="{86430FD1-9C1B-5F21-A774-192A5C394A7A}"/>
          </ac:cxnSpMkLst>
        </pc:cxnChg>
        <pc:cxnChg chg="mod">
          <ac:chgData name="zur bonsen georg" userId="5444515566c7376a" providerId="LiveId" clId="{FDDA43C8-544C-43C8-B7EC-BDEEF2A8748B}" dt="2024-02-11T12:14:54.618" v="203"/>
          <ac:cxnSpMkLst>
            <pc:docMk/>
            <pc:sldMk cId="1583574806" sldId="521"/>
            <ac:cxnSpMk id="104" creationId="{79D505D0-67CF-132A-76F3-810D9E7125A2}"/>
          </ac:cxnSpMkLst>
        </pc:cxnChg>
        <pc:cxnChg chg="mod">
          <ac:chgData name="zur bonsen georg" userId="5444515566c7376a" providerId="LiveId" clId="{FDDA43C8-544C-43C8-B7EC-BDEEF2A8748B}" dt="2024-02-11T12:14:54.618" v="203"/>
          <ac:cxnSpMkLst>
            <pc:docMk/>
            <pc:sldMk cId="1583574806" sldId="521"/>
            <ac:cxnSpMk id="105" creationId="{ACB19CA1-8892-B414-0CFA-A7A26639CB38}"/>
          </ac:cxnSpMkLst>
        </pc:cxnChg>
        <pc:cxnChg chg="mod">
          <ac:chgData name="zur bonsen georg" userId="5444515566c7376a" providerId="LiveId" clId="{FDDA43C8-544C-43C8-B7EC-BDEEF2A8748B}" dt="2024-02-11T12:14:54.618" v="203"/>
          <ac:cxnSpMkLst>
            <pc:docMk/>
            <pc:sldMk cId="1583574806" sldId="521"/>
            <ac:cxnSpMk id="106" creationId="{ED41E1AF-D321-60EB-561A-290CDD0C8141}"/>
          </ac:cxnSpMkLst>
        </pc:cxnChg>
        <pc:cxnChg chg="mod">
          <ac:chgData name="zur bonsen georg" userId="5444515566c7376a" providerId="LiveId" clId="{FDDA43C8-544C-43C8-B7EC-BDEEF2A8748B}" dt="2024-02-11T12:14:54.618" v="203"/>
          <ac:cxnSpMkLst>
            <pc:docMk/>
            <pc:sldMk cId="1583574806" sldId="521"/>
            <ac:cxnSpMk id="107" creationId="{F0BC95FB-30FA-9C0D-806B-D134D174C205}"/>
          </ac:cxnSpMkLst>
        </pc:cxnChg>
        <pc:cxnChg chg="mod">
          <ac:chgData name="zur bonsen georg" userId="5444515566c7376a" providerId="LiveId" clId="{FDDA43C8-544C-43C8-B7EC-BDEEF2A8748B}" dt="2024-02-11T12:14:54.618" v="203"/>
          <ac:cxnSpMkLst>
            <pc:docMk/>
            <pc:sldMk cId="1583574806" sldId="521"/>
            <ac:cxnSpMk id="108" creationId="{5F7A718F-07EB-4512-10CC-B4FE29C714FE}"/>
          </ac:cxnSpMkLst>
        </pc:cxnChg>
        <pc:cxnChg chg="mod">
          <ac:chgData name="zur bonsen georg" userId="5444515566c7376a" providerId="LiveId" clId="{FDDA43C8-544C-43C8-B7EC-BDEEF2A8748B}" dt="2024-02-11T12:14:54.618" v="203"/>
          <ac:cxnSpMkLst>
            <pc:docMk/>
            <pc:sldMk cId="1583574806" sldId="521"/>
            <ac:cxnSpMk id="109" creationId="{3275B551-165D-86A5-DB01-375E844FBAA9}"/>
          </ac:cxnSpMkLst>
        </pc:cxnChg>
        <pc:cxnChg chg="mod">
          <ac:chgData name="zur bonsen georg" userId="5444515566c7376a" providerId="LiveId" clId="{FDDA43C8-544C-43C8-B7EC-BDEEF2A8748B}" dt="2024-02-11T12:14:54.618" v="203"/>
          <ac:cxnSpMkLst>
            <pc:docMk/>
            <pc:sldMk cId="1583574806" sldId="521"/>
            <ac:cxnSpMk id="110" creationId="{50AC9062-D8BB-C9AB-EE28-6846ADCA9DB4}"/>
          </ac:cxnSpMkLst>
        </pc:cxnChg>
        <pc:cxnChg chg="mod">
          <ac:chgData name="zur bonsen georg" userId="5444515566c7376a" providerId="LiveId" clId="{FDDA43C8-544C-43C8-B7EC-BDEEF2A8748B}" dt="2024-02-11T12:14:54.618" v="203"/>
          <ac:cxnSpMkLst>
            <pc:docMk/>
            <pc:sldMk cId="1583574806" sldId="521"/>
            <ac:cxnSpMk id="111" creationId="{7AE4AF3A-326D-C213-E96C-8CEF128D7028}"/>
          </ac:cxnSpMkLst>
        </pc:cxnChg>
        <pc:cxnChg chg="mod">
          <ac:chgData name="zur bonsen georg" userId="5444515566c7376a" providerId="LiveId" clId="{FDDA43C8-544C-43C8-B7EC-BDEEF2A8748B}" dt="2024-02-11T12:14:54.618" v="203"/>
          <ac:cxnSpMkLst>
            <pc:docMk/>
            <pc:sldMk cId="1583574806" sldId="521"/>
            <ac:cxnSpMk id="115" creationId="{CED4A458-585E-8DA6-12F4-D22E4ABDB8B4}"/>
          </ac:cxnSpMkLst>
        </pc:cxnChg>
        <pc:cxnChg chg="mod">
          <ac:chgData name="zur bonsen georg" userId="5444515566c7376a" providerId="LiveId" clId="{FDDA43C8-544C-43C8-B7EC-BDEEF2A8748B}" dt="2024-02-11T12:14:54.618" v="203"/>
          <ac:cxnSpMkLst>
            <pc:docMk/>
            <pc:sldMk cId="1583574806" sldId="521"/>
            <ac:cxnSpMk id="116" creationId="{9435E48B-55DD-F58C-C965-E892082267EE}"/>
          </ac:cxnSpMkLst>
        </pc:cxnChg>
        <pc:cxnChg chg="mod">
          <ac:chgData name="zur bonsen georg" userId="5444515566c7376a" providerId="LiveId" clId="{FDDA43C8-544C-43C8-B7EC-BDEEF2A8748B}" dt="2024-02-11T12:14:54.618" v="203"/>
          <ac:cxnSpMkLst>
            <pc:docMk/>
            <pc:sldMk cId="1583574806" sldId="521"/>
            <ac:cxnSpMk id="117" creationId="{77AE2495-325B-A512-B5B3-AE3E00873938}"/>
          </ac:cxnSpMkLst>
        </pc:cxnChg>
        <pc:cxnChg chg="mod">
          <ac:chgData name="zur bonsen georg" userId="5444515566c7376a" providerId="LiveId" clId="{FDDA43C8-544C-43C8-B7EC-BDEEF2A8748B}" dt="2024-02-11T12:14:54.618" v="203"/>
          <ac:cxnSpMkLst>
            <pc:docMk/>
            <pc:sldMk cId="1583574806" sldId="521"/>
            <ac:cxnSpMk id="118" creationId="{8073F959-1C29-85CF-12D4-EE9448493F77}"/>
          </ac:cxnSpMkLst>
        </pc:cxnChg>
        <pc:cxnChg chg="mod">
          <ac:chgData name="zur bonsen georg" userId="5444515566c7376a" providerId="LiveId" clId="{FDDA43C8-544C-43C8-B7EC-BDEEF2A8748B}" dt="2024-02-11T12:14:54.618" v="203"/>
          <ac:cxnSpMkLst>
            <pc:docMk/>
            <pc:sldMk cId="1583574806" sldId="521"/>
            <ac:cxnSpMk id="119" creationId="{202595AE-6A5D-C896-C18F-DD6C4201E940}"/>
          </ac:cxnSpMkLst>
        </pc:cxnChg>
        <pc:cxnChg chg="mod">
          <ac:chgData name="zur bonsen georg" userId="5444515566c7376a" providerId="LiveId" clId="{FDDA43C8-544C-43C8-B7EC-BDEEF2A8748B}" dt="2024-02-11T12:14:54.618" v="203"/>
          <ac:cxnSpMkLst>
            <pc:docMk/>
            <pc:sldMk cId="1583574806" sldId="521"/>
            <ac:cxnSpMk id="120" creationId="{54AEC64B-26D0-8692-D4FE-5B46DF6A2483}"/>
          </ac:cxnSpMkLst>
        </pc:cxnChg>
        <pc:cxnChg chg="mod">
          <ac:chgData name="zur bonsen georg" userId="5444515566c7376a" providerId="LiveId" clId="{FDDA43C8-544C-43C8-B7EC-BDEEF2A8748B}" dt="2024-02-11T12:14:54.618" v="203"/>
          <ac:cxnSpMkLst>
            <pc:docMk/>
            <pc:sldMk cId="1583574806" sldId="521"/>
            <ac:cxnSpMk id="121" creationId="{4A4131CE-7275-FA9D-7C91-0F4F58FE7850}"/>
          </ac:cxnSpMkLst>
        </pc:cxnChg>
        <pc:cxnChg chg="mod">
          <ac:chgData name="zur bonsen georg" userId="5444515566c7376a" providerId="LiveId" clId="{FDDA43C8-544C-43C8-B7EC-BDEEF2A8748B}" dt="2024-02-11T12:14:54.618" v="203"/>
          <ac:cxnSpMkLst>
            <pc:docMk/>
            <pc:sldMk cId="1583574806" sldId="521"/>
            <ac:cxnSpMk id="122" creationId="{71F9775E-BD26-C771-0CC7-9B101E46737B}"/>
          </ac:cxnSpMkLst>
        </pc:cxnChg>
        <pc:cxnChg chg="mod">
          <ac:chgData name="zur bonsen georg" userId="5444515566c7376a" providerId="LiveId" clId="{FDDA43C8-544C-43C8-B7EC-BDEEF2A8748B}" dt="2024-02-11T12:14:54.618" v="203"/>
          <ac:cxnSpMkLst>
            <pc:docMk/>
            <pc:sldMk cId="1583574806" sldId="521"/>
            <ac:cxnSpMk id="123" creationId="{F7E7158C-1ACF-7745-0A27-AD0A0F614CCC}"/>
          </ac:cxnSpMkLst>
        </pc:cxnChg>
        <pc:cxnChg chg="mod">
          <ac:chgData name="zur bonsen georg" userId="5444515566c7376a" providerId="LiveId" clId="{FDDA43C8-544C-43C8-B7EC-BDEEF2A8748B}" dt="2024-02-11T12:14:54.618" v="203"/>
          <ac:cxnSpMkLst>
            <pc:docMk/>
            <pc:sldMk cId="1583574806" sldId="521"/>
            <ac:cxnSpMk id="124" creationId="{B4513561-82A9-45F8-979D-7F3151D21183}"/>
          </ac:cxnSpMkLst>
        </pc:cxnChg>
      </pc:sldChg>
      <pc:sldChg chg="add">
        <pc:chgData name="zur bonsen georg" userId="5444515566c7376a" providerId="LiveId" clId="{FDDA43C8-544C-43C8-B7EC-BDEEF2A8748B}" dt="2024-02-11T12:50:55.913" v="413" actId="2890"/>
        <pc:sldMkLst>
          <pc:docMk/>
          <pc:sldMk cId="2671652507" sldId="522"/>
        </pc:sldMkLst>
      </pc:sldChg>
    </pc:docChg>
  </pc:docChgLst>
  <pc:docChgLst>
    <pc:chgData name="zur bonsen georg" userId="5444515566c7376a" providerId="LiveId" clId="{EE8043E9-5C9D-48E2-83BC-322B6217B78C}"/>
    <pc:docChg chg="undo redo custSel addSld modSld">
      <pc:chgData name="zur bonsen georg" userId="5444515566c7376a" providerId="LiveId" clId="{EE8043E9-5C9D-48E2-83BC-322B6217B78C}" dt="2022-02-28T22:07:28.731" v="5765" actId="20577"/>
      <pc:docMkLst>
        <pc:docMk/>
      </pc:docMkLst>
      <pc:sldChg chg="addSp delSp modSp add mod">
        <pc:chgData name="zur bonsen georg" userId="5444515566c7376a" providerId="LiveId" clId="{EE8043E9-5C9D-48E2-83BC-322B6217B78C}" dt="2022-02-15T21:48:47.364" v="2199" actId="20577"/>
        <pc:sldMkLst>
          <pc:docMk/>
          <pc:sldMk cId="1633327501" sldId="505"/>
        </pc:sldMkLst>
        <pc:spChg chg="mod">
          <ac:chgData name="zur bonsen georg" userId="5444515566c7376a" providerId="LiveId" clId="{EE8043E9-5C9D-48E2-83BC-322B6217B78C}" dt="2022-02-15T19:53:41.494" v="2"/>
          <ac:spMkLst>
            <pc:docMk/>
            <pc:sldMk cId="1633327501" sldId="505"/>
            <ac:spMk id="2" creationId="{00000000-0000-0000-0000-000000000000}"/>
          </ac:spMkLst>
        </pc:spChg>
        <pc:spChg chg="del">
          <ac:chgData name="zur bonsen georg" userId="5444515566c7376a" providerId="LiveId" clId="{EE8043E9-5C9D-48E2-83BC-322B6217B78C}" dt="2022-02-15T19:53:31.043" v="1" actId="478"/>
          <ac:spMkLst>
            <pc:docMk/>
            <pc:sldMk cId="1633327501" sldId="505"/>
            <ac:spMk id="3" creationId="{7011C260-45CE-4CFC-8530-995A0325DA9B}"/>
          </ac:spMkLst>
        </pc:spChg>
        <pc:spChg chg="del">
          <ac:chgData name="zur bonsen georg" userId="5444515566c7376a" providerId="LiveId" clId="{EE8043E9-5C9D-48E2-83BC-322B6217B78C}" dt="2022-02-15T19:53:31.043" v="1" actId="478"/>
          <ac:spMkLst>
            <pc:docMk/>
            <pc:sldMk cId="1633327501" sldId="505"/>
            <ac:spMk id="4" creationId="{8E4C74E5-5692-4912-BCA0-1A0A2061BBB8}"/>
          </ac:spMkLst>
        </pc:spChg>
        <pc:spChg chg="del">
          <ac:chgData name="zur bonsen georg" userId="5444515566c7376a" providerId="LiveId" clId="{EE8043E9-5C9D-48E2-83BC-322B6217B78C}" dt="2022-02-15T19:53:31.043" v="1" actId="478"/>
          <ac:spMkLst>
            <pc:docMk/>
            <pc:sldMk cId="1633327501" sldId="505"/>
            <ac:spMk id="7" creationId="{3F8FD71A-F90B-4DDF-BBA1-ACD3418FF18C}"/>
          </ac:spMkLst>
        </pc:spChg>
        <pc:spChg chg="del">
          <ac:chgData name="zur bonsen georg" userId="5444515566c7376a" providerId="LiveId" clId="{EE8043E9-5C9D-48E2-83BC-322B6217B78C}" dt="2022-02-15T19:53:31.043" v="1" actId="478"/>
          <ac:spMkLst>
            <pc:docMk/>
            <pc:sldMk cId="1633327501" sldId="505"/>
            <ac:spMk id="8" creationId="{CF7AB2FD-67BE-4774-85F9-39994E807F05}"/>
          </ac:spMkLst>
        </pc:spChg>
        <pc:spChg chg="del">
          <ac:chgData name="zur bonsen georg" userId="5444515566c7376a" providerId="LiveId" clId="{EE8043E9-5C9D-48E2-83BC-322B6217B78C}" dt="2022-02-15T19:53:31.043" v="1" actId="478"/>
          <ac:spMkLst>
            <pc:docMk/>
            <pc:sldMk cId="1633327501" sldId="505"/>
            <ac:spMk id="9" creationId="{35A20C4E-6BB6-42A4-9069-1CF3CB973558}"/>
          </ac:spMkLst>
        </pc:spChg>
        <pc:spChg chg="del">
          <ac:chgData name="zur bonsen georg" userId="5444515566c7376a" providerId="LiveId" clId="{EE8043E9-5C9D-48E2-83BC-322B6217B78C}" dt="2022-02-15T19:53:31.043" v="1" actId="478"/>
          <ac:spMkLst>
            <pc:docMk/>
            <pc:sldMk cId="1633327501" sldId="505"/>
            <ac:spMk id="10" creationId="{163BBBEF-5A24-43D9-B509-319F2D37F414}"/>
          </ac:spMkLst>
        </pc:spChg>
        <pc:spChg chg="del">
          <ac:chgData name="zur bonsen georg" userId="5444515566c7376a" providerId="LiveId" clId="{EE8043E9-5C9D-48E2-83BC-322B6217B78C}" dt="2022-02-15T19:53:31.043" v="1" actId="478"/>
          <ac:spMkLst>
            <pc:docMk/>
            <pc:sldMk cId="1633327501" sldId="505"/>
            <ac:spMk id="11" creationId="{5A9423C9-B3BD-4FAD-B8F0-2669F8CFFB2F}"/>
          </ac:spMkLst>
        </pc:spChg>
        <pc:spChg chg="add del mod">
          <ac:chgData name="zur bonsen georg" userId="5444515566c7376a" providerId="LiveId" clId="{EE8043E9-5C9D-48E2-83BC-322B6217B78C}" dt="2022-02-15T21:22:46.032" v="1716" actId="478"/>
          <ac:spMkLst>
            <pc:docMk/>
            <pc:sldMk cId="1633327501" sldId="505"/>
            <ac:spMk id="18" creationId="{F36492ED-2FD4-40D3-B5B8-C501DA94919C}"/>
          </ac:spMkLst>
        </pc:spChg>
        <pc:spChg chg="add del mod">
          <ac:chgData name="zur bonsen georg" userId="5444515566c7376a" providerId="LiveId" clId="{EE8043E9-5C9D-48E2-83BC-322B6217B78C}" dt="2022-02-15T20:20:25.039" v="1310" actId="478"/>
          <ac:spMkLst>
            <pc:docMk/>
            <pc:sldMk cId="1633327501" sldId="505"/>
            <ac:spMk id="19" creationId="{E596BB12-E28B-4F9F-ADD6-A98C3F6B8562}"/>
          </ac:spMkLst>
        </pc:spChg>
        <pc:spChg chg="add del mod">
          <ac:chgData name="zur bonsen georg" userId="5444515566c7376a" providerId="LiveId" clId="{EE8043E9-5C9D-48E2-83BC-322B6217B78C}" dt="2022-02-15T20:20:25.039" v="1310" actId="478"/>
          <ac:spMkLst>
            <pc:docMk/>
            <pc:sldMk cId="1633327501" sldId="505"/>
            <ac:spMk id="20" creationId="{29E308EB-D097-4013-84C6-667F19744C3B}"/>
          </ac:spMkLst>
        </pc:spChg>
        <pc:spChg chg="add del mod">
          <ac:chgData name="zur bonsen georg" userId="5444515566c7376a" providerId="LiveId" clId="{EE8043E9-5C9D-48E2-83BC-322B6217B78C}" dt="2022-02-15T21:26:52.543" v="1795" actId="478"/>
          <ac:spMkLst>
            <pc:docMk/>
            <pc:sldMk cId="1633327501" sldId="505"/>
            <ac:spMk id="21" creationId="{A4502F28-7274-41D5-86EA-E953DD88836C}"/>
          </ac:spMkLst>
        </pc:spChg>
        <pc:spChg chg="add del mod">
          <ac:chgData name="zur bonsen georg" userId="5444515566c7376a" providerId="LiveId" clId="{EE8043E9-5C9D-48E2-83BC-322B6217B78C}" dt="2022-02-15T21:23:09.836" v="1722" actId="478"/>
          <ac:spMkLst>
            <pc:docMk/>
            <pc:sldMk cId="1633327501" sldId="505"/>
            <ac:spMk id="22" creationId="{535F29AE-2DCB-4D31-B6B7-2B48CE9C3154}"/>
          </ac:spMkLst>
        </pc:spChg>
        <pc:spChg chg="add del">
          <ac:chgData name="zur bonsen georg" userId="5444515566c7376a" providerId="LiveId" clId="{EE8043E9-5C9D-48E2-83BC-322B6217B78C}" dt="2022-02-15T20:19:38.110" v="1303" actId="478"/>
          <ac:spMkLst>
            <pc:docMk/>
            <pc:sldMk cId="1633327501" sldId="505"/>
            <ac:spMk id="23" creationId="{A8ADDDC5-3A95-44AA-9047-0A541C1ACC4D}"/>
          </ac:spMkLst>
        </pc:spChg>
        <pc:spChg chg="add del mod">
          <ac:chgData name="zur bonsen georg" userId="5444515566c7376a" providerId="LiveId" clId="{EE8043E9-5C9D-48E2-83BC-322B6217B78C}" dt="2022-02-15T20:31:42.129" v="1575" actId="478"/>
          <ac:spMkLst>
            <pc:docMk/>
            <pc:sldMk cId="1633327501" sldId="505"/>
            <ac:spMk id="24" creationId="{17BB6B2B-8BAA-4208-AA08-70A82F9AF472}"/>
          </ac:spMkLst>
        </pc:spChg>
        <pc:spChg chg="add del mod">
          <ac:chgData name="zur bonsen georg" userId="5444515566c7376a" providerId="LiveId" clId="{EE8043E9-5C9D-48E2-83BC-322B6217B78C}" dt="2022-02-15T20:31:42.129" v="1575" actId="478"/>
          <ac:spMkLst>
            <pc:docMk/>
            <pc:sldMk cId="1633327501" sldId="505"/>
            <ac:spMk id="25" creationId="{39960A05-0792-4EA9-B2C0-6A62C57FE412}"/>
          </ac:spMkLst>
        </pc:spChg>
        <pc:spChg chg="del">
          <ac:chgData name="zur bonsen georg" userId="5444515566c7376a" providerId="LiveId" clId="{EE8043E9-5C9D-48E2-83BC-322B6217B78C}" dt="2022-02-15T19:53:31.043" v="1" actId="478"/>
          <ac:spMkLst>
            <pc:docMk/>
            <pc:sldMk cId="1633327501" sldId="505"/>
            <ac:spMk id="54" creationId="{00000000-0000-0000-0000-000000000000}"/>
          </ac:spMkLst>
        </pc:spChg>
        <pc:spChg chg="del">
          <ac:chgData name="zur bonsen georg" userId="5444515566c7376a" providerId="LiveId" clId="{EE8043E9-5C9D-48E2-83BC-322B6217B78C}" dt="2022-02-15T19:53:31.043" v="1" actId="478"/>
          <ac:spMkLst>
            <pc:docMk/>
            <pc:sldMk cId="1633327501" sldId="505"/>
            <ac:spMk id="55" creationId="{00000000-0000-0000-0000-000000000000}"/>
          </ac:spMkLst>
        </pc:spChg>
        <pc:spChg chg="del">
          <ac:chgData name="zur bonsen georg" userId="5444515566c7376a" providerId="LiveId" clId="{EE8043E9-5C9D-48E2-83BC-322B6217B78C}" dt="2022-02-15T19:53:31.043" v="1" actId="478"/>
          <ac:spMkLst>
            <pc:docMk/>
            <pc:sldMk cId="1633327501" sldId="505"/>
            <ac:spMk id="63" creationId="{422BC97E-E859-423E-BA44-FEB10128B0B1}"/>
          </ac:spMkLst>
        </pc:spChg>
        <pc:spChg chg="del">
          <ac:chgData name="zur bonsen georg" userId="5444515566c7376a" providerId="LiveId" clId="{EE8043E9-5C9D-48E2-83BC-322B6217B78C}" dt="2022-02-15T19:53:31.043" v="1" actId="478"/>
          <ac:spMkLst>
            <pc:docMk/>
            <pc:sldMk cId="1633327501" sldId="505"/>
            <ac:spMk id="64" creationId="{18389487-316E-4B45-803A-A019D98985E9}"/>
          </ac:spMkLst>
        </pc:spChg>
        <pc:spChg chg="del">
          <ac:chgData name="zur bonsen georg" userId="5444515566c7376a" providerId="LiveId" clId="{EE8043E9-5C9D-48E2-83BC-322B6217B78C}" dt="2022-02-15T19:53:31.043" v="1" actId="478"/>
          <ac:spMkLst>
            <pc:docMk/>
            <pc:sldMk cId="1633327501" sldId="505"/>
            <ac:spMk id="71" creationId="{B44D7697-07FC-4033-BDD5-782F55FD7A82}"/>
          </ac:spMkLst>
        </pc:spChg>
        <pc:spChg chg="del">
          <ac:chgData name="zur bonsen georg" userId="5444515566c7376a" providerId="LiveId" clId="{EE8043E9-5C9D-48E2-83BC-322B6217B78C}" dt="2022-02-15T19:53:31.043" v="1" actId="478"/>
          <ac:spMkLst>
            <pc:docMk/>
            <pc:sldMk cId="1633327501" sldId="505"/>
            <ac:spMk id="74" creationId="{6EDD713C-8F52-4616-94B6-5DED0E9BE5E9}"/>
          </ac:spMkLst>
        </pc:spChg>
        <pc:spChg chg="del">
          <ac:chgData name="zur bonsen georg" userId="5444515566c7376a" providerId="LiveId" clId="{EE8043E9-5C9D-48E2-83BC-322B6217B78C}" dt="2022-02-15T19:53:31.043" v="1" actId="478"/>
          <ac:spMkLst>
            <pc:docMk/>
            <pc:sldMk cId="1633327501" sldId="505"/>
            <ac:spMk id="78" creationId="{00000000-0000-0000-0000-000000000000}"/>
          </ac:spMkLst>
        </pc:spChg>
        <pc:spChg chg="del">
          <ac:chgData name="zur bonsen georg" userId="5444515566c7376a" providerId="LiveId" clId="{EE8043E9-5C9D-48E2-83BC-322B6217B78C}" dt="2022-02-15T19:53:31.043" v="1" actId="478"/>
          <ac:spMkLst>
            <pc:docMk/>
            <pc:sldMk cId="1633327501" sldId="505"/>
            <ac:spMk id="79" creationId="{00000000-0000-0000-0000-000000000000}"/>
          </ac:spMkLst>
        </pc:spChg>
        <pc:spChg chg="del">
          <ac:chgData name="zur bonsen georg" userId="5444515566c7376a" providerId="LiveId" clId="{EE8043E9-5C9D-48E2-83BC-322B6217B78C}" dt="2022-02-15T19:53:31.043" v="1" actId="478"/>
          <ac:spMkLst>
            <pc:docMk/>
            <pc:sldMk cId="1633327501" sldId="505"/>
            <ac:spMk id="81" creationId="{00000000-0000-0000-0000-000000000000}"/>
          </ac:spMkLst>
        </pc:spChg>
        <pc:spChg chg="del">
          <ac:chgData name="zur bonsen georg" userId="5444515566c7376a" providerId="LiveId" clId="{EE8043E9-5C9D-48E2-83BC-322B6217B78C}" dt="2022-02-15T19:53:31.043" v="1" actId="478"/>
          <ac:spMkLst>
            <pc:docMk/>
            <pc:sldMk cId="1633327501" sldId="505"/>
            <ac:spMk id="82" creationId="{A8B8204D-6807-4139-BD5E-68AACF7383AB}"/>
          </ac:spMkLst>
        </pc:spChg>
        <pc:spChg chg="del">
          <ac:chgData name="zur bonsen georg" userId="5444515566c7376a" providerId="LiveId" clId="{EE8043E9-5C9D-48E2-83BC-322B6217B78C}" dt="2022-02-15T19:53:31.043" v="1" actId="478"/>
          <ac:spMkLst>
            <pc:docMk/>
            <pc:sldMk cId="1633327501" sldId="505"/>
            <ac:spMk id="87" creationId="{7E7F6AF2-7B5B-4F19-B572-3F8271C6ADA3}"/>
          </ac:spMkLst>
        </pc:spChg>
        <pc:spChg chg="del">
          <ac:chgData name="zur bonsen georg" userId="5444515566c7376a" providerId="LiveId" clId="{EE8043E9-5C9D-48E2-83BC-322B6217B78C}" dt="2022-02-15T19:53:31.043" v="1" actId="478"/>
          <ac:spMkLst>
            <pc:docMk/>
            <pc:sldMk cId="1633327501" sldId="505"/>
            <ac:spMk id="88" creationId="{67C684D8-C2C7-47D6-846C-59D75D452257}"/>
          </ac:spMkLst>
        </pc:spChg>
        <pc:spChg chg="del">
          <ac:chgData name="zur bonsen georg" userId="5444515566c7376a" providerId="LiveId" clId="{EE8043E9-5C9D-48E2-83BC-322B6217B78C}" dt="2022-02-15T19:53:31.043" v="1" actId="478"/>
          <ac:spMkLst>
            <pc:docMk/>
            <pc:sldMk cId="1633327501" sldId="505"/>
            <ac:spMk id="90" creationId="{EA9B15D1-F70F-4AB2-ABC6-7D7C66E313CE}"/>
          </ac:spMkLst>
        </pc:spChg>
        <pc:spChg chg="del">
          <ac:chgData name="zur bonsen georg" userId="5444515566c7376a" providerId="LiveId" clId="{EE8043E9-5C9D-48E2-83BC-322B6217B78C}" dt="2022-02-15T19:53:31.043" v="1" actId="478"/>
          <ac:spMkLst>
            <pc:docMk/>
            <pc:sldMk cId="1633327501" sldId="505"/>
            <ac:spMk id="92" creationId="{8D6850DD-C165-4E9F-8410-CF4658B0CFA1}"/>
          </ac:spMkLst>
        </pc:spChg>
        <pc:spChg chg="del">
          <ac:chgData name="zur bonsen georg" userId="5444515566c7376a" providerId="LiveId" clId="{EE8043E9-5C9D-48E2-83BC-322B6217B78C}" dt="2022-02-15T19:53:31.043" v="1" actId="478"/>
          <ac:spMkLst>
            <pc:docMk/>
            <pc:sldMk cId="1633327501" sldId="505"/>
            <ac:spMk id="93" creationId="{ECA6964E-083E-40C6-9B3D-F697E70E5FC1}"/>
          </ac:spMkLst>
        </pc:spChg>
        <pc:spChg chg="del">
          <ac:chgData name="zur bonsen georg" userId="5444515566c7376a" providerId="LiveId" clId="{EE8043E9-5C9D-48E2-83BC-322B6217B78C}" dt="2022-02-15T19:53:31.043" v="1" actId="478"/>
          <ac:spMkLst>
            <pc:docMk/>
            <pc:sldMk cId="1633327501" sldId="505"/>
            <ac:spMk id="99" creationId="{40068BAE-E977-408D-80E1-BF0D9A7442BB}"/>
          </ac:spMkLst>
        </pc:spChg>
        <pc:spChg chg="add del mod">
          <ac:chgData name="zur bonsen georg" userId="5444515566c7376a" providerId="LiveId" clId="{EE8043E9-5C9D-48E2-83BC-322B6217B78C}" dt="2022-02-15T20:02:20.031" v="270" actId="478"/>
          <ac:spMkLst>
            <pc:docMk/>
            <pc:sldMk cId="1633327501" sldId="505"/>
            <ac:spMk id="103" creationId="{5A6B0903-18DD-45AF-8DF9-E9F90E77E0E2}"/>
          </ac:spMkLst>
        </pc:spChg>
        <pc:spChg chg="add del mod">
          <ac:chgData name="zur bonsen georg" userId="5444515566c7376a" providerId="LiveId" clId="{EE8043E9-5C9D-48E2-83BC-322B6217B78C}" dt="2022-02-15T20:02:20.031" v="270" actId="478"/>
          <ac:spMkLst>
            <pc:docMk/>
            <pc:sldMk cId="1633327501" sldId="505"/>
            <ac:spMk id="104" creationId="{F48B7337-446A-4555-B747-1B05DF7F8C39}"/>
          </ac:spMkLst>
        </pc:spChg>
        <pc:spChg chg="add del mod">
          <ac:chgData name="zur bonsen georg" userId="5444515566c7376a" providerId="LiveId" clId="{EE8043E9-5C9D-48E2-83BC-322B6217B78C}" dt="2022-02-15T20:02:20.031" v="270" actId="478"/>
          <ac:spMkLst>
            <pc:docMk/>
            <pc:sldMk cId="1633327501" sldId="505"/>
            <ac:spMk id="105" creationId="{0E13AEF1-AD65-4710-867C-789271CA0087}"/>
          </ac:spMkLst>
        </pc:spChg>
        <pc:spChg chg="add del mod">
          <ac:chgData name="zur bonsen georg" userId="5444515566c7376a" providerId="LiveId" clId="{EE8043E9-5C9D-48E2-83BC-322B6217B78C}" dt="2022-02-15T20:02:20.031" v="270" actId="478"/>
          <ac:spMkLst>
            <pc:docMk/>
            <pc:sldMk cId="1633327501" sldId="505"/>
            <ac:spMk id="106" creationId="{70602F90-F9D5-480D-A4FE-FDA8AAF8EEF0}"/>
          </ac:spMkLst>
        </pc:spChg>
        <pc:spChg chg="del">
          <ac:chgData name="zur bonsen georg" userId="5444515566c7376a" providerId="LiveId" clId="{EE8043E9-5C9D-48E2-83BC-322B6217B78C}" dt="2022-02-15T19:53:31.043" v="1" actId="478"/>
          <ac:spMkLst>
            <pc:docMk/>
            <pc:sldMk cId="1633327501" sldId="505"/>
            <ac:spMk id="107" creationId="{BF944748-D1D0-448B-B6BF-1C0D53E9D34D}"/>
          </ac:spMkLst>
        </pc:spChg>
        <pc:spChg chg="del">
          <ac:chgData name="zur bonsen georg" userId="5444515566c7376a" providerId="LiveId" clId="{EE8043E9-5C9D-48E2-83BC-322B6217B78C}" dt="2022-02-15T19:53:31.043" v="1" actId="478"/>
          <ac:spMkLst>
            <pc:docMk/>
            <pc:sldMk cId="1633327501" sldId="505"/>
            <ac:spMk id="108" creationId="{00016715-3018-46BC-BA97-920546BE3597}"/>
          </ac:spMkLst>
        </pc:spChg>
        <pc:spChg chg="del">
          <ac:chgData name="zur bonsen georg" userId="5444515566c7376a" providerId="LiveId" clId="{EE8043E9-5C9D-48E2-83BC-322B6217B78C}" dt="2022-02-15T19:53:31.043" v="1" actId="478"/>
          <ac:spMkLst>
            <pc:docMk/>
            <pc:sldMk cId="1633327501" sldId="505"/>
            <ac:spMk id="109" creationId="{75AF786D-D88B-4BB9-830A-CEB83178E4A6}"/>
          </ac:spMkLst>
        </pc:spChg>
        <pc:spChg chg="add del mod">
          <ac:chgData name="zur bonsen georg" userId="5444515566c7376a" providerId="LiveId" clId="{EE8043E9-5C9D-48E2-83BC-322B6217B78C}" dt="2022-02-15T20:02:20.031" v="270" actId="478"/>
          <ac:spMkLst>
            <pc:docMk/>
            <pc:sldMk cId="1633327501" sldId="505"/>
            <ac:spMk id="113" creationId="{0C1F8C0D-2E9C-43F5-9ADC-6A34CEF6095F}"/>
          </ac:spMkLst>
        </pc:spChg>
        <pc:spChg chg="add del mod">
          <ac:chgData name="zur bonsen georg" userId="5444515566c7376a" providerId="LiveId" clId="{EE8043E9-5C9D-48E2-83BC-322B6217B78C}" dt="2022-02-15T20:02:20.031" v="270" actId="478"/>
          <ac:spMkLst>
            <pc:docMk/>
            <pc:sldMk cId="1633327501" sldId="505"/>
            <ac:spMk id="114" creationId="{C9CA10C5-EE4F-4314-A977-71A14CFF0F64}"/>
          </ac:spMkLst>
        </pc:spChg>
        <pc:spChg chg="del">
          <ac:chgData name="zur bonsen georg" userId="5444515566c7376a" providerId="LiveId" clId="{EE8043E9-5C9D-48E2-83BC-322B6217B78C}" dt="2022-02-15T19:53:31.043" v="1" actId="478"/>
          <ac:spMkLst>
            <pc:docMk/>
            <pc:sldMk cId="1633327501" sldId="505"/>
            <ac:spMk id="115" creationId="{953F5C71-BA3F-4C6B-9F22-CCF7CD5F60E2}"/>
          </ac:spMkLst>
        </pc:spChg>
        <pc:spChg chg="del">
          <ac:chgData name="zur bonsen georg" userId="5444515566c7376a" providerId="LiveId" clId="{EE8043E9-5C9D-48E2-83BC-322B6217B78C}" dt="2022-02-15T19:53:31.043" v="1" actId="478"/>
          <ac:spMkLst>
            <pc:docMk/>
            <pc:sldMk cId="1633327501" sldId="505"/>
            <ac:spMk id="116" creationId="{DD9D410B-CA11-4F8A-82EF-E6302FE7082C}"/>
          </ac:spMkLst>
        </pc:spChg>
        <pc:spChg chg="del">
          <ac:chgData name="zur bonsen georg" userId="5444515566c7376a" providerId="LiveId" clId="{EE8043E9-5C9D-48E2-83BC-322B6217B78C}" dt="2022-02-15T19:53:31.043" v="1" actId="478"/>
          <ac:spMkLst>
            <pc:docMk/>
            <pc:sldMk cId="1633327501" sldId="505"/>
            <ac:spMk id="117" creationId="{7B1A0532-641B-432F-AC78-D26EBDE590D9}"/>
          </ac:spMkLst>
        </pc:spChg>
        <pc:spChg chg="del">
          <ac:chgData name="zur bonsen georg" userId="5444515566c7376a" providerId="LiveId" clId="{EE8043E9-5C9D-48E2-83BC-322B6217B78C}" dt="2022-02-15T19:53:31.043" v="1" actId="478"/>
          <ac:spMkLst>
            <pc:docMk/>
            <pc:sldMk cId="1633327501" sldId="505"/>
            <ac:spMk id="118" creationId="{E3578767-720C-42B4-8B3B-618790C48958}"/>
          </ac:spMkLst>
        </pc:spChg>
        <pc:spChg chg="del">
          <ac:chgData name="zur bonsen georg" userId="5444515566c7376a" providerId="LiveId" clId="{EE8043E9-5C9D-48E2-83BC-322B6217B78C}" dt="2022-02-15T19:53:31.043" v="1" actId="478"/>
          <ac:spMkLst>
            <pc:docMk/>
            <pc:sldMk cId="1633327501" sldId="505"/>
            <ac:spMk id="119" creationId="{5FB81284-2653-4D9B-BB00-78BD8C499492}"/>
          </ac:spMkLst>
        </pc:spChg>
        <pc:spChg chg="add del mod">
          <ac:chgData name="zur bonsen georg" userId="5444515566c7376a" providerId="LiveId" clId="{EE8043E9-5C9D-48E2-83BC-322B6217B78C}" dt="2022-02-15T20:02:20.031" v="270" actId="478"/>
          <ac:spMkLst>
            <pc:docMk/>
            <pc:sldMk cId="1633327501" sldId="505"/>
            <ac:spMk id="120" creationId="{EDC6EC82-E7E8-495E-BF8D-F721D6727286}"/>
          </ac:spMkLst>
        </pc:spChg>
        <pc:spChg chg="add del mod">
          <ac:chgData name="zur bonsen georg" userId="5444515566c7376a" providerId="LiveId" clId="{EE8043E9-5C9D-48E2-83BC-322B6217B78C}" dt="2022-02-15T20:02:20.031" v="270" actId="478"/>
          <ac:spMkLst>
            <pc:docMk/>
            <pc:sldMk cId="1633327501" sldId="505"/>
            <ac:spMk id="121" creationId="{0B05B034-21F3-44C1-8829-8E6C5C57DA18}"/>
          </ac:spMkLst>
        </pc:spChg>
        <pc:spChg chg="add del mod">
          <ac:chgData name="zur bonsen georg" userId="5444515566c7376a" providerId="LiveId" clId="{EE8043E9-5C9D-48E2-83BC-322B6217B78C}" dt="2022-02-15T20:02:20.031" v="270" actId="478"/>
          <ac:spMkLst>
            <pc:docMk/>
            <pc:sldMk cId="1633327501" sldId="505"/>
            <ac:spMk id="125" creationId="{99F8F1B8-CA33-4744-A553-C9020DF4B49F}"/>
          </ac:spMkLst>
        </pc:spChg>
        <pc:spChg chg="add del mod">
          <ac:chgData name="zur bonsen georg" userId="5444515566c7376a" providerId="LiveId" clId="{EE8043E9-5C9D-48E2-83BC-322B6217B78C}" dt="2022-02-15T20:02:20.031" v="270" actId="478"/>
          <ac:spMkLst>
            <pc:docMk/>
            <pc:sldMk cId="1633327501" sldId="505"/>
            <ac:spMk id="126" creationId="{96BB143E-3CE9-4FD3-9248-74E425E360BA}"/>
          </ac:spMkLst>
        </pc:spChg>
        <pc:spChg chg="add del mod">
          <ac:chgData name="zur bonsen georg" userId="5444515566c7376a" providerId="LiveId" clId="{EE8043E9-5C9D-48E2-83BC-322B6217B78C}" dt="2022-02-15T20:02:20.031" v="270" actId="478"/>
          <ac:spMkLst>
            <pc:docMk/>
            <pc:sldMk cId="1633327501" sldId="505"/>
            <ac:spMk id="127" creationId="{CDEC658E-531A-4C8A-9569-7908FED8AFE6}"/>
          </ac:spMkLst>
        </pc:spChg>
        <pc:spChg chg="add del mod">
          <ac:chgData name="zur bonsen georg" userId="5444515566c7376a" providerId="LiveId" clId="{EE8043E9-5C9D-48E2-83BC-322B6217B78C}" dt="2022-02-15T20:02:20.031" v="270" actId="478"/>
          <ac:spMkLst>
            <pc:docMk/>
            <pc:sldMk cId="1633327501" sldId="505"/>
            <ac:spMk id="128" creationId="{5305FE60-CC17-496F-BF98-2AF23BFEB182}"/>
          </ac:spMkLst>
        </pc:spChg>
        <pc:spChg chg="add del mod">
          <ac:chgData name="zur bonsen georg" userId="5444515566c7376a" providerId="LiveId" clId="{EE8043E9-5C9D-48E2-83BC-322B6217B78C}" dt="2022-02-15T20:02:20.031" v="270" actId="478"/>
          <ac:spMkLst>
            <pc:docMk/>
            <pc:sldMk cId="1633327501" sldId="505"/>
            <ac:spMk id="129" creationId="{64E2FC92-327C-4EBA-8FEA-2F1172B3F0B5}"/>
          </ac:spMkLst>
        </pc:spChg>
        <pc:spChg chg="add del mod">
          <ac:chgData name="zur bonsen georg" userId="5444515566c7376a" providerId="LiveId" clId="{EE8043E9-5C9D-48E2-83BC-322B6217B78C}" dt="2022-02-15T20:02:20.031" v="270" actId="478"/>
          <ac:spMkLst>
            <pc:docMk/>
            <pc:sldMk cId="1633327501" sldId="505"/>
            <ac:spMk id="130" creationId="{2DB3F4AD-749E-4C98-81F8-B9A5342615AD}"/>
          </ac:spMkLst>
        </pc:spChg>
        <pc:spChg chg="add del mod">
          <ac:chgData name="zur bonsen georg" userId="5444515566c7376a" providerId="LiveId" clId="{EE8043E9-5C9D-48E2-83BC-322B6217B78C}" dt="2022-02-15T20:02:20.031" v="270" actId="478"/>
          <ac:spMkLst>
            <pc:docMk/>
            <pc:sldMk cId="1633327501" sldId="505"/>
            <ac:spMk id="131" creationId="{D3C488EA-FC9F-45BD-9C93-328D060372DC}"/>
          </ac:spMkLst>
        </pc:spChg>
        <pc:spChg chg="add del mod">
          <ac:chgData name="zur bonsen georg" userId="5444515566c7376a" providerId="LiveId" clId="{EE8043E9-5C9D-48E2-83BC-322B6217B78C}" dt="2022-02-15T20:02:20.031" v="270" actId="478"/>
          <ac:spMkLst>
            <pc:docMk/>
            <pc:sldMk cId="1633327501" sldId="505"/>
            <ac:spMk id="132" creationId="{619392C3-49BE-45A3-9B25-E088B0ED8A38}"/>
          </ac:spMkLst>
        </pc:spChg>
        <pc:spChg chg="add del mod">
          <ac:chgData name="zur bonsen georg" userId="5444515566c7376a" providerId="LiveId" clId="{EE8043E9-5C9D-48E2-83BC-322B6217B78C}" dt="2022-02-15T20:02:20.031" v="270" actId="478"/>
          <ac:spMkLst>
            <pc:docMk/>
            <pc:sldMk cId="1633327501" sldId="505"/>
            <ac:spMk id="133" creationId="{CCE5845E-A241-46D3-B17E-598461453A33}"/>
          </ac:spMkLst>
        </pc:spChg>
        <pc:spChg chg="add del mod">
          <ac:chgData name="zur bonsen georg" userId="5444515566c7376a" providerId="LiveId" clId="{EE8043E9-5C9D-48E2-83BC-322B6217B78C}" dt="2022-02-15T20:02:20.031" v="270" actId="478"/>
          <ac:spMkLst>
            <pc:docMk/>
            <pc:sldMk cId="1633327501" sldId="505"/>
            <ac:spMk id="134" creationId="{0D8DCB63-BA46-4729-8D70-7CCDAA32A8D9}"/>
          </ac:spMkLst>
        </pc:spChg>
        <pc:spChg chg="add del mod">
          <ac:chgData name="zur bonsen georg" userId="5444515566c7376a" providerId="LiveId" clId="{EE8043E9-5C9D-48E2-83BC-322B6217B78C}" dt="2022-02-15T20:02:20.031" v="270" actId="478"/>
          <ac:spMkLst>
            <pc:docMk/>
            <pc:sldMk cId="1633327501" sldId="505"/>
            <ac:spMk id="135" creationId="{6D3162FB-403A-4ABA-AB63-46D62012259E}"/>
          </ac:spMkLst>
        </pc:spChg>
        <pc:spChg chg="add del mod">
          <ac:chgData name="zur bonsen georg" userId="5444515566c7376a" providerId="LiveId" clId="{EE8043E9-5C9D-48E2-83BC-322B6217B78C}" dt="2022-02-15T20:02:20.031" v="270" actId="478"/>
          <ac:spMkLst>
            <pc:docMk/>
            <pc:sldMk cId="1633327501" sldId="505"/>
            <ac:spMk id="136" creationId="{DB635478-6542-4A86-989D-B5A70E059974}"/>
          </ac:spMkLst>
        </pc:spChg>
        <pc:spChg chg="add del mod">
          <ac:chgData name="zur bonsen georg" userId="5444515566c7376a" providerId="LiveId" clId="{EE8043E9-5C9D-48E2-83BC-322B6217B78C}" dt="2022-02-15T20:02:20.031" v="270" actId="478"/>
          <ac:spMkLst>
            <pc:docMk/>
            <pc:sldMk cId="1633327501" sldId="505"/>
            <ac:spMk id="137" creationId="{7A2CAB94-9B21-47A6-BEC0-23238C3158A4}"/>
          </ac:spMkLst>
        </pc:spChg>
        <pc:spChg chg="add del mod">
          <ac:chgData name="zur bonsen georg" userId="5444515566c7376a" providerId="LiveId" clId="{EE8043E9-5C9D-48E2-83BC-322B6217B78C}" dt="2022-02-15T20:02:20.031" v="270" actId="478"/>
          <ac:spMkLst>
            <pc:docMk/>
            <pc:sldMk cId="1633327501" sldId="505"/>
            <ac:spMk id="138" creationId="{C6F30CEC-AEEC-458E-AE87-70A334ADAEF9}"/>
          </ac:spMkLst>
        </pc:spChg>
        <pc:spChg chg="add del mod">
          <ac:chgData name="zur bonsen georg" userId="5444515566c7376a" providerId="LiveId" clId="{EE8043E9-5C9D-48E2-83BC-322B6217B78C}" dt="2022-02-15T20:02:20.031" v="270" actId="478"/>
          <ac:spMkLst>
            <pc:docMk/>
            <pc:sldMk cId="1633327501" sldId="505"/>
            <ac:spMk id="139" creationId="{4C5B8375-1EA5-44B0-8C1D-E3109BF00C71}"/>
          </ac:spMkLst>
        </pc:spChg>
        <pc:spChg chg="add del mod">
          <ac:chgData name="zur bonsen georg" userId="5444515566c7376a" providerId="LiveId" clId="{EE8043E9-5C9D-48E2-83BC-322B6217B78C}" dt="2022-02-15T20:02:20.031" v="270" actId="478"/>
          <ac:spMkLst>
            <pc:docMk/>
            <pc:sldMk cId="1633327501" sldId="505"/>
            <ac:spMk id="140" creationId="{80A94639-7604-4E25-A397-C91903702141}"/>
          </ac:spMkLst>
        </pc:spChg>
        <pc:spChg chg="del">
          <ac:chgData name="zur bonsen georg" userId="5444515566c7376a" providerId="LiveId" clId="{EE8043E9-5C9D-48E2-83BC-322B6217B78C}" dt="2022-02-15T19:53:31.043" v="1" actId="478"/>
          <ac:spMkLst>
            <pc:docMk/>
            <pc:sldMk cId="1633327501" sldId="505"/>
            <ac:spMk id="141" creationId="{111852E9-11AF-4917-8D8E-E2937C3BCDED}"/>
          </ac:spMkLst>
        </pc:spChg>
        <pc:spChg chg="del">
          <ac:chgData name="zur bonsen georg" userId="5444515566c7376a" providerId="LiveId" clId="{EE8043E9-5C9D-48E2-83BC-322B6217B78C}" dt="2022-02-15T19:53:31.043" v="1" actId="478"/>
          <ac:spMkLst>
            <pc:docMk/>
            <pc:sldMk cId="1633327501" sldId="505"/>
            <ac:spMk id="142" creationId="{20A62F8A-A0C4-4506-8F3D-077C7F783323}"/>
          </ac:spMkLst>
        </pc:spChg>
        <pc:spChg chg="del">
          <ac:chgData name="zur bonsen georg" userId="5444515566c7376a" providerId="LiveId" clId="{EE8043E9-5C9D-48E2-83BC-322B6217B78C}" dt="2022-02-15T19:53:31.043" v="1" actId="478"/>
          <ac:spMkLst>
            <pc:docMk/>
            <pc:sldMk cId="1633327501" sldId="505"/>
            <ac:spMk id="143" creationId="{69E93157-6E15-4A22-B53A-D81F5ED9EB7C}"/>
          </ac:spMkLst>
        </pc:spChg>
        <pc:spChg chg="add del mod">
          <ac:chgData name="zur bonsen georg" userId="5444515566c7376a" providerId="LiveId" clId="{EE8043E9-5C9D-48E2-83BC-322B6217B78C}" dt="2022-02-15T20:02:20.031" v="270" actId="478"/>
          <ac:spMkLst>
            <pc:docMk/>
            <pc:sldMk cId="1633327501" sldId="505"/>
            <ac:spMk id="144" creationId="{C74B181E-2FCC-45C5-9A69-E54223D75F2B}"/>
          </ac:spMkLst>
        </pc:spChg>
        <pc:spChg chg="del">
          <ac:chgData name="zur bonsen georg" userId="5444515566c7376a" providerId="LiveId" clId="{EE8043E9-5C9D-48E2-83BC-322B6217B78C}" dt="2022-02-15T19:53:31.043" v="1" actId="478"/>
          <ac:spMkLst>
            <pc:docMk/>
            <pc:sldMk cId="1633327501" sldId="505"/>
            <ac:spMk id="145" creationId="{2F9A3FCC-E5AF-4EDE-89EE-FCB1D941D9D2}"/>
          </ac:spMkLst>
        </pc:spChg>
        <pc:spChg chg="del">
          <ac:chgData name="zur bonsen georg" userId="5444515566c7376a" providerId="LiveId" clId="{EE8043E9-5C9D-48E2-83BC-322B6217B78C}" dt="2022-02-15T19:53:31.043" v="1" actId="478"/>
          <ac:spMkLst>
            <pc:docMk/>
            <pc:sldMk cId="1633327501" sldId="505"/>
            <ac:spMk id="146" creationId="{3BE4E10E-4288-4F17-82D6-500BBFD35568}"/>
          </ac:spMkLst>
        </pc:spChg>
        <pc:spChg chg="del">
          <ac:chgData name="zur bonsen georg" userId="5444515566c7376a" providerId="LiveId" clId="{EE8043E9-5C9D-48E2-83BC-322B6217B78C}" dt="2022-02-15T19:53:31.043" v="1" actId="478"/>
          <ac:spMkLst>
            <pc:docMk/>
            <pc:sldMk cId="1633327501" sldId="505"/>
            <ac:spMk id="147" creationId="{A921F432-A159-421C-86B1-0CDEE36A9101}"/>
          </ac:spMkLst>
        </pc:spChg>
        <pc:spChg chg="del">
          <ac:chgData name="zur bonsen georg" userId="5444515566c7376a" providerId="LiveId" clId="{EE8043E9-5C9D-48E2-83BC-322B6217B78C}" dt="2022-02-15T19:53:31.043" v="1" actId="478"/>
          <ac:spMkLst>
            <pc:docMk/>
            <pc:sldMk cId="1633327501" sldId="505"/>
            <ac:spMk id="148" creationId="{9B700E25-7A82-499F-B5EC-3DA4FEB1B5ED}"/>
          </ac:spMkLst>
        </pc:spChg>
        <pc:spChg chg="del">
          <ac:chgData name="zur bonsen georg" userId="5444515566c7376a" providerId="LiveId" clId="{EE8043E9-5C9D-48E2-83BC-322B6217B78C}" dt="2022-02-15T19:53:31.043" v="1" actId="478"/>
          <ac:spMkLst>
            <pc:docMk/>
            <pc:sldMk cId="1633327501" sldId="505"/>
            <ac:spMk id="149" creationId="{90BACD2A-9571-4589-B6FC-D267DABB7E27}"/>
          </ac:spMkLst>
        </pc:spChg>
        <pc:spChg chg="del">
          <ac:chgData name="zur bonsen georg" userId="5444515566c7376a" providerId="LiveId" clId="{EE8043E9-5C9D-48E2-83BC-322B6217B78C}" dt="2022-02-15T19:53:31.043" v="1" actId="478"/>
          <ac:spMkLst>
            <pc:docMk/>
            <pc:sldMk cId="1633327501" sldId="505"/>
            <ac:spMk id="150" creationId="{98C3D945-A17E-4D29-AF38-62C2A438FF67}"/>
          </ac:spMkLst>
        </pc:spChg>
        <pc:spChg chg="del">
          <ac:chgData name="zur bonsen georg" userId="5444515566c7376a" providerId="LiveId" clId="{EE8043E9-5C9D-48E2-83BC-322B6217B78C}" dt="2022-02-15T19:53:31.043" v="1" actId="478"/>
          <ac:spMkLst>
            <pc:docMk/>
            <pc:sldMk cId="1633327501" sldId="505"/>
            <ac:spMk id="151" creationId="{D2A37FBC-F35B-483F-9C21-1B94068AB16F}"/>
          </ac:spMkLst>
        </pc:spChg>
        <pc:spChg chg="del">
          <ac:chgData name="zur bonsen georg" userId="5444515566c7376a" providerId="LiveId" clId="{EE8043E9-5C9D-48E2-83BC-322B6217B78C}" dt="2022-02-15T19:53:31.043" v="1" actId="478"/>
          <ac:spMkLst>
            <pc:docMk/>
            <pc:sldMk cId="1633327501" sldId="505"/>
            <ac:spMk id="152" creationId="{C03D292F-738D-41AE-B417-679630C4DF05}"/>
          </ac:spMkLst>
        </pc:spChg>
        <pc:spChg chg="del">
          <ac:chgData name="zur bonsen georg" userId="5444515566c7376a" providerId="LiveId" clId="{EE8043E9-5C9D-48E2-83BC-322B6217B78C}" dt="2022-02-15T19:53:31.043" v="1" actId="478"/>
          <ac:spMkLst>
            <pc:docMk/>
            <pc:sldMk cId="1633327501" sldId="505"/>
            <ac:spMk id="153" creationId="{E5E27AD1-51AF-456C-8362-AB8D821E5C9F}"/>
          </ac:spMkLst>
        </pc:spChg>
        <pc:spChg chg="del">
          <ac:chgData name="zur bonsen georg" userId="5444515566c7376a" providerId="LiveId" clId="{EE8043E9-5C9D-48E2-83BC-322B6217B78C}" dt="2022-02-15T19:53:31.043" v="1" actId="478"/>
          <ac:spMkLst>
            <pc:docMk/>
            <pc:sldMk cId="1633327501" sldId="505"/>
            <ac:spMk id="154" creationId="{B0A4C36A-E8F3-4B83-B963-CFBA4CBF747A}"/>
          </ac:spMkLst>
        </pc:spChg>
        <pc:spChg chg="del">
          <ac:chgData name="zur bonsen georg" userId="5444515566c7376a" providerId="LiveId" clId="{EE8043E9-5C9D-48E2-83BC-322B6217B78C}" dt="2022-02-15T19:53:31.043" v="1" actId="478"/>
          <ac:spMkLst>
            <pc:docMk/>
            <pc:sldMk cId="1633327501" sldId="505"/>
            <ac:spMk id="158" creationId="{998BCDA0-F84E-4B45-A8BE-A0EC2ABAF003}"/>
          </ac:spMkLst>
        </pc:spChg>
        <pc:spChg chg="del">
          <ac:chgData name="zur bonsen georg" userId="5444515566c7376a" providerId="LiveId" clId="{EE8043E9-5C9D-48E2-83BC-322B6217B78C}" dt="2022-02-15T19:53:31.043" v="1" actId="478"/>
          <ac:spMkLst>
            <pc:docMk/>
            <pc:sldMk cId="1633327501" sldId="505"/>
            <ac:spMk id="159" creationId="{00000000-0000-0000-0000-000000000000}"/>
          </ac:spMkLst>
        </pc:spChg>
        <pc:spChg chg="del">
          <ac:chgData name="zur bonsen georg" userId="5444515566c7376a" providerId="LiveId" clId="{EE8043E9-5C9D-48E2-83BC-322B6217B78C}" dt="2022-02-15T19:53:31.043" v="1" actId="478"/>
          <ac:spMkLst>
            <pc:docMk/>
            <pc:sldMk cId="1633327501" sldId="505"/>
            <ac:spMk id="160" creationId="{00000000-0000-0000-0000-000000000000}"/>
          </ac:spMkLst>
        </pc:spChg>
        <pc:spChg chg="del">
          <ac:chgData name="zur bonsen georg" userId="5444515566c7376a" providerId="LiveId" clId="{EE8043E9-5C9D-48E2-83BC-322B6217B78C}" dt="2022-02-15T19:53:31.043" v="1" actId="478"/>
          <ac:spMkLst>
            <pc:docMk/>
            <pc:sldMk cId="1633327501" sldId="505"/>
            <ac:spMk id="161" creationId="{00000000-0000-0000-0000-000000000000}"/>
          </ac:spMkLst>
        </pc:spChg>
        <pc:spChg chg="del">
          <ac:chgData name="zur bonsen georg" userId="5444515566c7376a" providerId="LiveId" clId="{EE8043E9-5C9D-48E2-83BC-322B6217B78C}" dt="2022-02-15T19:53:31.043" v="1" actId="478"/>
          <ac:spMkLst>
            <pc:docMk/>
            <pc:sldMk cId="1633327501" sldId="505"/>
            <ac:spMk id="162" creationId="{F96D71AD-8946-4486-A2FB-B845F307A7D7}"/>
          </ac:spMkLst>
        </pc:spChg>
        <pc:spChg chg="del">
          <ac:chgData name="zur bonsen georg" userId="5444515566c7376a" providerId="LiveId" clId="{EE8043E9-5C9D-48E2-83BC-322B6217B78C}" dt="2022-02-15T19:53:31.043" v="1" actId="478"/>
          <ac:spMkLst>
            <pc:docMk/>
            <pc:sldMk cId="1633327501" sldId="505"/>
            <ac:spMk id="164" creationId="{96EECC82-E343-4468-84AB-9C7BBB7E23BC}"/>
          </ac:spMkLst>
        </pc:spChg>
        <pc:spChg chg="del">
          <ac:chgData name="zur bonsen georg" userId="5444515566c7376a" providerId="LiveId" clId="{EE8043E9-5C9D-48E2-83BC-322B6217B78C}" dt="2022-02-15T19:53:31.043" v="1" actId="478"/>
          <ac:spMkLst>
            <pc:docMk/>
            <pc:sldMk cId="1633327501" sldId="505"/>
            <ac:spMk id="165" creationId="{82DBD61F-8DBA-4FAF-AC10-86BE1ED30324}"/>
          </ac:spMkLst>
        </pc:spChg>
        <pc:spChg chg="del">
          <ac:chgData name="zur bonsen georg" userId="5444515566c7376a" providerId="LiveId" clId="{EE8043E9-5C9D-48E2-83BC-322B6217B78C}" dt="2022-02-15T19:53:31.043" v="1" actId="478"/>
          <ac:spMkLst>
            <pc:docMk/>
            <pc:sldMk cId="1633327501" sldId="505"/>
            <ac:spMk id="166" creationId="{5BFA0279-CA5A-4474-82FD-9FE43EA7A4E1}"/>
          </ac:spMkLst>
        </pc:spChg>
        <pc:spChg chg="del">
          <ac:chgData name="zur bonsen georg" userId="5444515566c7376a" providerId="LiveId" clId="{EE8043E9-5C9D-48E2-83BC-322B6217B78C}" dt="2022-02-15T19:53:31.043" v="1" actId="478"/>
          <ac:spMkLst>
            <pc:docMk/>
            <pc:sldMk cId="1633327501" sldId="505"/>
            <ac:spMk id="167" creationId="{61A6D35C-1B7C-4688-9EB7-108DEBD563A8}"/>
          </ac:spMkLst>
        </pc:spChg>
        <pc:spChg chg="del">
          <ac:chgData name="zur bonsen georg" userId="5444515566c7376a" providerId="LiveId" clId="{EE8043E9-5C9D-48E2-83BC-322B6217B78C}" dt="2022-02-15T19:53:31.043" v="1" actId="478"/>
          <ac:spMkLst>
            <pc:docMk/>
            <pc:sldMk cId="1633327501" sldId="505"/>
            <ac:spMk id="168" creationId="{5149C8AF-2D23-429B-9F30-54B8F50E9DDB}"/>
          </ac:spMkLst>
        </pc:spChg>
        <pc:spChg chg="del">
          <ac:chgData name="zur bonsen georg" userId="5444515566c7376a" providerId="LiveId" clId="{EE8043E9-5C9D-48E2-83BC-322B6217B78C}" dt="2022-02-15T19:53:31.043" v="1" actId="478"/>
          <ac:spMkLst>
            <pc:docMk/>
            <pc:sldMk cId="1633327501" sldId="505"/>
            <ac:spMk id="169" creationId="{B45E4A85-4484-4AD7-A7A7-5DACAD1545DF}"/>
          </ac:spMkLst>
        </pc:spChg>
        <pc:spChg chg="del">
          <ac:chgData name="zur bonsen georg" userId="5444515566c7376a" providerId="LiveId" clId="{EE8043E9-5C9D-48E2-83BC-322B6217B78C}" dt="2022-02-15T19:53:31.043" v="1" actId="478"/>
          <ac:spMkLst>
            <pc:docMk/>
            <pc:sldMk cId="1633327501" sldId="505"/>
            <ac:spMk id="170" creationId="{B8A164BC-7F60-43EA-A451-E0BF13B38F89}"/>
          </ac:spMkLst>
        </pc:spChg>
        <pc:spChg chg="del">
          <ac:chgData name="zur bonsen georg" userId="5444515566c7376a" providerId="LiveId" clId="{EE8043E9-5C9D-48E2-83BC-322B6217B78C}" dt="2022-02-15T19:53:31.043" v="1" actId="478"/>
          <ac:spMkLst>
            <pc:docMk/>
            <pc:sldMk cId="1633327501" sldId="505"/>
            <ac:spMk id="171" creationId="{9D886BC5-31B3-4F59-92C2-663FD87BB04E}"/>
          </ac:spMkLst>
        </pc:spChg>
        <pc:spChg chg="del">
          <ac:chgData name="zur bonsen georg" userId="5444515566c7376a" providerId="LiveId" clId="{EE8043E9-5C9D-48E2-83BC-322B6217B78C}" dt="2022-02-15T19:53:31.043" v="1" actId="478"/>
          <ac:spMkLst>
            <pc:docMk/>
            <pc:sldMk cId="1633327501" sldId="505"/>
            <ac:spMk id="172" creationId="{5219957C-1DFE-4A72-AC78-538BC70D09B9}"/>
          </ac:spMkLst>
        </pc:spChg>
        <pc:spChg chg="del">
          <ac:chgData name="zur bonsen georg" userId="5444515566c7376a" providerId="LiveId" clId="{EE8043E9-5C9D-48E2-83BC-322B6217B78C}" dt="2022-02-15T19:53:31.043" v="1" actId="478"/>
          <ac:spMkLst>
            <pc:docMk/>
            <pc:sldMk cId="1633327501" sldId="505"/>
            <ac:spMk id="173" creationId="{1957F7D2-79E4-4B6A-9B01-0B9C0800A22C}"/>
          </ac:spMkLst>
        </pc:spChg>
        <pc:spChg chg="add del mod">
          <ac:chgData name="zur bonsen georg" userId="5444515566c7376a" providerId="LiveId" clId="{EE8043E9-5C9D-48E2-83BC-322B6217B78C}" dt="2022-02-15T20:02:20.031" v="270" actId="478"/>
          <ac:spMkLst>
            <pc:docMk/>
            <pc:sldMk cId="1633327501" sldId="505"/>
            <ac:spMk id="174" creationId="{C20F729E-1AFA-46DC-B38B-A1F36BAA1830}"/>
          </ac:spMkLst>
        </pc:spChg>
        <pc:spChg chg="del">
          <ac:chgData name="zur bonsen georg" userId="5444515566c7376a" providerId="LiveId" clId="{EE8043E9-5C9D-48E2-83BC-322B6217B78C}" dt="2022-02-15T19:53:31.043" v="1" actId="478"/>
          <ac:spMkLst>
            <pc:docMk/>
            <pc:sldMk cId="1633327501" sldId="505"/>
            <ac:spMk id="175" creationId="{0C805F3A-B7D9-418E-8BC5-CBA3F5B3C84D}"/>
          </ac:spMkLst>
        </pc:spChg>
        <pc:spChg chg="del">
          <ac:chgData name="zur bonsen georg" userId="5444515566c7376a" providerId="LiveId" clId="{EE8043E9-5C9D-48E2-83BC-322B6217B78C}" dt="2022-02-15T19:53:31.043" v="1" actId="478"/>
          <ac:spMkLst>
            <pc:docMk/>
            <pc:sldMk cId="1633327501" sldId="505"/>
            <ac:spMk id="177" creationId="{2831A858-DBF9-49A8-90DB-C04D057608D0}"/>
          </ac:spMkLst>
        </pc:spChg>
        <pc:spChg chg="del">
          <ac:chgData name="zur bonsen georg" userId="5444515566c7376a" providerId="LiveId" clId="{EE8043E9-5C9D-48E2-83BC-322B6217B78C}" dt="2022-02-15T19:53:31.043" v="1" actId="478"/>
          <ac:spMkLst>
            <pc:docMk/>
            <pc:sldMk cId="1633327501" sldId="505"/>
            <ac:spMk id="179" creationId="{45351750-AA90-446B-A6A0-4A892C41E032}"/>
          </ac:spMkLst>
        </pc:spChg>
        <pc:spChg chg="del">
          <ac:chgData name="zur bonsen georg" userId="5444515566c7376a" providerId="LiveId" clId="{EE8043E9-5C9D-48E2-83BC-322B6217B78C}" dt="2022-02-15T19:53:31.043" v="1" actId="478"/>
          <ac:spMkLst>
            <pc:docMk/>
            <pc:sldMk cId="1633327501" sldId="505"/>
            <ac:spMk id="180" creationId="{498512E8-F2EE-4D9B-B52C-8E6D8EADC7C5}"/>
          </ac:spMkLst>
        </pc:spChg>
        <pc:spChg chg="del">
          <ac:chgData name="zur bonsen georg" userId="5444515566c7376a" providerId="LiveId" clId="{EE8043E9-5C9D-48E2-83BC-322B6217B78C}" dt="2022-02-15T19:53:31.043" v="1" actId="478"/>
          <ac:spMkLst>
            <pc:docMk/>
            <pc:sldMk cId="1633327501" sldId="505"/>
            <ac:spMk id="181" creationId="{ADCE9F79-0373-4FD9-B36E-8DD0F3A8157A}"/>
          </ac:spMkLst>
        </pc:spChg>
        <pc:spChg chg="del">
          <ac:chgData name="zur bonsen georg" userId="5444515566c7376a" providerId="LiveId" clId="{EE8043E9-5C9D-48E2-83BC-322B6217B78C}" dt="2022-02-15T19:53:31.043" v="1" actId="478"/>
          <ac:spMkLst>
            <pc:docMk/>
            <pc:sldMk cId="1633327501" sldId="505"/>
            <ac:spMk id="182" creationId="{20788141-6AC5-48C8-B5AE-6A40A351A9C6}"/>
          </ac:spMkLst>
        </pc:spChg>
        <pc:spChg chg="del">
          <ac:chgData name="zur bonsen georg" userId="5444515566c7376a" providerId="LiveId" clId="{EE8043E9-5C9D-48E2-83BC-322B6217B78C}" dt="2022-02-15T19:53:31.043" v="1" actId="478"/>
          <ac:spMkLst>
            <pc:docMk/>
            <pc:sldMk cId="1633327501" sldId="505"/>
            <ac:spMk id="183" creationId="{D7D64DD9-E1B3-48A2-8E5E-0C9DB27F2DE5}"/>
          </ac:spMkLst>
        </pc:spChg>
        <pc:spChg chg="del">
          <ac:chgData name="zur bonsen georg" userId="5444515566c7376a" providerId="LiveId" clId="{EE8043E9-5C9D-48E2-83BC-322B6217B78C}" dt="2022-02-15T19:53:31.043" v="1" actId="478"/>
          <ac:spMkLst>
            <pc:docMk/>
            <pc:sldMk cId="1633327501" sldId="505"/>
            <ac:spMk id="185" creationId="{3E6FA744-CE8F-469A-9F6C-52789161A1D2}"/>
          </ac:spMkLst>
        </pc:spChg>
        <pc:spChg chg="del">
          <ac:chgData name="zur bonsen georg" userId="5444515566c7376a" providerId="LiveId" clId="{EE8043E9-5C9D-48E2-83BC-322B6217B78C}" dt="2022-02-15T19:53:31.043" v="1" actId="478"/>
          <ac:spMkLst>
            <pc:docMk/>
            <pc:sldMk cId="1633327501" sldId="505"/>
            <ac:spMk id="186" creationId="{53299677-3D1C-430A-83DE-83AE2EF706D8}"/>
          </ac:spMkLst>
        </pc:spChg>
        <pc:spChg chg="del">
          <ac:chgData name="zur bonsen georg" userId="5444515566c7376a" providerId="LiveId" clId="{EE8043E9-5C9D-48E2-83BC-322B6217B78C}" dt="2022-02-15T19:53:31.043" v="1" actId="478"/>
          <ac:spMkLst>
            <pc:docMk/>
            <pc:sldMk cId="1633327501" sldId="505"/>
            <ac:spMk id="187" creationId="{643A480D-E73D-462A-986C-52FEE163B673}"/>
          </ac:spMkLst>
        </pc:spChg>
        <pc:spChg chg="del">
          <ac:chgData name="zur bonsen georg" userId="5444515566c7376a" providerId="LiveId" clId="{EE8043E9-5C9D-48E2-83BC-322B6217B78C}" dt="2022-02-15T19:53:31.043" v="1" actId="478"/>
          <ac:spMkLst>
            <pc:docMk/>
            <pc:sldMk cId="1633327501" sldId="505"/>
            <ac:spMk id="188" creationId="{CA302A4C-9812-46FB-BCF9-5EDB131BD812}"/>
          </ac:spMkLst>
        </pc:spChg>
        <pc:spChg chg="del">
          <ac:chgData name="zur bonsen georg" userId="5444515566c7376a" providerId="LiveId" clId="{EE8043E9-5C9D-48E2-83BC-322B6217B78C}" dt="2022-02-15T19:53:31.043" v="1" actId="478"/>
          <ac:spMkLst>
            <pc:docMk/>
            <pc:sldMk cId="1633327501" sldId="505"/>
            <ac:spMk id="191" creationId="{2F6F4912-E144-4E62-8EBE-9FD52E2CD542}"/>
          </ac:spMkLst>
        </pc:spChg>
        <pc:spChg chg="add del mod">
          <ac:chgData name="zur bonsen georg" userId="5444515566c7376a" providerId="LiveId" clId="{EE8043E9-5C9D-48E2-83BC-322B6217B78C}" dt="2022-02-15T20:02:20.031" v="270" actId="478"/>
          <ac:spMkLst>
            <pc:docMk/>
            <pc:sldMk cId="1633327501" sldId="505"/>
            <ac:spMk id="193" creationId="{2CA9A344-3694-4653-A5FD-F03C45F8417A}"/>
          </ac:spMkLst>
        </pc:spChg>
        <pc:spChg chg="del">
          <ac:chgData name="zur bonsen georg" userId="5444515566c7376a" providerId="LiveId" clId="{EE8043E9-5C9D-48E2-83BC-322B6217B78C}" dt="2022-02-15T19:53:31.043" v="1" actId="478"/>
          <ac:spMkLst>
            <pc:docMk/>
            <pc:sldMk cId="1633327501" sldId="505"/>
            <ac:spMk id="194"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195" creationId="{41326B73-D94C-4816-BDA3-BD92002C02EE}"/>
          </ac:spMkLst>
        </pc:spChg>
        <pc:spChg chg="add del mod">
          <ac:chgData name="zur bonsen georg" userId="5444515566c7376a" providerId="LiveId" clId="{EE8043E9-5C9D-48E2-83BC-322B6217B78C}" dt="2022-02-15T20:02:20.031" v="270" actId="478"/>
          <ac:spMkLst>
            <pc:docMk/>
            <pc:sldMk cId="1633327501" sldId="505"/>
            <ac:spMk id="196" creationId="{AD2D45C8-D887-4B84-9A03-2431CDC126DD}"/>
          </ac:spMkLst>
        </pc:spChg>
        <pc:spChg chg="add del mod">
          <ac:chgData name="zur bonsen georg" userId="5444515566c7376a" providerId="LiveId" clId="{EE8043E9-5C9D-48E2-83BC-322B6217B78C}" dt="2022-02-15T20:02:20.031" v="270" actId="478"/>
          <ac:spMkLst>
            <pc:docMk/>
            <pc:sldMk cId="1633327501" sldId="505"/>
            <ac:spMk id="197" creationId="{1F68C113-A543-47BD-BCC6-EA0067064B5F}"/>
          </ac:spMkLst>
        </pc:spChg>
        <pc:spChg chg="add del mod">
          <ac:chgData name="zur bonsen georg" userId="5444515566c7376a" providerId="LiveId" clId="{EE8043E9-5C9D-48E2-83BC-322B6217B78C}" dt="2022-02-15T20:02:20.031" v="270" actId="478"/>
          <ac:spMkLst>
            <pc:docMk/>
            <pc:sldMk cId="1633327501" sldId="505"/>
            <ac:spMk id="198" creationId="{2FB14643-7EEB-4F5E-B262-8F1FA53F0B04}"/>
          </ac:spMkLst>
        </pc:spChg>
        <pc:spChg chg="add del mod">
          <ac:chgData name="zur bonsen georg" userId="5444515566c7376a" providerId="LiveId" clId="{EE8043E9-5C9D-48E2-83BC-322B6217B78C}" dt="2022-02-15T20:02:20.031" v="270" actId="478"/>
          <ac:spMkLst>
            <pc:docMk/>
            <pc:sldMk cId="1633327501" sldId="505"/>
            <ac:spMk id="199" creationId="{0EEF3326-EFD4-4EF4-9C02-BDCF4918279B}"/>
          </ac:spMkLst>
        </pc:spChg>
        <pc:spChg chg="add del mod">
          <ac:chgData name="zur bonsen georg" userId="5444515566c7376a" providerId="LiveId" clId="{EE8043E9-5C9D-48E2-83BC-322B6217B78C}" dt="2022-02-15T20:02:20.031" v="270" actId="478"/>
          <ac:spMkLst>
            <pc:docMk/>
            <pc:sldMk cId="1633327501" sldId="505"/>
            <ac:spMk id="203" creationId="{0E7811C6-94E5-4256-BC23-377F9CA666BB}"/>
          </ac:spMkLst>
        </pc:spChg>
        <pc:spChg chg="add del mod">
          <ac:chgData name="zur bonsen georg" userId="5444515566c7376a" providerId="LiveId" clId="{EE8043E9-5C9D-48E2-83BC-322B6217B78C}" dt="2022-02-15T20:02:20.031" v="270" actId="478"/>
          <ac:spMkLst>
            <pc:docMk/>
            <pc:sldMk cId="1633327501" sldId="505"/>
            <ac:spMk id="204" creationId="{09344DD6-262C-4554-90FC-FD0F5305EAC0}"/>
          </ac:spMkLst>
        </pc:spChg>
        <pc:spChg chg="add del mod">
          <ac:chgData name="zur bonsen georg" userId="5444515566c7376a" providerId="LiveId" clId="{EE8043E9-5C9D-48E2-83BC-322B6217B78C}" dt="2022-02-15T20:02:20.031" v="270" actId="478"/>
          <ac:spMkLst>
            <pc:docMk/>
            <pc:sldMk cId="1633327501" sldId="505"/>
            <ac:spMk id="205" creationId="{1F58BD2A-AFCE-43FA-89B8-D0DBAADF2E69}"/>
          </ac:spMkLst>
        </pc:spChg>
        <pc:spChg chg="add del mod">
          <ac:chgData name="zur bonsen georg" userId="5444515566c7376a" providerId="LiveId" clId="{EE8043E9-5C9D-48E2-83BC-322B6217B78C}" dt="2022-02-15T20:02:20.031" v="270" actId="478"/>
          <ac:spMkLst>
            <pc:docMk/>
            <pc:sldMk cId="1633327501" sldId="505"/>
            <ac:spMk id="206" creationId="{A1C958C0-66BF-4275-99D0-DA439BEBFD9E}"/>
          </ac:spMkLst>
        </pc:spChg>
        <pc:spChg chg="add del mod">
          <ac:chgData name="zur bonsen georg" userId="5444515566c7376a" providerId="LiveId" clId="{EE8043E9-5C9D-48E2-83BC-322B6217B78C}" dt="2022-02-15T20:02:20.031" v="270" actId="478"/>
          <ac:spMkLst>
            <pc:docMk/>
            <pc:sldMk cId="1633327501" sldId="505"/>
            <ac:spMk id="207" creationId="{84B2786C-6333-46A9-AAE8-3D00063A8094}"/>
          </ac:spMkLst>
        </pc:spChg>
        <pc:spChg chg="add del mod">
          <ac:chgData name="zur bonsen georg" userId="5444515566c7376a" providerId="LiveId" clId="{EE8043E9-5C9D-48E2-83BC-322B6217B78C}" dt="2022-02-15T20:02:20.031" v="270" actId="478"/>
          <ac:spMkLst>
            <pc:docMk/>
            <pc:sldMk cId="1633327501" sldId="505"/>
            <ac:spMk id="208" creationId="{8A34F286-07A1-444C-9F48-94B9E174D53E}"/>
          </ac:spMkLst>
        </pc:spChg>
        <pc:spChg chg="del">
          <ac:chgData name="zur bonsen georg" userId="5444515566c7376a" providerId="LiveId" clId="{EE8043E9-5C9D-48E2-83BC-322B6217B78C}" dt="2022-02-15T19:53:31.043" v="1" actId="478"/>
          <ac:spMkLst>
            <pc:docMk/>
            <pc:sldMk cId="1633327501" sldId="505"/>
            <ac:spMk id="212" creationId="{00000000-0000-0000-0000-000000000000}"/>
          </ac:spMkLst>
        </pc:spChg>
        <pc:spChg chg="del">
          <ac:chgData name="zur bonsen georg" userId="5444515566c7376a" providerId="LiveId" clId="{EE8043E9-5C9D-48E2-83BC-322B6217B78C}" dt="2022-02-15T19:53:31.043" v="1" actId="478"/>
          <ac:spMkLst>
            <pc:docMk/>
            <pc:sldMk cId="1633327501" sldId="505"/>
            <ac:spMk id="213"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215" creationId="{B55099C8-FB8C-4DCF-A614-3BAE4EE85062}"/>
          </ac:spMkLst>
        </pc:spChg>
        <pc:spChg chg="add mod">
          <ac:chgData name="zur bonsen georg" userId="5444515566c7376a" providerId="LiveId" clId="{EE8043E9-5C9D-48E2-83BC-322B6217B78C}" dt="2022-02-15T21:21:08.784" v="1629" actId="1076"/>
          <ac:spMkLst>
            <pc:docMk/>
            <pc:sldMk cId="1633327501" sldId="505"/>
            <ac:spMk id="218" creationId="{2743CDF9-3743-4377-9083-A9EBC3CE6164}"/>
          </ac:spMkLst>
        </pc:spChg>
        <pc:spChg chg="add mod">
          <ac:chgData name="zur bonsen georg" userId="5444515566c7376a" providerId="LiveId" clId="{EE8043E9-5C9D-48E2-83BC-322B6217B78C}" dt="2022-02-15T21:29:52.429" v="1809" actId="313"/>
          <ac:spMkLst>
            <pc:docMk/>
            <pc:sldMk cId="1633327501" sldId="505"/>
            <ac:spMk id="220" creationId="{7741CC60-AEE3-4976-A21D-4A0C78373F1F}"/>
          </ac:spMkLst>
        </pc:spChg>
        <pc:spChg chg="del">
          <ac:chgData name="zur bonsen georg" userId="5444515566c7376a" providerId="LiveId" clId="{EE8043E9-5C9D-48E2-83BC-322B6217B78C}" dt="2022-02-15T19:53:31.043" v="1" actId="478"/>
          <ac:spMkLst>
            <pc:docMk/>
            <pc:sldMk cId="1633327501" sldId="505"/>
            <ac:spMk id="222" creationId="{00000000-0000-0000-0000-000000000000}"/>
          </ac:spMkLst>
        </pc:spChg>
        <pc:spChg chg="del">
          <ac:chgData name="zur bonsen georg" userId="5444515566c7376a" providerId="LiveId" clId="{EE8043E9-5C9D-48E2-83BC-322B6217B78C}" dt="2022-02-15T19:53:31.043" v="1" actId="478"/>
          <ac:spMkLst>
            <pc:docMk/>
            <pc:sldMk cId="1633327501" sldId="505"/>
            <ac:spMk id="223" creationId="{00000000-0000-0000-0000-000000000000}"/>
          </ac:spMkLst>
        </pc:spChg>
        <pc:spChg chg="add mod">
          <ac:chgData name="zur bonsen georg" userId="5444515566c7376a" providerId="LiveId" clId="{EE8043E9-5C9D-48E2-83BC-322B6217B78C}" dt="2022-02-15T21:31:24.050" v="1829" actId="20577"/>
          <ac:spMkLst>
            <pc:docMk/>
            <pc:sldMk cId="1633327501" sldId="505"/>
            <ac:spMk id="225" creationId="{615E0C81-37C6-42DD-B563-19B249406534}"/>
          </ac:spMkLst>
        </pc:spChg>
        <pc:spChg chg="add del mod">
          <ac:chgData name="zur bonsen georg" userId="5444515566c7376a" providerId="LiveId" clId="{EE8043E9-5C9D-48E2-83BC-322B6217B78C}" dt="2022-02-15T19:56:13.379" v="66" actId="478"/>
          <ac:spMkLst>
            <pc:docMk/>
            <pc:sldMk cId="1633327501" sldId="505"/>
            <ac:spMk id="226" creationId="{5F19C497-5F9E-4000-A6B3-9DD036D7243D}"/>
          </ac:spMkLst>
        </pc:spChg>
        <pc:spChg chg="add mod ord">
          <ac:chgData name="zur bonsen georg" userId="5444515566c7376a" providerId="LiveId" clId="{EE8043E9-5C9D-48E2-83BC-322B6217B78C}" dt="2022-02-15T21:21:08.784" v="1629" actId="1076"/>
          <ac:spMkLst>
            <pc:docMk/>
            <pc:sldMk cId="1633327501" sldId="505"/>
            <ac:spMk id="227" creationId="{79322FA6-C068-44D3-95C2-34F1AD4E1812}"/>
          </ac:spMkLst>
        </pc:spChg>
        <pc:spChg chg="del">
          <ac:chgData name="zur bonsen georg" userId="5444515566c7376a" providerId="LiveId" clId="{EE8043E9-5C9D-48E2-83BC-322B6217B78C}" dt="2022-02-15T19:53:31.043" v="1" actId="478"/>
          <ac:spMkLst>
            <pc:docMk/>
            <pc:sldMk cId="1633327501" sldId="505"/>
            <ac:spMk id="228" creationId="{00000000-0000-0000-0000-000000000000}"/>
          </ac:spMkLst>
        </pc:spChg>
        <pc:spChg chg="add del mod">
          <ac:chgData name="zur bonsen georg" userId="5444515566c7376a" providerId="LiveId" clId="{EE8043E9-5C9D-48E2-83BC-322B6217B78C}" dt="2022-02-15T19:57:26.795" v="90" actId="478"/>
          <ac:spMkLst>
            <pc:docMk/>
            <pc:sldMk cId="1633327501" sldId="505"/>
            <ac:spMk id="229" creationId="{229AD808-3167-4E1B-A326-D5974BCDF827}"/>
          </ac:spMkLst>
        </pc:spChg>
        <pc:spChg chg="add del mod">
          <ac:chgData name="zur bonsen georg" userId="5444515566c7376a" providerId="LiveId" clId="{EE8043E9-5C9D-48E2-83BC-322B6217B78C}" dt="2022-02-15T19:57:26.795" v="90" actId="478"/>
          <ac:spMkLst>
            <pc:docMk/>
            <pc:sldMk cId="1633327501" sldId="505"/>
            <ac:spMk id="231" creationId="{224EE366-2486-403B-A0B0-7588FE65FC87}"/>
          </ac:spMkLst>
        </pc:spChg>
        <pc:spChg chg="add mod">
          <ac:chgData name="zur bonsen georg" userId="5444515566c7376a" providerId="LiveId" clId="{EE8043E9-5C9D-48E2-83BC-322B6217B78C}" dt="2022-02-15T21:21:08.784" v="1629" actId="1076"/>
          <ac:spMkLst>
            <pc:docMk/>
            <pc:sldMk cId="1633327501" sldId="505"/>
            <ac:spMk id="232" creationId="{7C276195-FC44-49FF-8CE4-6B525F5068E7}"/>
          </ac:spMkLst>
        </pc:spChg>
        <pc:spChg chg="add mod">
          <ac:chgData name="zur bonsen georg" userId="5444515566c7376a" providerId="LiveId" clId="{EE8043E9-5C9D-48E2-83BC-322B6217B78C}" dt="2022-02-15T21:21:08.784" v="1629" actId="1076"/>
          <ac:spMkLst>
            <pc:docMk/>
            <pc:sldMk cId="1633327501" sldId="505"/>
            <ac:spMk id="233" creationId="{D87E5F20-95E8-4896-A92D-C21FC52EEDD8}"/>
          </ac:spMkLst>
        </pc:spChg>
        <pc:spChg chg="add mod">
          <ac:chgData name="zur bonsen georg" userId="5444515566c7376a" providerId="LiveId" clId="{EE8043E9-5C9D-48E2-83BC-322B6217B78C}" dt="2022-02-15T21:21:08.784" v="1629" actId="1076"/>
          <ac:spMkLst>
            <pc:docMk/>
            <pc:sldMk cId="1633327501" sldId="505"/>
            <ac:spMk id="234" creationId="{B9FDAF6F-8473-4FF8-94E7-409ED09F3ACA}"/>
          </ac:spMkLst>
        </pc:spChg>
        <pc:spChg chg="add mod">
          <ac:chgData name="zur bonsen georg" userId="5444515566c7376a" providerId="LiveId" clId="{EE8043E9-5C9D-48E2-83BC-322B6217B78C}" dt="2022-02-15T21:21:18.160" v="1658" actId="1076"/>
          <ac:spMkLst>
            <pc:docMk/>
            <pc:sldMk cId="1633327501" sldId="505"/>
            <ac:spMk id="235" creationId="{A9663F1E-595A-4296-9EFE-2DE5EDE64D91}"/>
          </ac:spMkLst>
        </pc:spChg>
        <pc:spChg chg="add mod">
          <ac:chgData name="zur bonsen georg" userId="5444515566c7376a" providerId="LiveId" clId="{EE8043E9-5C9D-48E2-83BC-322B6217B78C}" dt="2022-02-15T21:21:18.160" v="1658" actId="1076"/>
          <ac:spMkLst>
            <pc:docMk/>
            <pc:sldMk cId="1633327501" sldId="505"/>
            <ac:spMk id="236" creationId="{1E823A39-630B-4C8F-8637-CB81158C6188}"/>
          </ac:spMkLst>
        </pc:spChg>
        <pc:spChg chg="del">
          <ac:chgData name="zur bonsen georg" userId="5444515566c7376a" providerId="LiveId" clId="{EE8043E9-5C9D-48E2-83BC-322B6217B78C}" dt="2022-02-15T19:53:31.043" v="1" actId="478"/>
          <ac:spMkLst>
            <pc:docMk/>
            <pc:sldMk cId="1633327501" sldId="505"/>
            <ac:spMk id="238" creationId="{00000000-0000-0000-0000-000000000000}"/>
          </ac:spMkLst>
        </pc:spChg>
        <pc:spChg chg="del">
          <ac:chgData name="zur bonsen georg" userId="5444515566c7376a" providerId="LiveId" clId="{EE8043E9-5C9D-48E2-83BC-322B6217B78C}" dt="2022-02-15T19:53:31.043" v="1" actId="478"/>
          <ac:spMkLst>
            <pc:docMk/>
            <pc:sldMk cId="1633327501" sldId="505"/>
            <ac:spMk id="239" creationId="{00000000-0000-0000-0000-000000000000}"/>
          </ac:spMkLst>
        </pc:spChg>
        <pc:spChg chg="add mod">
          <ac:chgData name="zur bonsen georg" userId="5444515566c7376a" providerId="LiveId" clId="{EE8043E9-5C9D-48E2-83BC-322B6217B78C}" dt="2022-02-15T21:29:53.113" v="1810" actId="313"/>
          <ac:spMkLst>
            <pc:docMk/>
            <pc:sldMk cId="1633327501" sldId="505"/>
            <ac:spMk id="240" creationId="{96862925-6454-43FD-B0F6-098F8AFBFA34}"/>
          </ac:spMkLst>
        </pc:spChg>
        <pc:spChg chg="add mod">
          <ac:chgData name="zur bonsen georg" userId="5444515566c7376a" providerId="LiveId" clId="{EE8043E9-5C9D-48E2-83BC-322B6217B78C}" dt="2022-02-15T21:31:30.677" v="1833" actId="20577"/>
          <ac:spMkLst>
            <pc:docMk/>
            <pc:sldMk cId="1633327501" sldId="505"/>
            <ac:spMk id="243" creationId="{E36522DB-DBC3-4F57-9EE9-31302A9585EA}"/>
          </ac:spMkLst>
        </pc:spChg>
        <pc:spChg chg="add mod">
          <ac:chgData name="zur bonsen georg" userId="5444515566c7376a" providerId="LiveId" clId="{EE8043E9-5C9D-48E2-83BC-322B6217B78C}" dt="2022-02-15T21:21:18.160" v="1658" actId="1076"/>
          <ac:spMkLst>
            <pc:docMk/>
            <pc:sldMk cId="1633327501" sldId="505"/>
            <ac:spMk id="244" creationId="{A3CF62A9-AE23-45BB-BEEE-E4503C9023F4}"/>
          </ac:spMkLst>
        </pc:spChg>
        <pc:spChg chg="add mod">
          <ac:chgData name="zur bonsen georg" userId="5444515566c7376a" providerId="LiveId" clId="{EE8043E9-5C9D-48E2-83BC-322B6217B78C}" dt="2022-02-15T21:21:18.160" v="1658" actId="1076"/>
          <ac:spMkLst>
            <pc:docMk/>
            <pc:sldMk cId="1633327501" sldId="505"/>
            <ac:spMk id="245" creationId="{60CCA959-4008-4005-8323-3A48B9E8DAD2}"/>
          </ac:spMkLst>
        </pc:spChg>
        <pc:spChg chg="add mod">
          <ac:chgData name="zur bonsen georg" userId="5444515566c7376a" providerId="LiveId" clId="{EE8043E9-5C9D-48E2-83BC-322B6217B78C}" dt="2022-02-15T21:21:18.160" v="1658" actId="1076"/>
          <ac:spMkLst>
            <pc:docMk/>
            <pc:sldMk cId="1633327501" sldId="505"/>
            <ac:spMk id="246" creationId="{9B9604F6-5805-456C-9DCE-09F80792EFF4}"/>
          </ac:spMkLst>
        </pc:spChg>
        <pc:spChg chg="add mod">
          <ac:chgData name="zur bonsen georg" userId="5444515566c7376a" providerId="LiveId" clId="{EE8043E9-5C9D-48E2-83BC-322B6217B78C}" dt="2022-02-15T21:21:28.226" v="1659" actId="1036"/>
          <ac:spMkLst>
            <pc:docMk/>
            <pc:sldMk cId="1633327501" sldId="505"/>
            <ac:spMk id="247" creationId="{FBAF8D4C-D429-4E51-9E74-4CAB70FABBE9}"/>
          </ac:spMkLst>
        </pc:spChg>
        <pc:spChg chg="add mod">
          <ac:chgData name="zur bonsen georg" userId="5444515566c7376a" providerId="LiveId" clId="{EE8043E9-5C9D-48E2-83BC-322B6217B78C}" dt="2022-02-15T21:31:07.066" v="1821" actId="1076"/>
          <ac:spMkLst>
            <pc:docMk/>
            <pc:sldMk cId="1633327501" sldId="505"/>
            <ac:spMk id="248" creationId="{3AE5EAC8-9F57-4D9C-965D-63A125B68119}"/>
          </ac:spMkLst>
        </pc:spChg>
        <pc:spChg chg="add del mod">
          <ac:chgData name="zur bonsen georg" userId="5444515566c7376a" providerId="LiveId" clId="{EE8043E9-5C9D-48E2-83BC-322B6217B78C}" dt="2022-02-15T20:31:29.490" v="1572" actId="478"/>
          <ac:spMkLst>
            <pc:docMk/>
            <pc:sldMk cId="1633327501" sldId="505"/>
            <ac:spMk id="249" creationId="{CAE21374-9CAF-4986-B534-3B51BE3CE9C3}"/>
          </ac:spMkLst>
        </pc:spChg>
        <pc:spChg chg="add del mod">
          <ac:chgData name="zur bonsen georg" userId="5444515566c7376a" providerId="LiveId" clId="{EE8043E9-5C9D-48E2-83BC-322B6217B78C}" dt="2022-02-15T21:20:52.128" v="1628" actId="478"/>
          <ac:spMkLst>
            <pc:docMk/>
            <pc:sldMk cId="1633327501" sldId="505"/>
            <ac:spMk id="250" creationId="{9FD6393B-8EF8-42DD-96AC-63FB37143874}"/>
          </ac:spMkLst>
        </pc:spChg>
        <pc:spChg chg="add del mod">
          <ac:chgData name="zur bonsen georg" userId="5444515566c7376a" providerId="LiveId" clId="{EE8043E9-5C9D-48E2-83BC-322B6217B78C}" dt="2022-02-15T20:31:29.490" v="1572" actId="478"/>
          <ac:spMkLst>
            <pc:docMk/>
            <pc:sldMk cId="1633327501" sldId="505"/>
            <ac:spMk id="251" creationId="{C5D6177B-27CC-45BE-80DC-25DF08BA32C2}"/>
          </ac:spMkLst>
        </pc:spChg>
        <pc:spChg chg="add del mod">
          <ac:chgData name="zur bonsen georg" userId="5444515566c7376a" providerId="LiveId" clId="{EE8043E9-5C9D-48E2-83BC-322B6217B78C}" dt="2022-02-15T21:20:52.128" v="1628" actId="478"/>
          <ac:spMkLst>
            <pc:docMk/>
            <pc:sldMk cId="1633327501" sldId="505"/>
            <ac:spMk id="252" creationId="{690F7A4F-8508-4805-9550-AB9F21B6DD03}"/>
          </ac:spMkLst>
        </pc:spChg>
        <pc:spChg chg="add mod">
          <ac:chgData name="zur bonsen georg" userId="5444515566c7376a" providerId="LiveId" clId="{EE8043E9-5C9D-48E2-83BC-322B6217B78C}" dt="2022-02-15T21:48:47.364" v="2199" actId="20577"/>
          <ac:spMkLst>
            <pc:docMk/>
            <pc:sldMk cId="1633327501" sldId="505"/>
            <ac:spMk id="253" creationId="{1901CE74-2AFC-4D11-9975-63BFECADE02B}"/>
          </ac:spMkLst>
        </pc:spChg>
        <pc:spChg chg="add mod">
          <ac:chgData name="zur bonsen georg" userId="5444515566c7376a" providerId="LiveId" clId="{EE8043E9-5C9D-48E2-83BC-322B6217B78C}" dt="2022-02-15T21:21:39.334" v="1660" actId="1076"/>
          <ac:spMkLst>
            <pc:docMk/>
            <pc:sldMk cId="1633327501" sldId="505"/>
            <ac:spMk id="254" creationId="{895FBFF8-5F63-4650-AF10-690CDDF439F2}"/>
          </ac:spMkLst>
        </pc:spChg>
        <pc:spChg chg="add mod">
          <ac:chgData name="zur bonsen georg" userId="5444515566c7376a" providerId="LiveId" clId="{EE8043E9-5C9D-48E2-83BC-322B6217B78C}" dt="2022-02-15T21:48:45.577" v="2198" actId="20577"/>
          <ac:spMkLst>
            <pc:docMk/>
            <pc:sldMk cId="1633327501" sldId="505"/>
            <ac:spMk id="255" creationId="{ED97300B-7B9A-4B63-B8ED-8179621CF3C8}"/>
          </ac:spMkLst>
        </pc:spChg>
        <pc:spChg chg="add del mod">
          <ac:chgData name="zur bonsen georg" userId="5444515566c7376a" providerId="LiveId" clId="{EE8043E9-5C9D-48E2-83BC-322B6217B78C}" dt="2022-02-15T21:26:55.028" v="1797" actId="478"/>
          <ac:spMkLst>
            <pc:docMk/>
            <pc:sldMk cId="1633327501" sldId="505"/>
            <ac:spMk id="256" creationId="{B4371D29-BE75-4F22-BAFE-320CF9D28CD3}"/>
          </ac:spMkLst>
        </pc:spChg>
        <pc:spChg chg="add del mod">
          <ac:chgData name="zur bonsen georg" userId="5444515566c7376a" providerId="LiveId" clId="{EE8043E9-5C9D-48E2-83BC-322B6217B78C}" dt="2022-02-15T21:26:53.584" v="1796" actId="478"/>
          <ac:spMkLst>
            <pc:docMk/>
            <pc:sldMk cId="1633327501" sldId="505"/>
            <ac:spMk id="257" creationId="{8D4547BA-62C8-4BBF-962B-C893804FBDEC}"/>
          </ac:spMkLst>
        </pc:spChg>
        <pc:spChg chg="add del mod">
          <ac:chgData name="zur bonsen georg" userId="5444515566c7376a" providerId="LiveId" clId="{EE8043E9-5C9D-48E2-83BC-322B6217B78C}" dt="2022-02-15T20:22:14.539" v="1368" actId="478"/>
          <ac:spMkLst>
            <pc:docMk/>
            <pc:sldMk cId="1633327501" sldId="505"/>
            <ac:spMk id="258" creationId="{7CBD5BB9-6CCB-4FB3-A9EF-21BDB58F47FF}"/>
          </ac:spMkLst>
        </pc:spChg>
        <pc:spChg chg="add mod">
          <ac:chgData name="zur bonsen georg" userId="5444515566c7376a" providerId="LiveId" clId="{EE8043E9-5C9D-48E2-83BC-322B6217B78C}" dt="2022-02-15T21:27:12.306" v="1800" actId="1035"/>
          <ac:spMkLst>
            <pc:docMk/>
            <pc:sldMk cId="1633327501" sldId="505"/>
            <ac:spMk id="259" creationId="{10F2ECFF-D7C2-44D8-B783-84410BF0815C}"/>
          </ac:spMkLst>
        </pc:spChg>
        <pc:spChg chg="add mod">
          <ac:chgData name="zur bonsen georg" userId="5444515566c7376a" providerId="LiveId" clId="{EE8043E9-5C9D-48E2-83BC-322B6217B78C}" dt="2022-02-15T21:27:16.794" v="1801" actId="1036"/>
          <ac:spMkLst>
            <pc:docMk/>
            <pc:sldMk cId="1633327501" sldId="505"/>
            <ac:spMk id="260" creationId="{4266DA77-361A-4335-A80E-8782BE71C9B7}"/>
          </ac:spMkLst>
        </pc:spChg>
        <pc:spChg chg="add mod">
          <ac:chgData name="zur bonsen georg" userId="5444515566c7376a" providerId="LiveId" clId="{EE8043E9-5C9D-48E2-83BC-322B6217B78C}" dt="2022-02-15T21:42:17.050" v="2101" actId="1038"/>
          <ac:spMkLst>
            <pc:docMk/>
            <pc:sldMk cId="1633327501" sldId="505"/>
            <ac:spMk id="261" creationId="{2C20A403-F1D4-44DB-A3C6-ACB25EE28C00}"/>
          </ac:spMkLst>
        </pc:spChg>
        <pc:spChg chg="add mod">
          <ac:chgData name="zur bonsen georg" userId="5444515566c7376a" providerId="LiveId" clId="{EE8043E9-5C9D-48E2-83BC-322B6217B78C}" dt="2022-02-15T21:46:22.740" v="2167" actId="14100"/>
          <ac:spMkLst>
            <pc:docMk/>
            <pc:sldMk cId="1633327501" sldId="505"/>
            <ac:spMk id="262" creationId="{D2E0778D-74D7-4778-A322-EC2A2F118B9C}"/>
          </ac:spMkLst>
        </pc:spChg>
        <pc:spChg chg="del">
          <ac:chgData name="zur bonsen georg" userId="5444515566c7376a" providerId="LiveId" clId="{EE8043E9-5C9D-48E2-83BC-322B6217B78C}" dt="2022-02-15T19:53:31.043" v="1" actId="478"/>
          <ac:spMkLst>
            <pc:docMk/>
            <pc:sldMk cId="1633327501" sldId="505"/>
            <ac:spMk id="270" creationId="{00000000-0000-0000-0000-000000000000}"/>
          </ac:spMkLst>
        </pc:spChg>
        <pc:spChg chg="del">
          <ac:chgData name="zur bonsen georg" userId="5444515566c7376a" providerId="LiveId" clId="{EE8043E9-5C9D-48E2-83BC-322B6217B78C}" dt="2022-02-15T19:53:31.043" v="1" actId="478"/>
          <ac:spMkLst>
            <pc:docMk/>
            <pc:sldMk cId="1633327501" sldId="505"/>
            <ac:spMk id="272" creationId="{00000000-0000-0000-0000-000000000000}"/>
          </ac:spMkLst>
        </pc:spChg>
        <pc:cxnChg chg="del">
          <ac:chgData name="zur bonsen georg" userId="5444515566c7376a" providerId="LiveId" clId="{EE8043E9-5C9D-48E2-83BC-322B6217B78C}" dt="2022-02-15T19:53:31.043" v="1" actId="478"/>
          <ac:cxnSpMkLst>
            <pc:docMk/>
            <pc:sldMk cId="1633327501" sldId="505"/>
            <ac:cxnSpMk id="13" creationId="{BFA3BAC2-EA29-4B63-B72C-2D1756A3CEE2}"/>
          </ac:cxnSpMkLst>
        </pc:cxnChg>
        <pc:cxnChg chg="add mod">
          <ac:chgData name="zur bonsen georg" userId="5444515566c7376a" providerId="LiveId" clId="{EE8043E9-5C9D-48E2-83BC-322B6217B78C}" dt="2022-02-15T21:25:21.364" v="1758" actId="14100"/>
          <ac:cxnSpMkLst>
            <pc:docMk/>
            <pc:sldMk cId="1633327501" sldId="505"/>
            <ac:cxnSpMk id="27" creationId="{A702CF76-8348-436D-ADB7-4A223946F15C}"/>
          </ac:cxnSpMkLst>
        </pc:cxnChg>
        <pc:cxnChg chg="del">
          <ac:chgData name="zur bonsen georg" userId="5444515566c7376a" providerId="LiveId" clId="{EE8043E9-5C9D-48E2-83BC-322B6217B78C}" dt="2022-02-15T19:53:31.043" v="1" actId="478"/>
          <ac:cxnSpMkLst>
            <pc:docMk/>
            <pc:sldMk cId="1633327501" sldId="505"/>
            <ac:cxnSpMk id="65" creationId="{31EC0C8B-85F6-480F-9933-86DBA39C0F74}"/>
          </ac:cxnSpMkLst>
        </pc:cxnChg>
        <pc:cxnChg chg="del">
          <ac:chgData name="zur bonsen georg" userId="5444515566c7376a" providerId="LiveId" clId="{EE8043E9-5C9D-48E2-83BC-322B6217B78C}" dt="2022-02-15T19:53:31.043" v="1" actId="478"/>
          <ac:cxnSpMkLst>
            <pc:docMk/>
            <pc:sldMk cId="1633327501" sldId="505"/>
            <ac:cxnSpMk id="66" creationId="{A3E61FB8-4C7F-4099-9DFE-BE0798D1EE3F}"/>
          </ac:cxnSpMkLst>
        </pc:cxnChg>
        <pc:cxnChg chg="del">
          <ac:chgData name="zur bonsen georg" userId="5444515566c7376a" providerId="LiveId" clId="{EE8043E9-5C9D-48E2-83BC-322B6217B78C}" dt="2022-02-15T19:53:31.043" v="1" actId="478"/>
          <ac:cxnSpMkLst>
            <pc:docMk/>
            <pc:sldMk cId="1633327501" sldId="505"/>
            <ac:cxnSpMk id="75" creationId="{E299F31E-999E-4B6A-BE08-C6DF8CBA79D8}"/>
          </ac:cxnSpMkLst>
        </pc:cxnChg>
        <pc:cxnChg chg="del">
          <ac:chgData name="zur bonsen georg" userId="5444515566c7376a" providerId="LiveId" clId="{EE8043E9-5C9D-48E2-83BC-322B6217B78C}" dt="2022-02-15T19:53:31.043" v="1" actId="478"/>
          <ac:cxnSpMkLst>
            <pc:docMk/>
            <pc:sldMk cId="1633327501" sldId="505"/>
            <ac:cxnSpMk id="76" creationId="{13050CD7-B594-441E-9F3A-BDDF2C5614A0}"/>
          </ac:cxnSpMkLst>
        </pc:cxnChg>
        <pc:cxnChg chg="del">
          <ac:chgData name="zur bonsen georg" userId="5444515566c7376a" providerId="LiveId" clId="{EE8043E9-5C9D-48E2-83BC-322B6217B78C}" dt="2022-02-15T19:53:31.043" v="1" actId="478"/>
          <ac:cxnSpMkLst>
            <pc:docMk/>
            <pc:sldMk cId="1633327501" sldId="505"/>
            <ac:cxnSpMk id="77" creationId="{6CB76CFF-37B9-4562-BD68-5A6F24FAA9BC}"/>
          </ac:cxnSpMkLst>
        </pc:cxnChg>
        <pc:cxnChg chg="del">
          <ac:chgData name="zur bonsen georg" userId="5444515566c7376a" providerId="LiveId" clId="{EE8043E9-5C9D-48E2-83BC-322B6217B78C}" dt="2022-02-15T19:53:31.043" v="1" actId="478"/>
          <ac:cxnSpMkLst>
            <pc:docMk/>
            <pc:sldMk cId="1633327501" sldId="505"/>
            <ac:cxnSpMk id="95" creationId="{B2D14F6B-AB47-4A1A-821D-D5527E75CCA4}"/>
          </ac:cxnSpMkLst>
        </pc:cxnChg>
        <pc:cxnChg chg="add del mod">
          <ac:chgData name="zur bonsen georg" userId="5444515566c7376a" providerId="LiveId" clId="{EE8043E9-5C9D-48E2-83BC-322B6217B78C}" dt="2022-02-15T20:02:20.031" v="270" actId="478"/>
          <ac:cxnSpMkLst>
            <pc:docMk/>
            <pc:sldMk cId="1633327501" sldId="505"/>
            <ac:cxnSpMk id="110" creationId="{69F5EF00-42C5-418E-AD1D-D21D28720924}"/>
          </ac:cxnSpMkLst>
        </pc:cxnChg>
        <pc:cxnChg chg="add del mod">
          <ac:chgData name="zur bonsen georg" userId="5444515566c7376a" providerId="LiveId" clId="{EE8043E9-5C9D-48E2-83BC-322B6217B78C}" dt="2022-02-15T20:02:20.031" v="270" actId="478"/>
          <ac:cxnSpMkLst>
            <pc:docMk/>
            <pc:sldMk cId="1633327501" sldId="505"/>
            <ac:cxnSpMk id="111" creationId="{43D13A36-5DF4-4E4E-935C-F8455838213C}"/>
          </ac:cxnSpMkLst>
        </pc:cxnChg>
        <pc:cxnChg chg="add del mod">
          <ac:chgData name="zur bonsen georg" userId="5444515566c7376a" providerId="LiveId" clId="{EE8043E9-5C9D-48E2-83BC-322B6217B78C}" dt="2022-02-15T20:02:20.031" v="270" actId="478"/>
          <ac:cxnSpMkLst>
            <pc:docMk/>
            <pc:sldMk cId="1633327501" sldId="505"/>
            <ac:cxnSpMk id="112" creationId="{0DBF318C-D744-4985-9A81-789C44195BB0}"/>
          </ac:cxnSpMkLst>
        </pc:cxnChg>
        <pc:cxnChg chg="add del mod">
          <ac:chgData name="zur bonsen georg" userId="5444515566c7376a" providerId="LiveId" clId="{EE8043E9-5C9D-48E2-83BC-322B6217B78C}" dt="2022-02-15T20:02:20.031" v="270" actId="478"/>
          <ac:cxnSpMkLst>
            <pc:docMk/>
            <pc:sldMk cId="1633327501" sldId="505"/>
            <ac:cxnSpMk id="122" creationId="{DB70BD21-74D3-4EF8-BBF0-D92EDFBD3272}"/>
          </ac:cxnSpMkLst>
        </pc:cxnChg>
        <pc:cxnChg chg="add del mod">
          <ac:chgData name="zur bonsen georg" userId="5444515566c7376a" providerId="LiveId" clId="{EE8043E9-5C9D-48E2-83BC-322B6217B78C}" dt="2022-02-15T20:02:20.031" v="270" actId="478"/>
          <ac:cxnSpMkLst>
            <pc:docMk/>
            <pc:sldMk cId="1633327501" sldId="505"/>
            <ac:cxnSpMk id="123" creationId="{93F8EC8C-B098-48F3-8FAF-F4F93BB4BDF2}"/>
          </ac:cxnSpMkLst>
        </pc:cxnChg>
        <pc:cxnChg chg="add del mod">
          <ac:chgData name="zur bonsen georg" userId="5444515566c7376a" providerId="LiveId" clId="{EE8043E9-5C9D-48E2-83BC-322B6217B78C}" dt="2022-02-15T20:02:20.031" v="270" actId="478"/>
          <ac:cxnSpMkLst>
            <pc:docMk/>
            <pc:sldMk cId="1633327501" sldId="505"/>
            <ac:cxnSpMk id="124" creationId="{B0A93FB6-8DDA-4E1B-AD09-C759DD2BE443}"/>
          </ac:cxnSpMkLst>
        </pc:cxnChg>
        <pc:cxnChg chg="del">
          <ac:chgData name="zur bonsen georg" userId="5444515566c7376a" providerId="LiveId" clId="{EE8043E9-5C9D-48E2-83BC-322B6217B78C}" dt="2022-02-15T19:53:31.043" v="1" actId="478"/>
          <ac:cxnSpMkLst>
            <pc:docMk/>
            <pc:sldMk cId="1633327501" sldId="505"/>
            <ac:cxnSpMk id="155" creationId="{1EF80AA1-7552-4B15-AEBD-7480FC913B7B}"/>
          </ac:cxnSpMkLst>
        </pc:cxnChg>
        <pc:cxnChg chg="del">
          <ac:chgData name="zur bonsen georg" userId="5444515566c7376a" providerId="LiveId" clId="{EE8043E9-5C9D-48E2-83BC-322B6217B78C}" dt="2022-02-15T19:53:31.043" v="1" actId="478"/>
          <ac:cxnSpMkLst>
            <pc:docMk/>
            <pc:sldMk cId="1633327501" sldId="505"/>
            <ac:cxnSpMk id="156" creationId="{5EFEA6A6-C021-43D0-ABBE-A97F7F34E24F}"/>
          </ac:cxnSpMkLst>
        </pc:cxnChg>
        <pc:cxnChg chg="del">
          <ac:chgData name="zur bonsen georg" userId="5444515566c7376a" providerId="LiveId" clId="{EE8043E9-5C9D-48E2-83BC-322B6217B78C}" dt="2022-02-15T19:53:31.043" v="1" actId="478"/>
          <ac:cxnSpMkLst>
            <pc:docMk/>
            <pc:sldMk cId="1633327501" sldId="505"/>
            <ac:cxnSpMk id="157" creationId="{5A8124A7-ED9B-41FA-BFF7-2B452D7BDF39}"/>
          </ac:cxnSpMkLst>
        </pc:cxnChg>
        <pc:cxnChg chg="del">
          <ac:chgData name="zur bonsen georg" userId="5444515566c7376a" providerId="LiveId" clId="{EE8043E9-5C9D-48E2-83BC-322B6217B78C}" dt="2022-02-15T19:53:31.043" v="1" actId="478"/>
          <ac:cxnSpMkLst>
            <pc:docMk/>
            <pc:sldMk cId="1633327501" sldId="505"/>
            <ac:cxnSpMk id="163" creationId="{42D46F15-F171-4D0F-8E1F-C7C827C3D6E1}"/>
          </ac:cxnSpMkLst>
        </pc:cxnChg>
        <pc:cxnChg chg="add del mod">
          <ac:chgData name="zur bonsen georg" userId="5444515566c7376a" providerId="LiveId" clId="{EE8043E9-5C9D-48E2-83BC-322B6217B78C}" dt="2022-02-15T20:02:20.031" v="270" actId="478"/>
          <ac:cxnSpMkLst>
            <pc:docMk/>
            <pc:sldMk cId="1633327501" sldId="505"/>
            <ac:cxnSpMk id="176" creationId="{E4D1ACDC-F92C-436C-BEF3-49D38D832474}"/>
          </ac:cxnSpMkLst>
        </pc:cxnChg>
        <pc:cxnChg chg="add del mod">
          <ac:chgData name="zur bonsen georg" userId="5444515566c7376a" providerId="LiveId" clId="{EE8043E9-5C9D-48E2-83BC-322B6217B78C}" dt="2022-02-15T20:02:20.031" v="270" actId="478"/>
          <ac:cxnSpMkLst>
            <pc:docMk/>
            <pc:sldMk cId="1633327501" sldId="505"/>
            <ac:cxnSpMk id="178" creationId="{56FD4AD2-7DAD-4BF0-B317-23E62DC208D5}"/>
          </ac:cxnSpMkLst>
        </pc:cxnChg>
        <pc:cxnChg chg="del">
          <ac:chgData name="zur bonsen georg" userId="5444515566c7376a" providerId="LiveId" clId="{EE8043E9-5C9D-48E2-83BC-322B6217B78C}" dt="2022-02-15T19:53:31.043" v="1" actId="478"/>
          <ac:cxnSpMkLst>
            <pc:docMk/>
            <pc:sldMk cId="1633327501" sldId="505"/>
            <ac:cxnSpMk id="184" creationId="{E561B877-EBC1-48B4-883D-9DA603F8D282}"/>
          </ac:cxnSpMkLst>
        </pc:cxnChg>
        <pc:cxnChg chg="del">
          <ac:chgData name="zur bonsen georg" userId="5444515566c7376a" providerId="LiveId" clId="{EE8043E9-5C9D-48E2-83BC-322B6217B78C}" dt="2022-02-15T19:53:31.043" v="1" actId="478"/>
          <ac:cxnSpMkLst>
            <pc:docMk/>
            <pc:sldMk cId="1633327501" sldId="505"/>
            <ac:cxnSpMk id="189" creationId="{8195312C-0694-41DD-9317-671730A972E8}"/>
          </ac:cxnSpMkLst>
        </pc:cxnChg>
        <pc:cxnChg chg="del">
          <ac:chgData name="zur bonsen georg" userId="5444515566c7376a" providerId="LiveId" clId="{EE8043E9-5C9D-48E2-83BC-322B6217B78C}" dt="2022-02-15T19:53:31.043" v="1" actId="478"/>
          <ac:cxnSpMkLst>
            <pc:docMk/>
            <pc:sldMk cId="1633327501" sldId="505"/>
            <ac:cxnSpMk id="190" creationId="{5A45DC25-B743-4D78-9DD9-DFE05752BE02}"/>
          </ac:cxnSpMkLst>
        </pc:cxnChg>
        <pc:cxnChg chg="add del mod">
          <ac:chgData name="zur bonsen georg" userId="5444515566c7376a" providerId="LiveId" clId="{EE8043E9-5C9D-48E2-83BC-322B6217B78C}" dt="2022-02-15T20:02:20.031" v="270" actId="478"/>
          <ac:cxnSpMkLst>
            <pc:docMk/>
            <pc:sldMk cId="1633327501" sldId="505"/>
            <ac:cxnSpMk id="192" creationId="{ED87E95F-4A7B-4248-BA51-668EC25137B2}"/>
          </ac:cxnSpMkLst>
        </pc:cxnChg>
        <pc:cxnChg chg="add del mod">
          <ac:chgData name="zur bonsen georg" userId="5444515566c7376a" providerId="LiveId" clId="{EE8043E9-5C9D-48E2-83BC-322B6217B78C}" dt="2022-02-15T20:02:20.031" v="270" actId="478"/>
          <ac:cxnSpMkLst>
            <pc:docMk/>
            <pc:sldMk cId="1633327501" sldId="505"/>
            <ac:cxnSpMk id="200" creationId="{133A323B-D6D8-46F4-9BAF-2FAB251B076C}"/>
          </ac:cxnSpMkLst>
        </pc:cxnChg>
        <pc:cxnChg chg="add del mod">
          <ac:chgData name="zur bonsen georg" userId="5444515566c7376a" providerId="LiveId" clId="{EE8043E9-5C9D-48E2-83BC-322B6217B78C}" dt="2022-02-15T20:02:20.031" v="270" actId="478"/>
          <ac:cxnSpMkLst>
            <pc:docMk/>
            <pc:sldMk cId="1633327501" sldId="505"/>
            <ac:cxnSpMk id="201" creationId="{059C1F48-A618-4847-934B-807C720142F4}"/>
          </ac:cxnSpMkLst>
        </pc:cxnChg>
        <pc:cxnChg chg="add del mod">
          <ac:chgData name="zur bonsen georg" userId="5444515566c7376a" providerId="LiveId" clId="{EE8043E9-5C9D-48E2-83BC-322B6217B78C}" dt="2022-02-15T20:02:20.031" v="270" actId="478"/>
          <ac:cxnSpMkLst>
            <pc:docMk/>
            <pc:sldMk cId="1633327501" sldId="505"/>
            <ac:cxnSpMk id="202" creationId="{21CD90EC-DD52-4BE4-8D6A-557B4D5698D9}"/>
          </ac:cxnSpMkLst>
        </pc:cxnChg>
        <pc:cxnChg chg="add del mod">
          <ac:chgData name="zur bonsen georg" userId="5444515566c7376a" providerId="LiveId" clId="{EE8043E9-5C9D-48E2-83BC-322B6217B78C}" dt="2022-02-15T20:02:20.031" v="270" actId="478"/>
          <ac:cxnSpMkLst>
            <pc:docMk/>
            <pc:sldMk cId="1633327501" sldId="505"/>
            <ac:cxnSpMk id="209" creationId="{7C596F1A-912B-48F3-9F80-038E27CDB361}"/>
          </ac:cxnSpMkLst>
        </pc:cxnChg>
        <pc:cxnChg chg="add del mod">
          <ac:chgData name="zur bonsen georg" userId="5444515566c7376a" providerId="LiveId" clId="{EE8043E9-5C9D-48E2-83BC-322B6217B78C}" dt="2022-02-15T20:02:20.031" v="270" actId="478"/>
          <ac:cxnSpMkLst>
            <pc:docMk/>
            <pc:sldMk cId="1633327501" sldId="505"/>
            <ac:cxnSpMk id="210" creationId="{F6190639-251A-42FE-8E40-C3E468AAFDFC}"/>
          </ac:cxnSpMkLst>
        </pc:cxnChg>
        <pc:cxnChg chg="add del mod">
          <ac:chgData name="zur bonsen georg" userId="5444515566c7376a" providerId="LiveId" clId="{EE8043E9-5C9D-48E2-83BC-322B6217B78C}" dt="2022-02-15T20:02:20.031" v="270" actId="478"/>
          <ac:cxnSpMkLst>
            <pc:docMk/>
            <pc:sldMk cId="1633327501" sldId="505"/>
            <ac:cxnSpMk id="211" creationId="{09A27FA0-13FA-49A2-B707-E857B149A47F}"/>
          </ac:cxnSpMkLst>
        </pc:cxnChg>
        <pc:cxnChg chg="del">
          <ac:chgData name="zur bonsen georg" userId="5444515566c7376a" providerId="LiveId" clId="{EE8043E9-5C9D-48E2-83BC-322B6217B78C}" dt="2022-02-15T19:53:31.043" v="1" actId="478"/>
          <ac:cxnSpMkLst>
            <pc:docMk/>
            <pc:sldMk cId="1633327501" sldId="505"/>
            <ac:cxnSpMk id="214"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6"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7" creationId="{00000000-0000-0000-0000-000000000000}"/>
          </ac:cxnSpMkLst>
        </pc:cxnChg>
        <pc:cxnChg chg="add mod">
          <ac:chgData name="zur bonsen georg" userId="5444515566c7376a" providerId="LiveId" clId="{EE8043E9-5C9D-48E2-83BC-322B6217B78C}" dt="2022-02-15T21:21:08.784" v="1629" actId="1076"/>
          <ac:cxnSpMkLst>
            <pc:docMk/>
            <pc:sldMk cId="1633327501" sldId="505"/>
            <ac:cxnSpMk id="219" creationId="{AA2269FD-3675-494A-9C14-804A4A24ECF5}"/>
          </ac:cxnSpMkLst>
        </pc:cxnChg>
        <pc:cxnChg chg="add mod">
          <ac:chgData name="zur bonsen georg" userId="5444515566c7376a" providerId="LiveId" clId="{EE8043E9-5C9D-48E2-83BC-322B6217B78C}" dt="2022-02-15T21:21:08.784" v="1629" actId="1076"/>
          <ac:cxnSpMkLst>
            <pc:docMk/>
            <pc:sldMk cId="1633327501" sldId="505"/>
            <ac:cxnSpMk id="221" creationId="{11A1B198-9E59-4F34-85B5-29E43C8259CC}"/>
          </ac:cxnSpMkLst>
        </pc:cxnChg>
        <pc:cxnChg chg="add mod">
          <ac:chgData name="zur bonsen georg" userId="5444515566c7376a" providerId="LiveId" clId="{EE8043E9-5C9D-48E2-83BC-322B6217B78C}" dt="2022-02-15T21:21:08.784" v="1629" actId="1076"/>
          <ac:cxnSpMkLst>
            <pc:docMk/>
            <pc:sldMk cId="1633327501" sldId="505"/>
            <ac:cxnSpMk id="224" creationId="{2AF22726-F3C5-4C6D-A8D5-6078DD6CB176}"/>
          </ac:cxnSpMkLst>
        </pc:cxnChg>
        <pc:cxnChg chg="del">
          <ac:chgData name="zur bonsen georg" userId="5444515566c7376a" providerId="LiveId" clId="{EE8043E9-5C9D-48E2-83BC-322B6217B78C}" dt="2022-02-15T19:53:31.043" v="1" actId="478"/>
          <ac:cxnSpMkLst>
            <pc:docMk/>
            <pc:sldMk cId="1633327501" sldId="505"/>
            <ac:cxnSpMk id="230" creationId="{00000000-0000-0000-0000-000000000000}"/>
          </ac:cxnSpMkLst>
        </pc:cxnChg>
        <pc:cxnChg chg="add mod">
          <ac:chgData name="zur bonsen georg" userId="5444515566c7376a" providerId="LiveId" clId="{EE8043E9-5C9D-48E2-83BC-322B6217B78C}" dt="2022-02-15T21:21:18.160" v="1658" actId="1076"/>
          <ac:cxnSpMkLst>
            <pc:docMk/>
            <pc:sldMk cId="1633327501" sldId="505"/>
            <ac:cxnSpMk id="237" creationId="{57CAEBA2-A63E-49D5-862A-4AAD5259B97D}"/>
          </ac:cxnSpMkLst>
        </pc:cxnChg>
        <pc:cxnChg chg="add mod">
          <ac:chgData name="zur bonsen georg" userId="5444515566c7376a" providerId="LiveId" clId="{EE8043E9-5C9D-48E2-83BC-322B6217B78C}" dt="2022-02-15T21:21:18.160" v="1658" actId="1076"/>
          <ac:cxnSpMkLst>
            <pc:docMk/>
            <pc:sldMk cId="1633327501" sldId="505"/>
            <ac:cxnSpMk id="241" creationId="{D2C8A866-3641-4D18-8967-BBEFF8B417EE}"/>
          </ac:cxnSpMkLst>
        </pc:cxnChg>
        <pc:cxnChg chg="add mod">
          <ac:chgData name="zur bonsen georg" userId="5444515566c7376a" providerId="LiveId" clId="{EE8043E9-5C9D-48E2-83BC-322B6217B78C}" dt="2022-02-15T21:21:18.160" v="1658" actId="1076"/>
          <ac:cxnSpMkLst>
            <pc:docMk/>
            <pc:sldMk cId="1633327501" sldId="505"/>
            <ac:cxnSpMk id="242" creationId="{361589E4-BA15-4271-B303-3D35AFC860EC}"/>
          </ac:cxnSpMkLst>
        </pc:cxnChg>
        <pc:cxnChg chg="add mod">
          <ac:chgData name="zur bonsen georg" userId="5444515566c7376a" providerId="LiveId" clId="{EE8043E9-5C9D-48E2-83BC-322B6217B78C}" dt="2022-02-15T21:44:57.531" v="2136" actId="14100"/>
          <ac:cxnSpMkLst>
            <pc:docMk/>
            <pc:sldMk cId="1633327501" sldId="505"/>
            <ac:cxnSpMk id="263" creationId="{F6133C8B-228F-464F-B6B8-D6C79A28E280}"/>
          </ac:cxnSpMkLst>
        </pc:cxnChg>
        <pc:cxnChg chg="add del mod">
          <ac:chgData name="zur bonsen georg" userId="5444515566c7376a" providerId="LiveId" clId="{EE8043E9-5C9D-48E2-83BC-322B6217B78C}" dt="2022-02-15T21:25:47.360" v="1771" actId="478"/>
          <ac:cxnSpMkLst>
            <pc:docMk/>
            <pc:sldMk cId="1633327501" sldId="505"/>
            <ac:cxnSpMk id="264" creationId="{B407F116-3B84-40D3-8B11-216622DBEF82}"/>
          </ac:cxnSpMkLst>
        </pc:cxnChg>
        <pc:cxnChg chg="add mod">
          <ac:chgData name="zur bonsen georg" userId="5444515566c7376a" providerId="LiveId" clId="{EE8043E9-5C9D-48E2-83BC-322B6217B78C}" dt="2022-02-15T21:27:12.306" v="1800" actId="1035"/>
          <ac:cxnSpMkLst>
            <pc:docMk/>
            <pc:sldMk cId="1633327501" sldId="505"/>
            <ac:cxnSpMk id="265" creationId="{A2B22C6D-804E-41E6-A913-DDCAC820F8C9}"/>
          </ac:cxnSpMkLst>
        </pc:cxnChg>
        <pc:cxnChg chg="add mod">
          <ac:chgData name="zur bonsen georg" userId="5444515566c7376a" providerId="LiveId" clId="{EE8043E9-5C9D-48E2-83BC-322B6217B78C}" dt="2022-02-15T21:27:34.208" v="1806" actId="14100"/>
          <ac:cxnSpMkLst>
            <pc:docMk/>
            <pc:sldMk cId="1633327501" sldId="505"/>
            <ac:cxnSpMk id="266" creationId="{751EF999-4594-4752-A489-CBEE237EE580}"/>
          </ac:cxnSpMkLst>
        </pc:cxnChg>
        <pc:cxnChg chg="add mod">
          <ac:chgData name="zur bonsen georg" userId="5444515566c7376a" providerId="LiveId" clId="{EE8043E9-5C9D-48E2-83BC-322B6217B78C}" dt="2022-02-15T21:25:40.038" v="1767" actId="1076"/>
          <ac:cxnSpMkLst>
            <pc:docMk/>
            <pc:sldMk cId="1633327501" sldId="505"/>
            <ac:cxnSpMk id="267" creationId="{1BD80A51-734F-42F2-8B73-F281DF4C6937}"/>
          </ac:cxnSpMkLst>
        </pc:cxnChg>
        <pc:cxnChg chg="add mod">
          <ac:chgData name="zur bonsen georg" userId="5444515566c7376a" providerId="LiveId" clId="{EE8043E9-5C9D-48E2-83BC-322B6217B78C}" dt="2022-02-15T21:44:54.695" v="2135" actId="1036"/>
          <ac:cxnSpMkLst>
            <pc:docMk/>
            <pc:sldMk cId="1633327501" sldId="505"/>
            <ac:cxnSpMk id="268" creationId="{7224BA63-E72A-42E8-BD4D-698C251C6CE8}"/>
          </ac:cxnSpMkLst>
        </pc:cxnChg>
        <pc:cxnChg chg="add mod">
          <ac:chgData name="zur bonsen georg" userId="5444515566c7376a" providerId="LiveId" clId="{EE8043E9-5C9D-48E2-83BC-322B6217B78C}" dt="2022-02-15T21:44:53.872" v="2134" actId="14100"/>
          <ac:cxnSpMkLst>
            <pc:docMk/>
            <pc:sldMk cId="1633327501" sldId="505"/>
            <ac:cxnSpMk id="269" creationId="{FFF9A149-57D5-4FE6-AF92-DA229F0CCB10}"/>
          </ac:cxnSpMkLst>
        </pc:cxnChg>
        <pc:cxnChg chg="add mod">
          <ac:chgData name="zur bonsen georg" userId="5444515566c7376a" providerId="LiveId" clId="{EE8043E9-5C9D-48E2-83BC-322B6217B78C}" dt="2022-02-15T21:27:24.722" v="1803" actId="1076"/>
          <ac:cxnSpMkLst>
            <pc:docMk/>
            <pc:sldMk cId="1633327501" sldId="505"/>
            <ac:cxnSpMk id="271" creationId="{96155636-8566-4B78-B405-BAD7C7E6B16F}"/>
          </ac:cxnSpMkLst>
        </pc:cxnChg>
        <pc:cxnChg chg="add mod">
          <ac:chgData name="zur bonsen georg" userId="5444515566c7376a" providerId="LiveId" clId="{EE8043E9-5C9D-48E2-83BC-322B6217B78C}" dt="2022-02-15T21:44:51.408" v="2133" actId="1036"/>
          <ac:cxnSpMkLst>
            <pc:docMk/>
            <pc:sldMk cId="1633327501" sldId="505"/>
            <ac:cxnSpMk id="273" creationId="{C0957FCF-8B20-4405-957B-573844931763}"/>
          </ac:cxnSpMkLst>
        </pc:cxnChg>
        <pc:cxnChg chg="add mod">
          <ac:chgData name="zur bonsen georg" userId="5444515566c7376a" providerId="LiveId" clId="{EE8043E9-5C9D-48E2-83BC-322B6217B78C}" dt="2022-02-15T21:26:22.329" v="1787" actId="14100"/>
          <ac:cxnSpMkLst>
            <pc:docMk/>
            <pc:sldMk cId="1633327501" sldId="505"/>
            <ac:cxnSpMk id="274" creationId="{8D827FAB-09AF-4A9A-97AD-6611548CE38B}"/>
          </ac:cxnSpMkLst>
        </pc:cxnChg>
      </pc:sldChg>
      <pc:sldChg chg="addSp delSp modSp add mod">
        <pc:chgData name="zur bonsen georg" userId="5444515566c7376a" providerId="LiveId" clId="{EE8043E9-5C9D-48E2-83BC-322B6217B78C}" dt="2022-02-28T22:07:28.731" v="5765" actId="20577"/>
        <pc:sldMkLst>
          <pc:docMk/>
          <pc:sldMk cId="2182778507" sldId="506"/>
        </pc:sldMkLst>
        <pc:spChg chg="del mod">
          <ac:chgData name="zur bonsen georg" userId="5444515566c7376a" providerId="LiveId" clId="{EE8043E9-5C9D-48E2-83BC-322B6217B78C}" dt="2022-02-28T21:45:35.824" v="4319" actId="478"/>
          <ac:spMkLst>
            <pc:docMk/>
            <pc:sldMk cId="2182778507" sldId="506"/>
            <ac:spMk id="6" creationId="{03B25F4F-FBCF-4C4E-AA15-04F7EA0CB832}"/>
          </ac:spMkLst>
        </pc:spChg>
        <pc:spChg chg="add mod">
          <ac:chgData name="zur bonsen georg" userId="5444515566c7376a" providerId="LiveId" clId="{EE8043E9-5C9D-48E2-83BC-322B6217B78C}" dt="2022-02-28T22:02:58.254" v="5198" actId="1036"/>
          <ac:spMkLst>
            <pc:docMk/>
            <pc:sldMk cId="2182778507" sldId="506"/>
            <ac:spMk id="19" creationId="{60D8DB24-2593-41CD-B403-D6BE1193F094}"/>
          </ac:spMkLst>
        </pc:spChg>
        <pc:spChg chg="add del mod">
          <ac:chgData name="zur bonsen georg" userId="5444515566c7376a" providerId="LiveId" clId="{EE8043E9-5C9D-48E2-83BC-322B6217B78C}" dt="2022-02-28T21:54:58.281" v="4906" actId="478"/>
          <ac:spMkLst>
            <pc:docMk/>
            <pc:sldMk cId="2182778507" sldId="506"/>
            <ac:spMk id="20" creationId="{494AC68D-ED77-4C4B-A06D-93F5E2FD914A}"/>
          </ac:spMkLst>
        </pc:spChg>
        <pc:spChg chg="add del mod">
          <ac:chgData name="zur bonsen georg" userId="5444515566c7376a" providerId="LiveId" clId="{EE8043E9-5C9D-48E2-83BC-322B6217B78C}" dt="2022-02-28T21:54:58.281" v="4906" actId="478"/>
          <ac:spMkLst>
            <pc:docMk/>
            <pc:sldMk cId="2182778507" sldId="506"/>
            <ac:spMk id="21" creationId="{DC6486D6-7308-4344-B0A1-1A294B0FC4DB}"/>
          </ac:spMkLst>
        </pc:spChg>
        <pc:spChg chg="add del mod">
          <ac:chgData name="zur bonsen georg" userId="5444515566c7376a" providerId="LiveId" clId="{EE8043E9-5C9D-48E2-83BC-322B6217B78C}" dt="2022-02-28T21:54:58.281" v="4906" actId="478"/>
          <ac:spMkLst>
            <pc:docMk/>
            <pc:sldMk cId="2182778507" sldId="506"/>
            <ac:spMk id="22" creationId="{D48ACF04-C5C9-4F1A-A81C-850E28AA7632}"/>
          </ac:spMkLst>
        </pc:spChg>
        <pc:spChg chg="add del mod">
          <ac:chgData name="zur bonsen georg" userId="5444515566c7376a" providerId="LiveId" clId="{EE8043E9-5C9D-48E2-83BC-322B6217B78C}" dt="2022-02-28T21:55:00.708" v="4907" actId="478"/>
          <ac:spMkLst>
            <pc:docMk/>
            <pc:sldMk cId="2182778507" sldId="506"/>
            <ac:spMk id="23" creationId="{09BB5E26-E1BD-425B-A091-0902FC162F18}"/>
          </ac:spMkLst>
        </pc:spChg>
        <pc:spChg chg="add mod">
          <ac:chgData name="zur bonsen georg" userId="5444515566c7376a" providerId="LiveId" clId="{EE8043E9-5C9D-48E2-83BC-322B6217B78C}" dt="2022-02-28T21:58:53.178" v="5033" actId="113"/>
          <ac:spMkLst>
            <pc:docMk/>
            <pc:sldMk cId="2182778507" sldId="506"/>
            <ac:spMk id="24" creationId="{697BB716-7254-4C23-8D78-3C758A7E6E43}"/>
          </ac:spMkLst>
        </pc:spChg>
        <pc:spChg chg="add del mod">
          <ac:chgData name="zur bonsen georg" userId="5444515566c7376a" providerId="LiveId" clId="{EE8043E9-5C9D-48E2-83BC-322B6217B78C}" dt="2022-02-28T21:23:30.682" v="2691" actId="478"/>
          <ac:spMkLst>
            <pc:docMk/>
            <pc:sldMk cId="2182778507" sldId="506"/>
            <ac:spMk id="25" creationId="{BB3D39FA-F7C5-4D9C-A12D-1A096332C3C0}"/>
          </ac:spMkLst>
        </pc:spChg>
        <pc:spChg chg="add mod">
          <ac:chgData name="zur bonsen georg" userId="5444515566c7376a" providerId="LiveId" clId="{EE8043E9-5C9D-48E2-83BC-322B6217B78C}" dt="2022-02-28T22:00:28.353" v="5051" actId="2085"/>
          <ac:spMkLst>
            <pc:docMk/>
            <pc:sldMk cId="2182778507" sldId="506"/>
            <ac:spMk id="26" creationId="{86A28E21-0B1A-4A90-988F-10355FE70922}"/>
          </ac:spMkLst>
        </pc:spChg>
        <pc:spChg chg="add mod">
          <ac:chgData name="zur bonsen georg" userId="5444515566c7376a" providerId="LiveId" clId="{EE8043E9-5C9D-48E2-83BC-322B6217B78C}" dt="2022-02-28T21:58:30.776" v="5027" actId="113"/>
          <ac:spMkLst>
            <pc:docMk/>
            <pc:sldMk cId="2182778507" sldId="506"/>
            <ac:spMk id="27" creationId="{33C60CA0-8926-4BB3-91C6-584A38B3C3A1}"/>
          </ac:spMkLst>
        </pc:spChg>
        <pc:spChg chg="add mod">
          <ac:chgData name="zur bonsen georg" userId="5444515566c7376a" providerId="LiveId" clId="{EE8043E9-5C9D-48E2-83BC-322B6217B78C}" dt="2022-02-28T21:58:37.861" v="5029" actId="113"/>
          <ac:spMkLst>
            <pc:docMk/>
            <pc:sldMk cId="2182778507" sldId="506"/>
            <ac:spMk id="28" creationId="{3103C3D1-0296-4721-9392-12B2D1B0EBE0}"/>
          </ac:spMkLst>
        </pc:spChg>
        <pc:spChg chg="add mod">
          <ac:chgData name="zur bonsen georg" userId="5444515566c7376a" providerId="LiveId" clId="{EE8043E9-5C9D-48E2-83BC-322B6217B78C}" dt="2022-02-28T21:45:52.687" v="4321" actId="207"/>
          <ac:spMkLst>
            <pc:docMk/>
            <pc:sldMk cId="2182778507" sldId="506"/>
            <ac:spMk id="29" creationId="{93BDB0F9-88F2-4D90-B9E3-FFFDC87E7262}"/>
          </ac:spMkLst>
        </pc:spChg>
        <pc:spChg chg="add del mod">
          <ac:chgData name="zur bonsen georg" userId="5444515566c7376a" providerId="LiveId" clId="{EE8043E9-5C9D-48E2-83BC-322B6217B78C}" dt="2022-02-28T21:36:57.732" v="3807" actId="478"/>
          <ac:spMkLst>
            <pc:docMk/>
            <pc:sldMk cId="2182778507" sldId="506"/>
            <ac:spMk id="30" creationId="{1980CC0C-EAFD-40F4-AF67-B28B3A3DA4A3}"/>
          </ac:spMkLst>
        </pc:spChg>
        <pc:spChg chg="add mod">
          <ac:chgData name="zur bonsen georg" userId="5444515566c7376a" providerId="LiveId" clId="{EE8043E9-5C9D-48E2-83BC-322B6217B78C}" dt="2022-02-28T22:05:23.081" v="5516" actId="1035"/>
          <ac:spMkLst>
            <pc:docMk/>
            <pc:sldMk cId="2182778507" sldId="506"/>
            <ac:spMk id="31" creationId="{2B01B5EA-3935-46C3-B8CA-49486E310B27}"/>
          </ac:spMkLst>
        </pc:spChg>
        <pc:spChg chg="add mod">
          <ac:chgData name="zur bonsen georg" userId="5444515566c7376a" providerId="LiveId" clId="{EE8043E9-5C9D-48E2-83BC-322B6217B78C}" dt="2022-02-28T22:06:37.050" v="5698" actId="14100"/>
          <ac:spMkLst>
            <pc:docMk/>
            <pc:sldMk cId="2182778507" sldId="506"/>
            <ac:spMk id="32" creationId="{F86997ED-077D-4468-A297-A6CC4C763BB6}"/>
          </ac:spMkLst>
        </pc:spChg>
        <pc:spChg chg="add mod">
          <ac:chgData name="zur bonsen georg" userId="5444515566c7376a" providerId="LiveId" clId="{EE8043E9-5C9D-48E2-83BC-322B6217B78C}" dt="2022-02-28T22:07:28.731" v="5765" actId="20577"/>
          <ac:spMkLst>
            <pc:docMk/>
            <pc:sldMk cId="2182778507" sldId="506"/>
            <ac:spMk id="33" creationId="{75B7F68E-DC0C-4F3F-A233-ADD73AC4EB5D}"/>
          </ac:spMkLst>
        </pc:spChg>
        <pc:spChg chg="add del mod">
          <ac:chgData name="zur bonsen georg" userId="5444515566c7376a" providerId="LiveId" clId="{EE8043E9-5C9D-48E2-83BC-322B6217B78C}" dt="2022-02-28T21:50:29.535" v="4484" actId="478"/>
          <ac:spMkLst>
            <pc:docMk/>
            <pc:sldMk cId="2182778507" sldId="506"/>
            <ac:spMk id="69" creationId="{0B6F22D5-EEC9-4103-88B3-20C38EBFBACE}"/>
          </ac:spMkLst>
        </pc:spChg>
        <pc:spChg chg="add mod">
          <ac:chgData name="zur bonsen georg" userId="5444515566c7376a" providerId="LiveId" clId="{EE8043E9-5C9D-48E2-83BC-322B6217B78C}" dt="2022-02-28T22:05:48.610" v="5547" actId="1036"/>
          <ac:spMkLst>
            <pc:docMk/>
            <pc:sldMk cId="2182778507" sldId="506"/>
            <ac:spMk id="80" creationId="{77AEAB4B-9707-48A1-8531-4D8FC855E8A4}"/>
          </ac:spMkLst>
        </pc:spChg>
        <pc:spChg chg="add mod ord">
          <ac:chgData name="zur bonsen georg" userId="5444515566c7376a" providerId="LiveId" clId="{EE8043E9-5C9D-48E2-83BC-322B6217B78C}" dt="2022-02-28T22:05:41.417" v="5543" actId="20577"/>
          <ac:spMkLst>
            <pc:docMk/>
            <pc:sldMk cId="2182778507" sldId="506"/>
            <ac:spMk id="81" creationId="{E8B6D4EB-08D0-46B1-85B3-E55C14FEC7E8}"/>
          </ac:spMkLst>
        </pc:spChg>
        <pc:spChg chg="del mod">
          <ac:chgData name="zur bonsen georg" userId="5444515566c7376a" providerId="LiveId" clId="{EE8043E9-5C9D-48E2-83BC-322B6217B78C}" dt="2022-02-28T21:21:42.710" v="2528" actId="478"/>
          <ac:spMkLst>
            <pc:docMk/>
            <pc:sldMk cId="2182778507" sldId="506"/>
            <ac:spMk id="380" creationId="{566E23E7-F9CA-4744-B890-4CDCF09827FC}"/>
          </ac:spMkLst>
        </pc:spChg>
        <pc:spChg chg="del">
          <ac:chgData name="zur bonsen georg" userId="5444515566c7376a" providerId="LiveId" clId="{EE8043E9-5C9D-48E2-83BC-322B6217B78C}" dt="2022-02-28T21:20:39.881" v="2492" actId="478"/>
          <ac:spMkLst>
            <pc:docMk/>
            <pc:sldMk cId="2182778507" sldId="506"/>
            <ac:spMk id="382" creationId="{2715AA32-8EAF-45C8-BE31-703315685336}"/>
          </ac:spMkLst>
        </pc:spChg>
        <pc:spChg chg="del mod">
          <ac:chgData name="zur bonsen georg" userId="5444515566c7376a" providerId="LiveId" clId="{EE8043E9-5C9D-48E2-83BC-322B6217B78C}" dt="2022-02-28T21:45:35.824" v="4319" actId="478"/>
          <ac:spMkLst>
            <pc:docMk/>
            <pc:sldMk cId="2182778507" sldId="506"/>
            <ac:spMk id="384" creationId="{AD1C4384-F554-4025-9591-3A94928D4694}"/>
          </ac:spMkLst>
        </pc:spChg>
        <pc:spChg chg="del mod">
          <ac:chgData name="zur bonsen georg" userId="5444515566c7376a" providerId="LiveId" clId="{EE8043E9-5C9D-48E2-83BC-322B6217B78C}" dt="2022-02-28T21:21:42.710" v="2528" actId="478"/>
          <ac:spMkLst>
            <pc:docMk/>
            <pc:sldMk cId="2182778507" sldId="506"/>
            <ac:spMk id="385" creationId="{EC8EBD0E-614A-41CA-B43C-08F197604B8B}"/>
          </ac:spMkLst>
        </pc:spChg>
        <pc:spChg chg="del mod">
          <ac:chgData name="zur bonsen georg" userId="5444515566c7376a" providerId="LiveId" clId="{EE8043E9-5C9D-48E2-83BC-322B6217B78C}" dt="2022-02-28T21:21:42.710" v="2528" actId="478"/>
          <ac:spMkLst>
            <pc:docMk/>
            <pc:sldMk cId="2182778507" sldId="506"/>
            <ac:spMk id="419" creationId="{410563D6-851F-43B6-85E5-39C51DBE734E}"/>
          </ac:spMkLst>
        </pc:spChg>
        <pc:spChg chg="del">
          <ac:chgData name="zur bonsen georg" userId="5444515566c7376a" providerId="LiveId" clId="{EE8043E9-5C9D-48E2-83BC-322B6217B78C}" dt="2022-02-28T21:20:39.881" v="2492" actId="478"/>
          <ac:spMkLst>
            <pc:docMk/>
            <pc:sldMk cId="2182778507" sldId="506"/>
            <ac:spMk id="420" creationId="{00A816FA-9898-44C1-9E25-33A6764929DF}"/>
          </ac:spMkLst>
        </pc:spChg>
        <pc:spChg chg="mod">
          <ac:chgData name="zur bonsen georg" userId="5444515566c7376a" providerId="LiveId" clId="{EE8043E9-5C9D-48E2-83BC-322B6217B78C}" dt="2022-02-28T21:58:50.341" v="5031" actId="113"/>
          <ac:spMkLst>
            <pc:docMk/>
            <pc:sldMk cId="2182778507" sldId="506"/>
            <ac:spMk id="421" creationId="{8C66F0B6-5B68-44DA-A605-A3883BE0ACEF}"/>
          </ac:spMkLst>
        </pc:spChg>
        <pc:spChg chg="del mod">
          <ac:chgData name="zur bonsen georg" userId="5444515566c7376a" providerId="LiveId" clId="{EE8043E9-5C9D-48E2-83BC-322B6217B78C}" dt="2022-02-28T21:21:42.710" v="2528" actId="478"/>
          <ac:spMkLst>
            <pc:docMk/>
            <pc:sldMk cId="2182778507" sldId="506"/>
            <ac:spMk id="422" creationId="{88E43557-5919-4BC9-B344-BBF82C0014A9}"/>
          </ac:spMkLst>
        </pc:spChg>
        <pc:spChg chg="del mod">
          <ac:chgData name="zur bonsen georg" userId="5444515566c7376a" providerId="LiveId" clId="{EE8043E9-5C9D-48E2-83BC-322B6217B78C}" dt="2022-02-28T21:21:42.710" v="2528" actId="478"/>
          <ac:spMkLst>
            <pc:docMk/>
            <pc:sldMk cId="2182778507" sldId="506"/>
            <ac:spMk id="423" creationId="{C0DC8E5A-B1F0-4A2C-B66C-604E4568E713}"/>
          </ac:spMkLst>
        </pc:spChg>
        <pc:spChg chg="del">
          <ac:chgData name="zur bonsen georg" userId="5444515566c7376a" providerId="LiveId" clId="{EE8043E9-5C9D-48E2-83BC-322B6217B78C}" dt="2022-02-28T21:20:39.881" v="2492" actId="478"/>
          <ac:spMkLst>
            <pc:docMk/>
            <pc:sldMk cId="2182778507" sldId="506"/>
            <ac:spMk id="424" creationId="{CA30B6CA-DB3C-403A-85E5-82A8DC5DA1C0}"/>
          </ac:spMkLst>
        </pc:spChg>
        <pc:spChg chg="del mod">
          <ac:chgData name="zur bonsen georg" userId="5444515566c7376a" providerId="LiveId" clId="{EE8043E9-5C9D-48E2-83BC-322B6217B78C}" dt="2022-02-28T21:45:35.824" v="4319" actId="478"/>
          <ac:spMkLst>
            <pc:docMk/>
            <pc:sldMk cId="2182778507" sldId="506"/>
            <ac:spMk id="425" creationId="{FD78D88E-B925-4B6C-B1D2-02CDC487C87F}"/>
          </ac:spMkLst>
        </pc:spChg>
        <pc:spChg chg="del mod">
          <ac:chgData name="zur bonsen georg" userId="5444515566c7376a" providerId="LiveId" clId="{EE8043E9-5C9D-48E2-83BC-322B6217B78C}" dt="2022-02-28T21:21:42.710" v="2528" actId="478"/>
          <ac:spMkLst>
            <pc:docMk/>
            <pc:sldMk cId="2182778507" sldId="506"/>
            <ac:spMk id="426" creationId="{C4F78FB8-0471-454E-BCE6-090533527454}"/>
          </ac:spMkLst>
        </pc:spChg>
        <pc:spChg chg="del mod">
          <ac:chgData name="zur bonsen georg" userId="5444515566c7376a" providerId="LiveId" clId="{EE8043E9-5C9D-48E2-83BC-322B6217B78C}" dt="2022-02-28T21:21:42.710" v="2528" actId="478"/>
          <ac:spMkLst>
            <pc:docMk/>
            <pc:sldMk cId="2182778507" sldId="506"/>
            <ac:spMk id="427" creationId="{BD0E58F2-F6F8-4475-A960-140F76E8DDDF}"/>
          </ac:spMkLst>
        </pc:spChg>
        <pc:spChg chg="del">
          <ac:chgData name="zur bonsen georg" userId="5444515566c7376a" providerId="LiveId" clId="{EE8043E9-5C9D-48E2-83BC-322B6217B78C}" dt="2022-02-28T21:20:41.691" v="2493" actId="478"/>
          <ac:spMkLst>
            <pc:docMk/>
            <pc:sldMk cId="2182778507" sldId="506"/>
            <ac:spMk id="428" creationId="{8FC7A6AA-ECC5-40C9-92E7-3E158C71FE5E}"/>
          </ac:spMkLst>
        </pc:spChg>
        <pc:cxnChg chg="add mod">
          <ac:chgData name="zur bonsen georg" userId="5444515566c7376a" providerId="LiveId" clId="{EE8043E9-5C9D-48E2-83BC-322B6217B78C}" dt="2022-02-28T21:42:14.321" v="4255" actId="1076"/>
          <ac:cxnSpMkLst>
            <pc:docMk/>
            <pc:sldMk cId="2182778507" sldId="506"/>
            <ac:cxnSpMk id="5" creationId="{893E9740-E9C5-461C-B7B6-674D9AEEA51F}"/>
          </ac:cxnSpMkLst>
        </pc:cxnChg>
        <pc:cxnChg chg="add mod">
          <ac:chgData name="zur bonsen georg" userId="5444515566c7376a" providerId="LiveId" clId="{EE8043E9-5C9D-48E2-83BC-322B6217B78C}" dt="2022-02-28T21:42:04.322" v="4254" actId="692"/>
          <ac:cxnSpMkLst>
            <pc:docMk/>
            <pc:sldMk cId="2182778507" sldId="506"/>
            <ac:cxnSpMk id="36" creationId="{CDF8A4B3-EA5A-4CB4-AAF9-086235BFAE7D}"/>
          </ac:cxnSpMkLst>
        </pc:cxnChg>
        <pc:cxnChg chg="add mod">
          <ac:chgData name="zur bonsen georg" userId="5444515566c7376a" providerId="LiveId" clId="{EE8043E9-5C9D-48E2-83BC-322B6217B78C}" dt="2022-02-28T21:44:21.634" v="4303" actId="1036"/>
          <ac:cxnSpMkLst>
            <pc:docMk/>
            <pc:sldMk cId="2182778507" sldId="506"/>
            <ac:cxnSpMk id="38" creationId="{23A8E4A2-31B5-4C1C-ABF4-6BF5C1246CFD}"/>
          </ac:cxnSpMkLst>
        </pc:cxnChg>
        <pc:cxnChg chg="add mod">
          <ac:chgData name="zur bonsen georg" userId="5444515566c7376a" providerId="LiveId" clId="{EE8043E9-5C9D-48E2-83BC-322B6217B78C}" dt="2022-02-28T21:42:48.146" v="4267" actId="14100"/>
          <ac:cxnSpMkLst>
            <pc:docMk/>
            <pc:sldMk cId="2182778507" sldId="506"/>
            <ac:cxnSpMk id="40" creationId="{396AB212-F2F2-4680-933E-B12B0D0464EF}"/>
          </ac:cxnSpMkLst>
        </pc:cxnChg>
        <pc:cxnChg chg="add mod">
          <ac:chgData name="zur bonsen georg" userId="5444515566c7376a" providerId="LiveId" clId="{EE8043E9-5C9D-48E2-83BC-322B6217B78C}" dt="2022-02-28T21:43:22.900" v="4276" actId="1036"/>
          <ac:cxnSpMkLst>
            <pc:docMk/>
            <pc:sldMk cId="2182778507" sldId="506"/>
            <ac:cxnSpMk id="42" creationId="{BCC2CADB-08DF-4938-B876-ABA868364BA8}"/>
          </ac:cxnSpMkLst>
        </pc:cxnChg>
        <pc:cxnChg chg="add mod">
          <ac:chgData name="zur bonsen georg" userId="5444515566c7376a" providerId="LiveId" clId="{EE8043E9-5C9D-48E2-83BC-322B6217B78C}" dt="2022-02-28T21:43:30.473" v="4278" actId="14100"/>
          <ac:cxnSpMkLst>
            <pc:docMk/>
            <pc:sldMk cId="2182778507" sldId="506"/>
            <ac:cxnSpMk id="44" creationId="{ABE2FD11-61B7-4654-AC34-50097F9A05E9}"/>
          </ac:cxnSpMkLst>
        </pc:cxnChg>
        <pc:cxnChg chg="add mod">
          <ac:chgData name="zur bonsen georg" userId="5444515566c7376a" providerId="LiveId" clId="{EE8043E9-5C9D-48E2-83BC-322B6217B78C}" dt="2022-02-28T21:43:33.503" v="4280" actId="1076"/>
          <ac:cxnSpMkLst>
            <pc:docMk/>
            <pc:sldMk cId="2182778507" sldId="506"/>
            <ac:cxnSpMk id="49" creationId="{A08B934C-5C13-487D-9BAF-0E26CCF4C822}"/>
          </ac:cxnSpMkLst>
        </pc:cxnChg>
        <pc:cxnChg chg="add mod">
          <ac:chgData name="zur bonsen georg" userId="5444515566c7376a" providerId="LiveId" clId="{EE8043E9-5C9D-48E2-83BC-322B6217B78C}" dt="2022-02-28T21:43:33.930" v="4281"/>
          <ac:cxnSpMkLst>
            <pc:docMk/>
            <pc:sldMk cId="2182778507" sldId="506"/>
            <ac:cxnSpMk id="50" creationId="{92F439F9-8BBE-4768-9CE6-3DFB64E6AF86}"/>
          </ac:cxnSpMkLst>
        </pc:cxnChg>
        <pc:cxnChg chg="add mod">
          <ac:chgData name="zur bonsen georg" userId="5444515566c7376a" providerId="LiveId" clId="{EE8043E9-5C9D-48E2-83BC-322B6217B78C}" dt="2022-02-28T21:47:26.772" v="4387" actId="1076"/>
          <ac:cxnSpMkLst>
            <pc:docMk/>
            <pc:sldMk cId="2182778507" sldId="506"/>
            <ac:cxnSpMk id="51" creationId="{EAB488B0-4680-413A-9163-3F42253D8C64}"/>
          </ac:cxnSpMkLst>
        </pc:cxnChg>
        <pc:cxnChg chg="add mod">
          <ac:chgData name="zur bonsen georg" userId="5444515566c7376a" providerId="LiveId" clId="{EE8043E9-5C9D-48E2-83BC-322B6217B78C}" dt="2022-02-28T21:48:05.778" v="4403" actId="14100"/>
          <ac:cxnSpMkLst>
            <pc:docMk/>
            <pc:sldMk cId="2182778507" sldId="506"/>
            <ac:cxnSpMk id="53" creationId="{63570352-AB05-4334-8AAE-037DBE485211}"/>
          </ac:cxnSpMkLst>
        </pc:cxnChg>
        <pc:cxnChg chg="add mod">
          <ac:chgData name="zur bonsen georg" userId="5444515566c7376a" providerId="LiveId" clId="{EE8043E9-5C9D-48E2-83BC-322B6217B78C}" dt="2022-02-28T21:47:46.464" v="4394" actId="14100"/>
          <ac:cxnSpMkLst>
            <pc:docMk/>
            <pc:sldMk cId="2182778507" sldId="506"/>
            <ac:cxnSpMk id="56" creationId="{D1311ADB-F724-43B2-B81A-B399A9BB0977}"/>
          </ac:cxnSpMkLst>
        </pc:cxnChg>
        <pc:cxnChg chg="add mod">
          <ac:chgData name="zur bonsen georg" userId="5444515566c7376a" providerId="LiveId" clId="{EE8043E9-5C9D-48E2-83BC-322B6217B78C}" dt="2022-02-28T21:47:46.831" v="4395"/>
          <ac:cxnSpMkLst>
            <pc:docMk/>
            <pc:sldMk cId="2182778507" sldId="506"/>
            <ac:cxnSpMk id="59" creationId="{153F1C0F-96D4-41F5-8033-0EE923954990}"/>
          </ac:cxnSpMkLst>
        </pc:cxnChg>
        <pc:cxnChg chg="add mod">
          <ac:chgData name="zur bonsen georg" userId="5444515566c7376a" providerId="LiveId" clId="{EE8043E9-5C9D-48E2-83BC-322B6217B78C}" dt="2022-02-28T21:47:48.193" v="4396"/>
          <ac:cxnSpMkLst>
            <pc:docMk/>
            <pc:sldMk cId="2182778507" sldId="506"/>
            <ac:cxnSpMk id="60" creationId="{089990A8-A414-4DAB-814C-325324577281}"/>
          </ac:cxnSpMkLst>
        </pc:cxnChg>
        <pc:cxnChg chg="add mod">
          <ac:chgData name="zur bonsen georg" userId="5444515566c7376a" providerId="LiveId" clId="{EE8043E9-5C9D-48E2-83BC-322B6217B78C}" dt="2022-02-28T21:47:50.855" v="4397"/>
          <ac:cxnSpMkLst>
            <pc:docMk/>
            <pc:sldMk cId="2182778507" sldId="506"/>
            <ac:cxnSpMk id="61" creationId="{B1803DE6-11A8-4964-B00A-D3C2A72E32D4}"/>
          </ac:cxnSpMkLst>
        </pc:cxnChg>
        <pc:cxnChg chg="add mod">
          <ac:chgData name="zur bonsen georg" userId="5444515566c7376a" providerId="LiveId" clId="{EE8043E9-5C9D-48E2-83BC-322B6217B78C}" dt="2022-02-28T21:48:03.626" v="4402" actId="14100"/>
          <ac:cxnSpMkLst>
            <pc:docMk/>
            <pc:sldMk cId="2182778507" sldId="506"/>
            <ac:cxnSpMk id="62" creationId="{D206AE77-B8DE-437D-976A-546E29813FDC}"/>
          </ac:cxnSpMkLst>
        </pc:cxnChg>
        <pc:cxnChg chg="add mod">
          <ac:chgData name="zur bonsen georg" userId="5444515566c7376a" providerId="LiveId" clId="{EE8043E9-5C9D-48E2-83BC-322B6217B78C}" dt="2022-02-28T22:05:23.081" v="5516" actId="1035"/>
          <ac:cxnSpMkLst>
            <pc:docMk/>
            <pc:sldMk cId="2182778507" sldId="506"/>
            <ac:cxnSpMk id="67" creationId="{33EE6E7E-05D4-4598-A45B-6618621E03C2}"/>
          </ac:cxnSpMkLst>
        </pc:cxnChg>
        <pc:cxnChg chg="add mod">
          <ac:chgData name="zur bonsen georg" userId="5444515566c7376a" providerId="LiveId" clId="{EE8043E9-5C9D-48E2-83BC-322B6217B78C}" dt="2022-02-28T21:51:27.011" v="4498" actId="14100"/>
          <ac:cxnSpMkLst>
            <pc:docMk/>
            <pc:sldMk cId="2182778507" sldId="506"/>
            <ac:cxnSpMk id="70" creationId="{2AEB399C-F4E6-49D2-BBD7-4936268E062C}"/>
          </ac:cxnSpMkLst>
        </pc:cxnChg>
        <pc:cxnChg chg="add del mod">
          <ac:chgData name="zur bonsen georg" userId="5444515566c7376a" providerId="LiveId" clId="{EE8043E9-5C9D-48E2-83BC-322B6217B78C}" dt="2022-02-28T21:51:17.588" v="4496" actId="478"/>
          <ac:cxnSpMkLst>
            <pc:docMk/>
            <pc:sldMk cId="2182778507" sldId="506"/>
            <ac:cxnSpMk id="73" creationId="{93A60215-5C9F-428D-B682-01B24DE49D2F}"/>
          </ac:cxnSpMkLst>
        </pc:cxnChg>
        <pc:cxnChg chg="add del mod">
          <ac:chgData name="zur bonsen georg" userId="5444515566c7376a" providerId="LiveId" clId="{EE8043E9-5C9D-48E2-83BC-322B6217B78C}" dt="2022-02-28T21:51:17.588" v="4496" actId="478"/>
          <ac:cxnSpMkLst>
            <pc:docMk/>
            <pc:sldMk cId="2182778507" sldId="506"/>
            <ac:cxnSpMk id="75" creationId="{0AE7CBEF-35FF-4687-B1B5-2198B59B2ED6}"/>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283" cy="496570"/>
          </a:xfrm>
          <a:prstGeom prst="rect">
            <a:avLst/>
          </a:prstGeom>
        </p:spPr>
        <p:txBody>
          <a:bodyPr vert="horz" lIns="94046" tIns="47023" rIns="94046" bIns="47023" rtlCol="0"/>
          <a:lstStyle>
            <a:lvl1pPr algn="l">
              <a:defRPr sz="1200"/>
            </a:lvl1pPr>
          </a:lstStyle>
          <a:p>
            <a:endParaRPr lang="en-CA"/>
          </a:p>
        </p:txBody>
      </p:sp>
      <p:sp>
        <p:nvSpPr>
          <p:cNvPr id="3" name="Espace réservé de la date 2"/>
          <p:cNvSpPr>
            <a:spLocks noGrp="1"/>
          </p:cNvSpPr>
          <p:nvPr>
            <p:ph type="dt" idx="1"/>
          </p:nvPr>
        </p:nvSpPr>
        <p:spPr>
          <a:xfrm>
            <a:off x="3848644" y="0"/>
            <a:ext cx="2944283" cy="496570"/>
          </a:xfrm>
          <a:prstGeom prst="rect">
            <a:avLst/>
          </a:prstGeom>
        </p:spPr>
        <p:txBody>
          <a:bodyPr vert="horz" lIns="94046" tIns="47023" rIns="94046" bIns="47023" rtlCol="0"/>
          <a:lstStyle>
            <a:lvl1pPr algn="r">
              <a:defRPr sz="1200"/>
            </a:lvl1pPr>
          </a:lstStyle>
          <a:p>
            <a:fld id="{834441DC-6262-4676-8089-739DE20D1D3B}" type="datetimeFigureOut">
              <a:rPr lang="en-CA" smtClean="0"/>
              <a:pPr/>
              <a:t>2024-02-11</a:t>
            </a:fld>
            <a:endParaRPr lang="en-CA"/>
          </a:p>
        </p:txBody>
      </p:sp>
      <p:sp>
        <p:nvSpPr>
          <p:cNvPr id="4" name="Espace réservé de l'image des diapositives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4046" tIns="47023" rIns="94046" bIns="47023" rtlCol="0" anchor="ctr"/>
          <a:lstStyle/>
          <a:p>
            <a:endParaRPr lang="en-CA"/>
          </a:p>
        </p:txBody>
      </p:sp>
      <p:sp>
        <p:nvSpPr>
          <p:cNvPr id="5" name="Espace réservé des commentaires 4"/>
          <p:cNvSpPr>
            <a:spLocks noGrp="1"/>
          </p:cNvSpPr>
          <p:nvPr>
            <p:ph type="body" sz="quarter" idx="3"/>
          </p:nvPr>
        </p:nvSpPr>
        <p:spPr>
          <a:xfrm>
            <a:off x="679450" y="4717415"/>
            <a:ext cx="5435600" cy="4469130"/>
          </a:xfrm>
          <a:prstGeom prst="rect">
            <a:avLst/>
          </a:prstGeom>
        </p:spPr>
        <p:txBody>
          <a:bodyPr vert="horz" lIns="94046" tIns="47023" rIns="94046" bIns="47023"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9433106"/>
            <a:ext cx="2944283" cy="496570"/>
          </a:xfrm>
          <a:prstGeom prst="rect">
            <a:avLst/>
          </a:prstGeom>
        </p:spPr>
        <p:txBody>
          <a:bodyPr vert="horz" lIns="94046" tIns="47023" rIns="94046" bIns="47023" rtlCol="0" anchor="b"/>
          <a:lstStyle>
            <a:lvl1pPr algn="l">
              <a:defRPr sz="1200"/>
            </a:lvl1pPr>
          </a:lstStyle>
          <a:p>
            <a:endParaRPr lang="en-CA"/>
          </a:p>
        </p:txBody>
      </p:sp>
      <p:sp>
        <p:nvSpPr>
          <p:cNvPr id="7" name="Espace réservé du numéro de diapositive 6"/>
          <p:cNvSpPr>
            <a:spLocks noGrp="1"/>
          </p:cNvSpPr>
          <p:nvPr>
            <p:ph type="sldNum" sz="quarter" idx="5"/>
          </p:nvPr>
        </p:nvSpPr>
        <p:spPr>
          <a:xfrm>
            <a:off x="3848644" y="9433106"/>
            <a:ext cx="2944283" cy="496570"/>
          </a:xfrm>
          <a:prstGeom prst="rect">
            <a:avLst/>
          </a:prstGeom>
        </p:spPr>
        <p:txBody>
          <a:bodyPr vert="horz" lIns="94046" tIns="47023" rIns="94046" bIns="47023" rtlCol="0" anchor="b"/>
          <a:lstStyle>
            <a:lvl1pPr algn="r">
              <a:defRPr sz="1200"/>
            </a:lvl1pPr>
          </a:lstStyle>
          <a:p>
            <a:fld id="{C9E63B0C-45FA-42EB-8101-A2B8393445D8}" type="slidenum">
              <a:rPr lang="en-CA" smtClean="0"/>
              <a:pPr/>
              <a:t>‹#›</a:t>
            </a:fld>
            <a:endParaRPr lang="en-CA"/>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8</a:t>
            </a:fld>
            <a:endParaRPr lang="en-CA"/>
          </a:p>
        </p:txBody>
      </p:sp>
    </p:spTree>
    <p:extLst>
      <p:ext uri="{BB962C8B-B14F-4D97-AF65-F5344CB8AC3E}">
        <p14:creationId xmlns:p14="http://schemas.microsoft.com/office/powerpoint/2010/main" val="518689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29</a:t>
            </a:fld>
            <a:endParaRPr lang="en-CA"/>
          </a:p>
        </p:txBody>
      </p:sp>
    </p:spTree>
    <p:extLst>
      <p:ext uri="{BB962C8B-B14F-4D97-AF65-F5344CB8AC3E}">
        <p14:creationId xmlns:p14="http://schemas.microsoft.com/office/powerpoint/2010/main" val="104308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0</a:t>
            </a:fld>
            <a:endParaRPr lang="en-CA"/>
          </a:p>
        </p:txBody>
      </p:sp>
    </p:spTree>
    <p:extLst>
      <p:ext uri="{BB962C8B-B14F-4D97-AF65-F5344CB8AC3E}">
        <p14:creationId xmlns:p14="http://schemas.microsoft.com/office/powerpoint/2010/main" val="36067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1</a:t>
            </a:fld>
            <a:endParaRPr lang="en-CA"/>
          </a:p>
        </p:txBody>
      </p:sp>
    </p:spTree>
    <p:extLst>
      <p:ext uri="{BB962C8B-B14F-4D97-AF65-F5344CB8AC3E}">
        <p14:creationId xmlns:p14="http://schemas.microsoft.com/office/powerpoint/2010/main" val="6567750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3</a:t>
            </a:fld>
            <a:endParaRPr lang="en-CA"/>
          </a:p>
        </p:txBody>
      </p:sp>
    </p:spTree>
    <p:extLst>
      <p:ext uri="{BB962C8B-B14F-4D97-AF65-F5344CB8AC3E}">
        <p14:creationId xmlns:p14="http://schemas.microsoft.com/office/powerpoint/2010/main" val="1406824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4</a:t>
            </a:fld>
            <a:endParaRPr lang="en-CA"/>
          </a:p>
        </p:txBody>
      </p:sp>
    </p:spTree>
    <p:extLst>
      <p:ext uri="{BB962C8B-B14F-4D97-AF65-F5344CB8AC3E}">
        <p14:creationId xmlns:p14="http://schemas.microsoft.com/office/powerpoint/2010/main" val="3342097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5</a:t>
            </a:fld>
            <a:endParaRPr lang="en-CA"/>
          </a:p>
        </p:txBody>
      </p:sp>
    </p:spTree>
    <p:extLst>
      <p:ext uri="{BB962C8B-B14F-4D97-AF65-F5344CB8AC3E}">
        <p14:creationId xmlns:p14="http://schemas.microsoft.com/office/powerpoint/2010/main" val="984361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6</a:t>
            </a:fld>
            <a:endParaRPr lang="en-CA"/>
          </a:p>
        </p:txBody>
      </p:sp>
    </p:spTree>
    <p:extLst>
      <p:ext uri="{BB962C8B-B14F-4D97-AF65-F5344CB8AC3E}">
        <p14:creationId xmlns:p14="http://schemas.microsoft.com/office/powerpoint/2010/main" val="133176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7</a:t>
            </a:fld>
            <a:endParaRPr lang="en-CA"/>
          </a:p>
        </p:txBody>
      </p:sp>
    </p:spTree>
    <p:extLst>
      <p:ext uri="{BB962C8B-B14F-4D97-AF65-F5344CB8AC3E}">
        <p14:creationId xmlns:p14="http://schemas.microsoft.com/office/powerpoint/2010/main" val="1649055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8</a:t>
            </a:fld>
            <a:endParaRPr lang="en-CA"/>
          </a:p>
        </p:txBody>
      </p:sp>
    </p:spTree>
    <p:extLst>
      <p:ext uri="{BB962C8B-B14F-4D97-AF65-F5344CB8AC3E}">
        <p14:creationId xmlns:p14="http://schemas.microsoft.com/office/powerpoint/2010/main" val="34840684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9</a:t>
            </a:fld>
            <a:endParaRPr lang="en-CA"/>
          </a:p>
        </p:txBody>
      </p:sp>
    </p:spTree>
    <p:extLst>
      <p:ext uri="{BB962C8B-B14F-4D97-AF65-F5344CB8AC3E}">
        <p14:creationId xmlns:p14="http://schemas.microsoft.com/office/powerpoint/2010/main" val="1162621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37255-DB17-9A57-0970-514D76CD111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0424944-381A-2EB6-41D0-CE6836D00D9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917ED33-5B8E-753C-0251-B2EB5F76D76D}"/>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E9DCF11F-75CE-B360-2EDC-54A87D4CDE2B}"/>
              </a:ext>
            </a:extLst>
          </p:cNvPr>
          <p:cNvSpPr>
            <a:spLocks noGrp="1"/>
          </p:cNvSpPr>
          <p:nvPr>
            <p:ph type="sldNum" sz="quarter" idx="10"/>
          </p:nvPr>
        </p:nvSpPr>
        <p:spPr/>
        <p:txBody>
          <a:bodyPr/>
          <a:lstStyle/>
          <a:p>
            <a:fld id="{C9E63B0C-45FA-42EB-8101-A2B8393445D8}" type="slidenum">
              <a:rPr lang="en-CA" smtClean="0"/>
              <a:pPr/>
              <a:t>9</a:t>
            </a:fld>
            <a:endParaRPr lang="en-CA"/>
          </a:p>
        </p:txBody>
      </p:sp>
    </p:spTree>
    <p:extLst>
      <p:ext uri="{BB962C8B-B14F-4D97-AF65-F5344CB8AC3E}">
        <p14:creationId xmlns:p14="http://schemas.microsoft.com/office/powerpoint/2010/main" val="2288671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0</a:t>
            </a:fld>
            <a:endParaRPr lang="en-CA"/>
          </a:p>
        </p:txBody>
      </p:sp>
    </p:spTree>
    <p:extLst>
      <p:ext uri="{BB962C8B-B14F-4D97-AF65-F5344CB8AC3E}">
        <p14:creationId xmlns:p14="http://schemas.microsoft.com/office/powerpoint/2010/main" val="28326538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1</a:t>
            </a:fld>
            <a:endParaRPr lang="en-CA"/>
          </a:p>
        </p:txBody>
      </p:sp>
    </p:spTree>
    <p:extLst>
      <p:ext uri="{BB962C8B-B14F-4D97-AF65-F5344CB8AC3E}">
        <p14:creationId xmlns:p14="http://schemas.microsoft.com/office/powerpoint/2010/main" val="650649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2</a:t>
            </a:fld>
            <a:endParaRPr lang="en-CA"/>
          </a:p>
        </p:txBody>
      </p:sp>
    </p:spTree>
    <p:extLst>
      <p:ext uri="{BB962C8B-B14F-4D97-AF65-F5344CB8AC3E}">
        <p14:creationId xmlns:p14="http://schemas.microsoft.com/office/powerpoint/2010/main" val="411040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3</a:t>
            </a:fld>
            <a:endParaRPr lang="en-CA"/>
          </a:p>
        </p:txBody>
      </p:sp>
    </p:spTree>
    <p:extLst>
      <p:ext uri="{BB962C8B-B14F-4D97-AF65-F5344CB8AC3E}">
        <p14:creationId xmlns:p14="http://schemas.microsoft.com/office/powerpoint/2010/main" val="13523508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5</a:t>
            </a:fld>
            <a:endParaRPr lang="en-CA"/>
          </a:p>
        </p:txBody>
      </p:sp>
    </p:spTree>
    <p:extLst>
      <p:ext uri="{BB962C8B-B14F-4D97-AF65-F5344CB8AC3E}">
        <p14:creationId xmlns:p14="http://schemas.microsoft.com/office/powerpoint/2010/main" val="22702557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6</a:t>
            </a:fld>
            <a:endParaRPr lang="en-CA"/>
          </a:p>
        </p:txBody>
      </p:sp>
    </p:spTree>
    <p:extLst>
      <p:ext uri="{BB962C8B-B14F-4D97-AF65-F5344CB8AC3E}">
        <p14:creationId xmlns:p14="http://schemas.microsoft.com/office/powerpoint/2010/main" val="36850352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7</a:t>
            </a:fld>
            <a:endParaRPr lang="en-CA"/>
          </a:p>
        </p:txBody>
      </p:sp>
    </p:spTree>
    <p:extLst>
      <p:ext uri="{BB962C8B-B14F-4D97-AF65-F5344CB8AC3E}">
        <p14:creationId xmlns:p14="http://schemas.microsoft.com/office/powerpoint/2010/main" val="383511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9</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0</a:t>
            </a:fld>
            <a:endParaRPr lang="en-CA"/>
          </a:p>
        </p:txBody>
      </p:sp>
    </p:spTree>
    <p:extLst>
      <p:ext uri="{BB962C8B-B14F-4D97-AF65-F5344CB8AC3E}">
        <p14:creationId xmlns:p14="http://schemas.microsoft.com/office/powerpoint/2010/main" val="2847651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1</a:t>
            </a:fld>
            <a:endParaRPr lang="en-CA"/>
          </a:p>
        </p:txBody>
      </p:sp>
    </p:spTree>
    <p:extLst>
      <p:ext uri="{BB962C8B-B14F-4D97-AF65-F5344CB8AC3E}">
        <p14:creationId xmlns:p14="http://schemas.microsoft.com/office/powerpoint/2010/main" val="3786109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0</a:t>
            </a:fld>
            <a:endParaRPr lang="en-CA"/>
          </a:p>
        </p:txBody>
      </p:sp>
    </p:spTree>
    <p:extLst>
      <p:ext uri="{BB962C8B-B14F-4D97-AF65-F5344CB8AC3E}">
        <p14:creationId xmlns:p14="http://schemas.microsoft.com/office/powerpoint/2010/main" val="693558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2</a:t>
            </a:fld>
            <a:endParaRPr lang="en-CA"/>
          </a:p>
        </p:txBody>
      </p:sp>
    </p:spTree>
    <p:extLst>
      <p:ext uri="{BB962C8B-B14F-4D97-AF65-F5344CB8AC3E}">
        <p14:creationId xmlns:p14="http://schemas.microsoft.com/office/powerpoint/2010/main" val="26431182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3</a:t>
            </a:fld>
            <a:endParaRPr lang="en-CA"/>
          </a:p>
        </p:txBody>
      </p:sp>
    </p:spTree>
    <p:extLst>
      <p:ext uri="{BB962C8B-B14F-4D97-AF65-F5344CB8AC3E}">
        <p14:creationId xmlns:p14="http://schemas.microsoft.com/office/powerpoint/2010/main" val="38036848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4</a:t>
            </a:fld>
            <a:endParaRPr lang="en-CA"/>
          </a:p>
        </p:txBody>
      </p:sp>
    </p:spTree>
    <p:extLst>
      <p:ext uri="{BB962C8B-B14F-4D97-AF65-F5344CB8AC3E}">
        <p14:creationId xmlns:p14="http://schemas.microsoft.com/office/powerpoint/2010/main" val="23523674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6</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7</a:t>
            </a:fld>
            <a:endParaRPr lang="en-CA"/>
          </a:p>
        </p:txBody>
      </p:sp>
    </p:spTree>
    <p:extLst>
      <p:ext uri="{BB962C8B-B14F-4D97-AF65-F5344CB8AC3E}">
        <p14:creationId xmlns:p14="http://schemas.microsoft.com/office/powerpoint/2010/main" val="9122478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8</a:t>
            </a:fld>
            <a:endParaRPr lang="en-CA"/>
          </a:p>
        </p:txBody>
      </p:sp>
    </p:spTree>
    <p:extLst>
      <p:ext uri="{BB962C8B-B14F-4D97-AF65-F5344CB8AC3E}">
        <p14:creationId xmlns:p14="http://schemas.microsoft.com/office/powerpoint/2010/main" val="22512389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9</a:t>
            </a:fld>
            <a:endParaRPr lang="en-CA"/>
          </a:p>
        </p:txBody>
      </p:sp>
    </p:spTree>
    <p:extLst>
      <p:ext uri="{BB962C8B-B14F-4D97-AF65-F5344CB8AC3E}">
        <p14:creationId xmlns:p14="http://schemas.microsoft.com/office/powerpoint/2010/main" val="22835344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0</a:t>
            </a:fld>
            <a:endParaRPr lang="en-CA"/>
          </a:p>
        </p:txBody>
      </p:sp>
    </p:spTree>
    <p:extLst>
      <p:ext uri="{BB962C8B-B14F-4D97-AF65-F5344CB8AC3E}">
        <p14:creationId xmlns:p14="http://schemas.microsoft.com/office/powerpoint/2010/main" val="3358608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1</a:t>
            </a:fld>
            <a:endParaRPr lang="en-CA"/>
          </a:p>
        </p:txBody>
      </p:sp>
    </p:spTree>
    <p:extLst>
      <p:ext uri="{BB962C8B-B14F-4D97-AF65-F5344CB8AC3E}">
        <p14:creationId xmlns:p14="http://schemas.microsoft.com/office/powerpoint/2010/main" val="38180762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2</a:t>
            </a:fld>
            <a:endParaRPr lang="en-CA"/>
          </a:p>
        </p:txBody>
      </p:sp>
    </p:spTree>
    <p:extLst>
      <p:ext uri="{BB962C8B-B14F-4D97-AF65-F5344CB8AC3E}">
        <p14:creationId xmlns:p14="http://schemas.microsoft.com/office/powerpoint/2010/main" val="1794325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1</a:t>
            </a:fld>
            <a:endParaRPr lang="en-CA"/>
          </a:p>
        </p:txBody>
      </p:sp>
    </p:spTree>
    <p:extLst>
      <p:ext uri="{BB962C8B-B14F-4D97-AF65-F5344CB8AC3E}">
        <p14:creationId xmlns:p14="http://schemas.microsoft.com/office/powerpoint/2010/main" val="16387744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3</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4</a:t>
            </a:fld>
            <a:endParaRPr lang="en-CA"/>
          </a:p>
        </p:txBody>
      </p:sp>
    </p:spTree>
    <p:extLst>
      <p:ext uri="{BB962C8B-B14F-4D97-AF65-F5344CB8AC3E}">
        <p14:creationId xmlns:p14="http://schemas.microsoft.com/office/powerpoint/2010/main" val="22514450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5</a:t>
            </a:fld>
            <a:endParaRPr lang="en-CA"/>
          </a:p>
        </p:txBody>
      </p:sp>
    </p:spTree>
    <p:extLst>
      <p:ext uri="{BB962C8B-B14F-4D97-AF65-F5344CB8AC3E}">
        <p14:creationId xmlns:p14="http://schemas.microsoft.com/office/powerpoint/2010/main" val="21812104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6</a:t>
            </a:fld>
            <a:endParaRPr lang="en-CA"/>
          </a:p>
        </p:txBody>
      </p:sp>
    </p:spTree>
    <p:extLst>
      <p:ext uri="{BB962C8B-B14F-4D97-AF65-F5344CB8AC3E}">
        <p14:creationId xmlns:p14="http://schemas.microsoft.com/office/powerpoint/2010/main" val="34110114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7</a:t>
            </a:fld>
            <a:endParaRPr lang="en-CA"/>
          </a:p>
        </p:txBody>
      </p:sp>
    </p:spTree>
    <p:extLst>
      <p:ext uri="{BB962C8B-B14F-4D97-AF65-F5344CB8AC3E}">
        <p14:creationId xmlns:p14="http://schemas.microsoft.com/office/powerpoint/2010/main" val="22044734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8</a:t>
            </a:fld>
            <a:endParaRPr lang="en-CA"/>
          </a:p>
        </p:txBody>
      </p:sp>
    </p:spTree>
    <p:extLst>
      <p:ext uri="{BB962C8B-B14F-4D97-AF65-F5344CB8AC3E}">
        <p14:creationId xmlns:p14="http://schemas.microsoft.com/office/powerpoint/2010/main" val="5744695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9</a:t>
            </a:fld>
            <a:endParaRPr lang="en-CA"/>
          </a:p>
        </p:txBody>
      </p:sp>
    </p:spTree>
    <p:extLst>
      <p:ext uri="{BB962C8B-B14F-4D97-AF65-F5344CB8AC3E}">
        <p14:creationId xmlns:p14="http://schemas.microsoft.com/office/powerpoint/2010/main" val="8242760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0</a:t>
            </a:fld>
            <a:endParaRPr lang="en-CA"/>
          </a:p>
        </p:txBody>
      </p:sp>
    </p:spTree>
    <p:extLst>
      <p:ext uri="{BB962C8B-B14F-4D97-AF65-F5344CB8AC3E}">
        <p14:creationId xmlns:p14="http://schemas.microsoft.com/office/powerpoint/2010/main" val="42658987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2</a:t>
            </a:fld>
            <a:endParaRPr lang="en-CA"/>
          </a:p>
        </p:txBody>
      </p:sp>
    </p:spTree>
    <p:extLst>
      <p:ext uri="{BB962C8B-B14F-4D97-AF65-F5344CB8AC3E}">
        <p14:creationId xmlns:p14="http://schemas.microsoft.com/office/powerpoint/2010/main" val="195060284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3</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2</a:t>
            </a:fld>
            <a:endParaRPr lang="en-CA"/>
          </a:p>
        </p:txBody>
      </p:sp>
    </p:spTree>
    <p:extLst>
      <p:ext uri="{BB962C8B-B14F-4D97-AF65-F5344CB8AC3E}">
        <p14:creationId xmlns:p14="http://schemas.microsoft.com/office/powerpoint/2010/main" val="307469954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4</a:t>
            </a:fld>
            <a:endParaRPr lang="en-CA"/>
          </a:p>
        </p:txBody>
      </p:sp>
    </p:spTree>
    <p:extLst>
      <p:ext uri="{BB962C8B-B14F-4D97-AF65-F5344CB8AC3E}">
        <p14:creationId xmlns:p14="http://schemas.microsoft.com/office/powerpoint/2010/main" val="42145320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5</a:t>
            </a:fld>
            <a:endParaRPr lang="en-CA"/>
          </a:p>
        </p:txBody>
      </p:sp>
    </p:spTree>
    <p:extLst>
      <p:ext uri="{BB962C8B-B14F-4D97-AF65-F5344CB8AC3E}">
        <p14:creationId xmlns:p14="http://schemas.microsoft.com/office/powerpoint/2010/main" val="26097716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6</a:t>
            </a:fld>
            <a:endParaRPr lang="en-CA"/>
          </a:p>
        </p:txBody>
      </p:sp>
    </p:spTree>
    <p:extLst>
      <p:ext uri="{BB962C8B-B14F-4D97-AF65-F5344CB8AC3E}">
        <p14:creationId xmlns:p14="http://schemas.microsoft.com/office/powerpoint/2010/main" val="16665991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82</a:t>
            </a:fld>
            <a:endParaRPr lang="en-CA"/>
          </a:p>
        </p:txBody>
      </p:sp>
    </p:spTree>
    <p:extLst>
      <p:ext uri="{BB962C8B-B14F-4D97-AF65-F5344CB8AC3E}">
        <p14:creationId xmlns:p14="http://schemas.microsoft.com/office/powerpoint/2010/main" val="230061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3</a:t>
            </a:fld>
            <a:endParaRPr lang="en-CA"/>
          </a:p>
        </p:txBody>
      </p:sp>
    </p:spTree>
    <p:extLst>
      <p:ext uri="{BB962C8B-B14F-4D97-AF65-F5344CB8AC3E}">
        <p14:creationId xmlns:p14="http://schemas.microsoft.com/office/powerpoint/2010/main" val="1236936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4</a:t>
            </a:fld>
            <a:endParaRPr lang="en-CA"/>
          </a:p>
        </p:txBody>
      </p:sp>
    </p:spTree>
    <p:extLst>
      <p:ext uri="{BB962C8B-B14F-4D97-AF65-F5344CB8AC3E}">
        <p14:creationId xmlns:p14="http://schemas.microsoft.com/office/powerpoint/2010/main" val="1906297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5</a:t>
            </a:fld>
            <a:endParaRPr lang="en-CA"/>
          </a:p>
        </p:txBody>
      </p:sp>
    </p:spTree>
    <p:extLst>
      <p:ext uri="{BB962C8B-B14F-4D97-AF65-F5344CB8AC3E}">
        <p14:creationId xmlns:p14="http://schemas.microsoft.com/office/powerpoint/2010/main" val="40985732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6</a:t>
            </a:fld>
            <a:endParaRPr lang="en-CA"/>
          </a:p>
        </p:txBody>
      </p:sp>
    </p:spTree>
    <p:extLst>
      <p:ext uri="{BB962C8B-B14F-4D97-AF65-F5344CB8AC3E}">
        <p14:creationId xmlns:p14="http://schemas.microsoft.com/office/powerpoint/2010/main" val="2380405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blatt">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 name="think-cell Slide" r:id="rId6" imgW="360" imgH="360" progId="">
                  <p:embed/>
                </p:oleObj>
              </mc:Choice>
              <mc:Fallback>
                <p:oleObj name="think-cell Slide" r:id="rId6" imgW="360" imgH="36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0" y="8946"/>
            <a:ext cx="9144000" cy="6250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itre 1"/>
          <p:cNvSpPr>
            <a:spLocks noGrp="1"/>
          </p:cNvSpPr>
          <p:nvPr userDrawn="1">
            <p:ph type="ctrTitle" hasCustomPrompt="1"/>
            <p:custDataLst>
              <p:tags r:id="rId4"/>
            </p:custDataLst>
          </p:nvPr>
        </p:nvSpPr>
        <p:spPr>
          <a:xfrm>
            <a:off x="467544" y="836712"/>
            <a:ext cx="8280920" cy="2376264"/>
          </a:xfrm>
        </p:spPr>
        <p:txBody>
          <a:bodyPr anchor="ctr" anchorCtr="0">
            <a:normAutofit/>
          </a:bodyPr>
          <a:lstStyle>
            <a:lvl1pPr algn="l">
              <a:lnSpc>
                <a:spcPct val="100000"/>
              </a:lnSpc>
              <a:defRPr sz="3200" u="none" cap="none" baseline="0">
                <a:solidFill>
                  <a:schemeClr val="accent1"/>
                </a:solidFill>
                <a:latin typeface="Arial Black" pitchFamily="34" charset="0"/>
              </a:defRPr>
            </a:lvl1pPr>
          </a:lstStyle>
          <a:p>
            <a:r>
              <a:rPr lang="en-CA" noProof="0" dirty="0"/>
              <a:t>Click to edit title</a:t>
            </a:r>
          </a:p>
        </p:txBody>
      </p:sp>
      <p:sp>
        <p:nvSpPr>
          <p:cNvPr id="17" name="Text Placeholder 16"/>
          <p:cNvSpPr>
            <a:spLocks noGrp="1"/>
          </p:cNvSpPr>
          <p:nvPr>
            <p:ph type="body" sz="quarter" idx="10" hasCustomPrompt="1"/>
          </p:nvPr>
        </p:nvSpPr>
        <p:spPr>
          <a:xfrm>
            <a:off x="467014" y="3357563"/>
            <a:ext cx="8281699" cy="863525"/>
          </a:xfrm>
        </p:spPr>
        <p:txBody>
          <a:bodyPr anchor="ctr">
            <a:normAutofit/>
          </a:bodyPr>
          <a:lstStyle>
            <a:lvl1pPr>
              <a:lnSpc>
                <a:spcPct val="100000"/>
              </a:lnSpc>
              <a:defRPr sz="2000">
                <a:solidFill>
                  <a:srgbClr val="808D97"/>
                </a:solidFill>
              </a:defRPr>
            </a:lvl1pPr>
          </a:lstStyle>
          <a:p>
            <a:pPr lvl="0"/>
            <a:r>
              <a:rPr lang="en-CA" noProof="0"/>
              <a:t>Click to add presenter and date</a:t>
            </a:r>
          </a:p>
        </p:txBody>
      </p:sp>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inhal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lnSpc>
                <a:spcPct val="100000"/>
              </a:lnSpc>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2" y="1052736"/>
            <a:ext cx="8397735" cy="4896544"/>
          </a:xfrm>
        </p:spPr>
        <p:txBody>
          <a:bodyPr lIns="7200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9" name="Text Placeholder 6"/>
          <p:cNvSpPr>
            <a:spLocks noGrp="1"/>
          </p:cNvSpPr>
          <p:nvPr>
            <p:ph type="body" sz="quarter" idx="16" hasCustomPrompt="1"/>
          </p:nvPr>
        </p:nvSpPr>
        <p:spPr>
          <a:xfrm>
            <a:off x="755576" y="6308725"/>
            <a:ext cx="6119887" cy="360363"/>
          </a:xfrm>
        </p:spPr>
        <p:txBody>
          <a:bodyPr vert="horz" lIns="72000" tIns="45720" rIns="72000" bIns="45720" rtlCol="0" anchor="ctr">
            <a:noAutofit/>
          </a:bodyPr>
          <a:lstStyle>
            <a:lvl1pPr>
              <a:lnSpc>
                <a:spcPct val="100000"/>
              </a:lnSpc>
              <a:spcBef>
                <a:spcPts val="0"/>
              </a:spcBef>
              <a:defRPr lang="en-CA" sz="1000" kern="1200" dirty="0">
                <a:solidFill>
                  <a:schemeClr val="tx1">
                    <a:lumMod val="65000"/>
                    <a:lumOff val="35000"/>
                  </a:schemeClr>
                </a:solidFill>
                <a:latin typeface="+mn-lt"/>
                <a:ea typeface="+mn-ea"/>
                <a:cs typeface="+mn-cs"/>
              </a:defRPr>
            </a:lvl1pPr>
            <a:lvl2pPr>
              <a:defRPr sz="1000"/>
            </a:lvl2pPr>
            <a:lvl3pPr>
              <a:defRPr sz="1000"/>
            </a:lvl3pPr>
            <a:lvl4pPr>
              <a:defRPr sz="1000"/>
            </a:lvl4pPr>
            <a:lvl5pPr>
              <a:defRPr sz="1000"/>
            </a:lvl5pPr>
          </a:lstStyle>
          <a:p>
            <a:pPr marL="0" lvl="0" indent="0" algn="l" defTabSz="914400" rtl="0" eaLnBrk="1" latinLnBrk="0" hangingPunct="1">
              <a:lnSpc>
                <a:spcPts val="1600"/>
              </a:lnSpc>
              <a:spcBef>
                <a:spcPts val="0"/>
              </a:spcBef>
              <a:buFont typeface="Arial" pitchFamily="34" charset="0"/>
              <a:buNone/>
            </a:pPr>
            <a:r>
              <a:rPr lang="en-CA" dirty="0"/>
              <a:t>Click to add notes</a:t>
            </a:r>
          </a:p>
        </p:txBody>
      </p:sp>
    </p:spTree>
    <p:extLst>
      <p:ext uri="{BB962C8B-B14F-4D97-AF65-F5344CB8AC3E}">
        <p14:creationId xmlns:p14="http://schemas.microsoft.com/office/powerpoint/2010/main" val="1789523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inhalt, gleiche Grüsse">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1" y="1052736"/>
            <a:ext cx="8424000" cy="4896544"/>
          </a:xfrm>
        </p:spPr>
        <p:txBody>
          <a:bodyPr lIns="72000" rIns="72000">
            <a:normAutofit/>
          </a:bodyPr>
          <a:lstStyle>
            <a:lvl1pPr>
              <a:lnSpc>
                <a:spcPct val="100000"/>
              </a:lnSpc>
              <a:spcBef>
                <a:spcPts val="600"/>
              </a:spcBef>
              <a:defRPr sz="1600"/>
            </a:lvl1pPr>
            <a:lvl2pPr>
              <a:lnSpc>
                <a:spcPct val="100000"/>
              </a:lnSpc>
              <a:spcBef>
                <a:spcPts val="600"/>
              </a:spcBef>
              <a:buClr>
                <a:srgbClr val="8996A0"/>
              </a:buClr>
              <a:defRPr sz="1600"/>
            </a:lvl2pPr>
            <a:lvl3pPr>
              <a:lnSpc>
                <a:spcPct val="100000"/>
              </a:lnSpc>
              <a:spcBef>
                <a:spcPts val="600"/>
              </a:spcBef>
              <a:buClr>
                <a:srgbClr val="8996A0"/>
              </a:buClr>
              <a:defRPr sz="1600"/>
            </a:lvl3pPr>
            <a:lvl4pPr>
              <a:lnSpc>
                <a:spcPct val="100000"/>
              </a:lnSpc>
              <a:spcBef>
                <a:spcPts val="600"/>
              </a:spcBef>
              <a:buClr>
                <a:srgbClr val="8996A0"/>
              </a:buClr>
              <a:defRPr sz="1600"/>
            </a:lvl4pPr>
            <a:lvl5pPr>
              <a:lnSpc>
                <a:spcPts val="1600"/>
              </a:lnSpc>
              <a:spcBef>
                <a:spcPts val="600"/>
              </a:spcBef>
              <a:buClr>
                <a:srgbClr val="8996A0"/>
              </a:buClr>
              <a:defRPr sz="1600"/>
            </a:lvl5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6"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71648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Spal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4" name="Espace réservé du contenu 3"/>
          <p:cNvSpPr>
            <a:spLocks noGrp="1"/>
          </p:cNvSpPr>
          <p:nvPr>
            <p:ph sz="half" idx="2" hasCustomPrompt="1"/>
          </p:nvPr>
        </p:nvSpPr>
        <p:spPr>
          <a:xfrm>
            <a:off x="4751451"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2961240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Spalten mit Überschrif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4" name="Espace réservé du contenu 3"/>
          <p:cNvSpPr>
            <a:spLocks noGrp="1"/>
          </p:cNvSpPr>
          <p:nvPr>
            <p:ph sz="half" idx="2" hasCustomPrompt="1"/>
          </p:nvPr>
        </p:nvSpPr>
        <p:spPr>
          <a:xfrm>
            <a:off x="4751451"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3" name="Espace réservé du texte 2"/>
          <p:cNvSpPr>
            <a:spLocks noGrp="1"/>
          </p:cNvSpPr>
          <p:nvPr>
            <p:ph type="body" idx="14" hasCustomPrompt="1"/>
          </p:nvPr>
        </p:nvSpPr>
        <p:spPr>
          <a:xfrm>
            <a:off x="359532" y="1052736"/>
            <a:ext cx="4032000" cy="360040"/>
          </a:xfrm>
        </p:spPr>
        <p:txBody>
          <a:bodyPr lIns="72000" rIns="72000" anchor="ctr" anchorCtr="0">
            <a:normAutofit/>
          </a:bodyPr>
          <a:lstStyle>
            <a:lvl1pPr marL="0" indent="0">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4" name="Espace réservé du texte 4"/>
          <p:cNvSpPr>
            <a:spLocks noGrp="1"/>
          </p:cNvSpPr>
          <p:nvPr>
            <p:ph type="body" sz="quarter" idx="3" hasCustomPrompt="1"/>
          </p:nvPr>
        </p:nvSpPr>
        <p:spPr>
          <a:xfrm>
            <a:off x="4752468" y="1052736"/>
            <a:ext cx="4032000" cy="360040"/>
          </a:xfrm>
        </p:spPr>
        <p:txBody>
          <a:bodyPr lIns="72000" rIns="72000" anchor="ctr" anchorCtr="0">
            <a:normAutofit/>
          </a:bodyPr>
          <a:lstStyle>
            <a:lvl1pPr marL="0" indent="0">
              <a:lnSpc>
                <a:spcPct val="100000"/>
              </a:lnSpc>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530003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7"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eisses Blatt">
    <p:spTree>
      <p:nvGrpSpPr>
        <p:cNvPr id="1" name=""/>
        <p:cNvGrpSpPr/>
        <p:nvPr/>
      </p:nvGrpSpPr>
      <p:grpSpPr>
        <a:xfrm>
          <a:off x="0" y="0"/>
          <a:ext cx="0" cy="0"/>
          <a:chOff x="0" y="0"/>
          <a:chExt cx="0" cy="0"/>
        </a:xfrm>
      </p:grpSpPr>
      <p:sp>
        <p:nvSpPr>
          <p:cNvPr id="2" name="Rectangle 5"/>
          <p:cNvSpPr/>
          <p:nvPr userDrawn="1">
            <p:custDataLst>
              <p:tags r:id="rId1"/>
            </p:custDataLst>
          </p:nvPr>
        </p:nvSpPr>
        <p:spPr>
          <a:xfrm>
            <a:off x="0" y="8946"/>
            <a:ext cx="9144000" cy="6849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976959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14" imgW="360" imgH="360" progId="">
                  <p:embed/>
                </p:oleObj>
              </mc:Choice>
              <mc:Fallback>
                <p:oleObj name="think-cell Slide" r:id="rId14" imgW="360" imgH="360" progId="">
                  <p:embed/>
                  <p:pic>
                    <p:nvPicPr>
                      <p:cNvPr id="13" name="Object 12"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11"/>
            </p:custDataLst>
          </p:nvPr>
        </p:nvSpPr>
        <p:spPr>
          <a:xfrm>
            <a:off x="350728" y="8620"/>
            <a:ext cx="8424000" cy="576064"/>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12"/>
            </p:custDataLst>
          </p:nvPr>
        </p:nvSpPr>
        <p:spPr>
          <a:xfrm>
            <a:off x="359532" y="764704"/>
            <a:ext cx="8424000" cy="5544616"/>
          </a:xfrm>
          <a:prstGeom prst="rect">
            <a:avLst/>
          </a:prstGeom>
        </p:spPr>
        <p:txBody>
          <a:bodyPr vert="horz" lIns="72000" tIns="45720" rIns="72000" bIns="45720" rtlCol="0">
            <a:normAutofit/>
          </a:bodyPr>
          <a:lstStyle/>
          <a:p>
            <a:pPr lvl="0"/>
            <a:r>
              <a:rPr lang="en-CA"/>
              <a:t>Click to edit text</a:t>
            </a:r>
          </a:p>
          <a:p>
            <a:pPr lvl="1"/>
            <a:r>
              <a:rPr lang="en-CA"/>
              <a:t>Second level</a:t>
            </a:r>
          </a:p>
          <a:p>
            <a:pPr lvl="2"/>
            <a:r>
              <a:rPr lang="en-CA"/>
              <a:t>Third level</a:t>
            </a:r>
          </a:p>
          <a:p>
            <a:pPr lvl="3"/>
            <a:r>
              <a:rPr lang="en-CA"/>
              <a:t>Fourth level</a:t>
            </a:r>
          </a:p>
          <a:p>
            <a:pPr lvl="0"/>
            <a:endParaRPr lang="en-CA"/>
          </a:p>
          <a:p>
            <a:pPr lvl="0"/>
            <a:endParaRPr lang="en-CA"/>
          </a:p>
          <a:p>
            <a:pPr lvl="3"/>
            <a:endParaRPr lang="en-CA" dirty="0"/>
          </a:p>
        </p:txBody>
      </p:sp>
      <p:sp>
        <p:nvSpPr>
          <p:cNvPr id="10" name="Line 16"/>
          <p:cNvSpPr>
            <a:spLocks noChangeShapeType="1"/>
          </p:cNvSpPr>
          <p:nvPr>
            <p:custDataLst>
              <p:tags r:id="rId13"/>
            </p:custDataLst>
          </p:nvPr>
        </p:nvSpPr>
        <p:spPr bwMode="auto">
          <a:xfrm>
            <a:off x="359532" y="620688"/>
            <a:ext cx="8424000" cy="0"/>
          </a:xfrm>
          <a:prstGeom prst="line">
            <a:avLst/>
          </a:prstGeom>
          <a:noFill/>
          <a:ln w="12700">
            <a:solidFill>
              <a:srgbClr val="808D97"/>
            </a:solidFill>
            <a:round/>
            <a:headEnd/>
            <a:tailEnd/>
          </a:ln>
          <a:effectLst/>
        </p:spPr>
        <p:txBody>
          <a:bodyPr lIns="91360" tIns="45680" rIns="91360" bIns="45680"/>
          <a:lstStyle/>
          <a:p>
            <a:pPr eaLnBrk="0" hangingPunct="0">
              <a:spcBef>
                <a:spcPct val="50000"/>
              </a:spcBef>
              <a:buClr>
                <a:schemeClr val="accent2"/>
              </a:buClr>
              <a:buFont typeface="Wingdings" pitchFamily="2" charset="2"/>
              <a:buNone/>
              <a:defRPr/>
            </a:pPr>
            <a:endParaRPr lang="en-CA">
              <a:cs typeface="+mn-cs"/>
            </a:endParaRPr>
          </a:p>
        </p:txBody>
      </p:sp>
      <p:sp>
        <p:nvSpPr>
          <p:cNvPr id="11" name="Rectangle 15"/>
          <p:cNvSpPr txBox="1">
            <a:spLocks noChangeArrowheads="1"/>
          </p:cNvSpPr>
          <p:nvPr/>
        </p:nvSpPr>
        <p:spPr bwMode="auto">
          <a:xfrm>
            <a:off x="360000" y="6453336"/>
            <a:ext cx="324000" cy="360000"/>
          </a:xfrm>
          <a:prstGeom prst="rect">
            <a:avLst/>
          </a:prstGeom>
          <a:noFill/>
          <a:ln w="28575" algn="ctr">
            <a:noFill/>
            <a:miter lim="800000"/>
            <a:headEnd/>
            <a:tailEnd/>
          </a:ln>
          <a:effectLst/>
        </p:spPr>
        <p:txBody>
          <a:bodyPr wrap="none" lIns="0" tIns="45680" rIns="72000" bIns="45680" anchor="ctr" anchorCtr="0"/>
          <a:lstStyle>
            <a:lvl1pPr algn="r">
              <a:spcBef>
                <a:spcPct val="0"/>
              </a:spcBef>
              <a:buClr>
                <a:schemeClr val="tx2"/>
              </a:buClr>
              <a:buSzPct val="65000"/>
              <a:defRPr sz="800">
                <a:solidFill>
                  <a:schemeClr val="folHlink"/>
                </a:solidFill>
                <a:cs typeface="+mn-cs"/>
              </a:defRPr>
            </a:lvl1pPr>
          </a:lstStyle>
          <a:p>
            <a:pPr algn="l">
              <a:defRPr/>
            </a:pPr>
            <a:fld id="{0BAFF7BF-13FC-4B87-9050-422B658FE5B2}" type="slidenum">
              <a:rPr lang="en-CA" b="1" smtClean="0">
                <a:solidFill>
                  <a:srgbClr val="8996A0"/>
                </a:solidFill>
                <a:latin typeface="Arial Black" pitchFamily="34" charset="0"/>
              </a:rPr>
              <a:pPr algn="l">
                <a:defRPr/>
              </a:pPr>
              <a:t>‹#›</a:t>
            </a:fld>
            <a:endParaRPr lang="en-CA" b="1" dirty="0">
              <a:solidFill>
                <a:srgbClr val="8996A0"/>
              </a:solidFill>
              <a:latin typeface="Arial Black" pitchFamily="34" charset="0"/>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1" r:id="rId1"/>
    <p:sldLayoutId id="2147483764" r:id="rId2"/>
    <p:sldLayoutId id="2147483779" r:id="rId3"/>
    <p:sldLayoutId id="2147483792" r:id="rId4"/>
    <p:sldLayoutId id="2147483766" r:id="rId5"/>
    <p:sldLayoutId id="2147483768" r:id="rId6"/>
    <p:sldLayoutId id="2147483767" r:id="rId7"/>
  </p:sldLayoutIdLst>
  <p:hf hdr="0" ftr="0" dt="0"/>
  <p:txStyles>
    <p:titleStyle>
      <a:lvl1pPr algn="l" defTabSz="914400" rtl="0" eaLnBrk="1" latinLnBrk="0" hangingPunct="1">
        <a:spcBef>
          <a:spcPct val="0"/>
        </a:spcBef>
        <a:buNone/>
        <a:defRPr lang="en-CA" sz="16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FFD1DF-6AD8-9E80-FB56-4AF094AB3E0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9E67945-BEED-5098-1877-2F7D45E498D1}"/>
              </a:ext>
            </a:extLst>
          </p:cNvPr>
          <p:cNvSpPr>
            <a:spLocks noGrp="1"/>
          </p:cNvSpPr>
          <p:nvPr>
            <p:ph type="title"/>
          </p:nvPr>
        </p:nvSpPr>
        <p:spPr/>
        <p:txBody>
          <a:bodyPr/>
          <a:lstStyle/>
          <a:p>
            <a:r>
              <a:rPr lang="en-US" dirty="0"/>
              <a:t>Introduction</a:t>
            </a:r>
            <a:br>
              <a:rPr lang="en-US" dirty="0"/>
            </a:br>
            <a:r>
              <a:rPr lang="en-US" dirty="0"/>
              <a:t>Overview</a:t>
            </a:r>
          </a:p>
        </p:txBody>
      </p:sp>
      <p:sp>
        <p:nvSpPr>
          <p:cNvPr id="5" name="Rectangle">
            <a:extLst>
              <a:ext uri="{FF2B5EF4-FFF2-40B4-BE49-F238E27FC236}">
                <a16:creationId xmlns:a16="http://schemas.microsoft.com/office/drawing/2014/main" id="{6D894AE8-D892-8C79-8AE8-48A971A3B40B}"/>
              </a:ext>
            </a:extLst>
          </p:cNvPr>
          <p:cNvSpPr/>
          <p:nvPr/>
        </p:nvSpPr>
        <p:spPr>
          <a:xfrm rot="10800000">
            <a:off x="6674076" y="3399867"/>
            <a:ext cx="1769435"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2" name="Triangle">
            <a:extLst>
              <a:ext uri="{FF2B5EF4-FFF2-40B4-BE49-F238E27FC236}">
                <a16:creationId xmlns:a16="http://schemas.microsoft.com/office/drawing/2014/main" id="{BBC6591B-E25D-89AE-1F2F-DE713858A173}"/>
              </a:ext>
            </a:extLst>
          </p:cNvPr>
          <p:cNvSpPr/>
          <p:nvPr/>
        </p:nvSpPr>
        <p:spPr>
          <a:xfrm rot="10800000">
            <a:off x="4847857" y="4479198"/>
            <a:ext cx="1828396" cy="98373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4" name="Triangle">
            <a:extLst>
              <a:ext uri="{FF2B5EF4-FFF2-40B4-BE49-F238E27FC236}">
                <a16:creationId xmlns:a16="http://schemas.microsoft.com/office/drawing/2014/main" id="{00FA806E-056E-9A47-50BE-3DC25C2A0FFA}"/>
              </a:ext>
            </a:extLst>
          </p:cNvPr>
          <p:cNvSpPr/>
          <p:nvPr/>
        </p:nvSpPr>
        <p:spPr>
          <a:xfrm flipH="1">
            <a:off x="4722137" y="3387860"/>
            <a:ext cx="1954116"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8" name="TextBox 36">
            <a:extLst>
              <a:ext uri="{FF2B5EF4-FFF2-40B4-BE49-F238E27FC236}">
                <a16:creationId xmlns:a16="http://schemas.microsoft.com/office/drawing/2014/main" id="{EA32C841-3F8E-F12B-6316-2B3FBDA19BD4}"/>
              </a:ext>
            </a:extLst>
          </p:cNvPr>
          <p:cNvSpPr txBox="1"/>
          <p:nvPr/>
        </p:nvSpPr>
        <p:spPr>
          <a:xfrm>
            <a:off x="965627" y="2853000"/>
            <a:ext cx="1590373"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Multiple big data sources</a:t>
            </a:r>
          </a:p>
        </p:txBody>
      </p:sp>
      <p:sp>
        <p:nvSpPr>
          <p:cNvPr id="32" name="TextBox 36">
            <a:extLst>
              <a:ext uri="{FF2B5EF4-FFF2-40B4-BE49-F238E27FC236}">
                <a16:creationId xmlns:a16="http://schemas.microsoft.com/office/drawing/2014/main" id="{925EE578-F524-CADF-9A51-49D6A514F3D5}"/>
              </a:ext>
            </a:extLst>
          </p:cNvPr>
          <p:cNvSpPr txBox="1"/>
          <p:nvPr/>
        </p:nvSpPr>
        <p:spPr>
          <a:xfrm>
            <a:off x="6404757" y="2853000"/>
            <a:ext cx="2055243"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Integrated analysis</a:t>
            </a:r>
          </a:p>
          <a:p>
            <a:pPr algn="ctr">
              <a:defRPr sz="1600" b="1">
                <a:solidFill>
                  <a:srgbClr val="535353"/>
                </a:solidFill>
              </a:defRPr>
            </a:pPr>
            <a:r>
              <a:rPr lang="en-US" sz="1400" dirty="0">
                <a:solidFill>
                  <a:schemeClr val="tx1">
                    <a:lumMod val="50000"/>
                    <a:lumOff val="50000"/>
                  </a:schemeClr>
                </a:solidFill>
                <a:latin typeface="+mj-lt"/>
              </a:rPr>
              <a:t>in seconds</a:t>
            </a:r>
          </a:p>
        </p:txBody>
      </p:sp>
      <p:sp>
        <p:nvSpPr>
          <p:cNvPr id="40" name="Rectangle">
            <a:extLst>
              <a:ext uri="{FF2B5EF4-FFF2-40B4-BE49-F238E27FC236}">
                <a16:creationId xmlns:a16="http://schemas.microsoft.com/office/drawing/2014/main" id="{7FCA007A-993D-6353-11D7-8316FF3C8560}"/>
              </a:ext>
            </a:extLst>
          </p:cNvPr>
          <p:cNvSpPr/>
          <p:nvPr/>
        </p:nvSpPr>
        <p:spPr>
          <a:xfrm>
            <a:off x="5375359" y="5626077"/>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2" name="Rectangle">
            <a:extLst>
              <a:ext uri="{FF2B5EF4-FFF2-40B4-BE49-F238E27FC236}">
                <a16:creationId xmlns:a16="http://schemas.microsoft.com/office/drawing/2014/main" id="{0E1B2F91-63B8-509C-FDEA-6B27CD4FB5E5}"/>
              </a:ext>
            </a:extLst>
          </p:cNvPr>
          <p:cNvSpPr/>
          <p:nvPr/>
        </p:nvSpPr>
        <p:spPr>
          <a:xfrm>
            <a:off x="5415942" y="5670050"/>
            <a:ext cx="275796"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6" name="Triangle">
            <a:extLst>
              <a:ext uri="{FF2B5EF4-FFF2-40B4-BE49-F238E27FC236}">
                <a16:creationId xmlns:a16="http://schemas.microsoft.com/office/drawing/2014/main" id="{2372816A-C8C9-0407-00AB-A589172DD8D1}"/>
              </a:ext>
            </a:extLst>
          </p:cNvPr>
          <p:cNvSpPr/>
          <p:nvPr/>
        </p:nvSpPr>
        <p:spPr>
          <a:xfrm>
            <a:off x="2968900" y="3402923"/>
            <a:ext cx="1769434" cy="9837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7" name="Triangle">
            <a:extLst>
              <a:ext uri="{FF2B5EF4-FFF2-40B4-BE49-F238E27FC236}">
                <a16:creationId xmlns:a16="http://schemas.microsoft.com/office/drawing/2014/main" id="{7D4864C8-360F-1967-FD6D-E3A86B7769AC}"/>
              </a:ext>
            </a:extLst>
          </p:cNvPr>
          <p:cNvSpPr/>
          <p:nvPr/>
        </p:nvSpPr>
        <p:spPr>
          <a:xfrm rot="10800000" flipH="1">
            <a:off x="2968900" y="4379617"/>
            <a:ext cx="1891100"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8" name="Rectangle">
            <a:extLst>
              <a:ext uri="{FF2B5EF4-FFF2-40B4-BE49-F238E27FC236}">
                <a16:creationId xmlns:a16="http://schemas.microsoft.com/office/drawing/2014/main" id="{C2D62268-A707-BF7D-A0FE-8F7B97861EF8}"/>
              </a:ext>
            </a:extLst>
          </p:cNvPr>
          <p:cNvSpPr/>
          <p:nvPr/>
        </p:nvSpPr>
        <p:spPr>
          <a:xfrm>
            <a:off x="897599" y="3387860"/>
            <a:ext cx="2063293"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9" name="Rounded Rectangle">
            <a:extLst>
              <a:ext uri="{FF2B5EF4-FFF2-40B4-BE49-F238E27FC236}">
                <a16:creationId xmlns:a16="http://schemas.microsoft.com/office/drawing/2014/main" id="{C21C4B45-D73F-3D25-9330-E5C0F9BD3416}"/>
              </a:ext>
            </a:extLst>
          </p:cNvPr>
          <p:cNvSpPr/>
          <p:nvPr/>
        </p:nvSpPr>
        <p:spPr>
          <a:xfrm>
            <a:off x="3780034" y="3737823"/>
            <a:ext cx="2087509" cy="1385649"/>
          </a:xfrm>
          <a:prstGeom prst="roundRect">
            <a:avLst>
              <a:gd name="adj" fmla="val 13748"/>
            </a:avLst>
          </a:prstGeom>
          <a:gradFill>
            <a:gsLst>
              <a:gs pos="0">
                <a:srgbClr val="1E2D78"/>
              </a:gs>
              <a:gs pos="100000">
                <a:srgbClr val="3C5AB4"/>
              </a:gs>
            </a:gsLst>
            <a:lin ang="5400000"/>
          </a:gradFill>
          <a:ln w="12700">
            <a:miter lim="400000"/>
          </a:ln>
          <a:effectLst>
            <a:outerShdw blurRad="38100" dist="78217" dir="12543089" rotWithShape="0">
              <a:srgbClr val="000000">
                <a:alpha val="38000"/>
              </a:srgbClr>
            </a:outerShdw>
          </a:effectLst>
        </p:spPr>
        <p:txBody>
          <a:bodyPr lIns="36000" tIns="36000" rIns="36000" bIns="36000" anchor="ctr"/>
          <a:lstStyle/>
          <a:p>
            <a:pPr>
              <a:defRPr>
                <a:solidFill>
                  <a:srgbClr val="2D5AB4"/>
                </a:solidFill>
              </a:defRPr>
            </a:pPr>
            <a:endParaRPr lang="en-US" dirty="0">
              <a:latin typeface="+mj-lt"/>
            </a:endParaRPr>
          </a:p>
        </p:txBody>
      </p:sp>
      <p:sp>
        <p:nvSpPr>
          <p:cNvPr id="50" name="TextBox 36">
            <a:extLst>
              <a:ext uri="{FF2B5EF4-FFF2-40B4-BE49-F238E27FC236}">
                <a16:creationId xmlns:a16="http://schemas.microsoft.com/office/drawing/2014/main" id="{F69D8D13-D613-4072-3563-41F2A3CE07F2}"/>
              </a:ext>
            </a:extLst>
          </p:cNvPr>
          <p:cNvSpPr txBox="1"/>
          <p:nvPr/>
        </p:nvSpPr>
        <p:spPr>
          <a:xfrm>
            <a:off x="1232706" y="4561697"/>
            <a:ext cx="924383"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bases</a:t>
            </a:r>
          </a:p>
        </p:txBody>
      </p:sp>
      <p:sp>
        <p:nvSpPr>
          <p:cNvPr id="51" name="TextBox 37">
            <a:extLst>
              <a:ext uri="{FF2B5EF4-FFF2-40B4-BE49-F238E27FC236}">
                <a16:creationId xmlns:a16="http://schemas.microsoft.com/office/drawing/2014/main" id="{5DA3C9D4-3D42-0A6C-7336-63CFECD28801}"/>
              </a:ext>
            </a:extLst>
          </p:cNvPr>
          <p:cNvSpPr txBox="1"/>
          <p:nvPr/>
        </p:nvSpPr>
        <p:spPr>
          <a:xfrm>
            <a:off x="1267340" y="3578736"/>
            <a:ext cx="843410"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 files</a:t>
            </a:r>
          </a:p>
        </p:txBody>
      </p:sp>
      <p:sp>
        <p:nvSpPr>
          <p:cNvPr id="52" name="TextBox 49">
            <a:extLst>
              <a:ext uri="{FF2B5EF4-FFF2-40B4-BE49-F238E27FC236}">
                <a16:creationId xmlns:a16="http://schemas.microsoft.com/office/drawing/2014/main" id="{E4CC3BF4-01E3-D0B9-AF03-C1D31F6EA628}"/>
              </a:ext>
            </a:extLst>
          </p:cNvPr>
          <p:cNvSpPr txBox="1"/>
          <p:nvPr/>
        </p:nvSpPr>
        <p:spPr>
          <a:xfrm>
            <a:off x="1265685" y="5067391"/>
            <a:ext cx="858426"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web data</a:t>
            </a:r>
          </a:p>
        </p:txBody>
      </p:sp>
      <p:sp>
        <p:nvSpPr>
          <p:cNvPr id="53" name="TextBox 36">
            <a:extLst>
              <a:ext uri="{FF2B5EF4-FFF2-40B4-BE49-F238E27FC236}">
                <a16:creationId xmlns:a16="http://schemas.microsoft.com/office/drawing/2014/main" id="{45BD30EB-6236-D07D-80F1-5B820DAAD677}"/>
              </a:ext>
            </a:extLst>
          </p:cNvPr>
          <p:cNvSpPr txBox="1"/>
          <p:nvPr/>
        </p:nvSpPr>
        <p:spPr>
          <a:xfrm>
            <a:off x="5043276" y="6093710"/>
            <a:ext cx="1092360"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batch</a:t>
            </a:r>
          </a:p>
          <a:p>
            <a:pPr algn="ctr">
              <a:defRPr sz="1200">
                <a:solidFill>
                  <a:schemeClr val="accent1">
                    <a:satOff val="-3054"/>
                    <a:lumOff val="-11647"/>
                  </a:schemeClr>
                </a:solidFill>
              </a:defRPr>
            </a:pPr>
            <a:r>
              <a:rPr lang="en-US" sz="1100" dirty="0">
                <a:solidFill>
                  <a:srgbClr val="3264C8"/>
                </a:solidFill>
                <a:latin typeface="+mj-lt"/>
              </a:rPr>
              <a:t>programs</a:t>
            </a:r>
          </a:p>
        </p:txBody>
      </p:sp>
      <p:sp>
        <p:nvSpPr>
          <p:cNvPr id="54" name="TextBox 36">
            <a:extLst>
              <a:ext uri="{FF2B5EF4-FFF2-40B4-BE49-F238E27FC236}">
                <a16:creationId xmlns:a16="http://schemas.microsoft.com/office/drawing/2014/main" id="{41776CB6-CD55-4448-3FCA-72920FF08F6C}"/>
              </a:ext>
            </a:extLst>
          </p:cNvPr>
          <p:cNvSpPr txBox="1"/>
          <p:nvPr/>
        </p:nvSpPr>
        <p:spPr>
          <a:xfrm>
            <a:off x="3732009" y="6104596"/>
            <a:ext cx="1092360"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interactive</a:t>
            </a:r>
          </a:p>
          <a:p>
            <a:pPr algn="ctr">
              <a:defRPr sz="1200">
                <a:solidFill>
                  <a:schemeClr val="accent1">
                    <a:satOff val="-3054"/>
                    <a:lumOff val="-11647"/>
                  </a:schemeClr>
                </a:solidFill>
              </a:defRPr>
            </a:pPr>
            <a:r>
              <a:rPr lang="en-US" sz="1100" dirty="0">
                <a:solidFill>
                  <a:srgbClr val="3264C8"/>
                </a:solidFill>
                <a:latin typeface="+mj-lt"/>
              </a:rPr>
              <a:t>processing</a:t>
            </a:r>
          </a:p>
        </p:txBody>
      </p:sp>
      <p:grpSp>
        <p:nvGrpSpPr>
          <p:cNvPr id="55" name="Group 5">
            <a:extLst>
              <a:ext uri="{FF2B5EF4-FFF2-40B4-BE49-F238E27FC236}">
                <a16:creationId xmlns:a16="http://schemas.microsoft.com/office/drawing/2014/main" id="{50992F48-1C58-ADE6-487A-11DCF91AD13E}"/>
              </a:ext>
            </a:extLst>
          </p:cNvPr>
          <p:cNvGrpSpPr/>
          <p:nvPr/>
        </p:nvGrpSpPr>
        <p:grpSpPr>
          <a:xfrm>
            <a:off x="2613297" y="3538580"/>
            <a:ext cx="288497" cy="329375"/>
            <a:chOff x="3732405" y="2367361"/>
            <a:chExt cx="288497" cy="329375"/>
          </a:xfrm>
        </p:grpSpPr>
        <p:sp>
          <p:nvSpPr>
            <p:cNvPr id="56" name="Rectangle">
              <a:extLst>
                <a:ext uri="{FF2B5EF4-FFF2-40B4-BE49-F238E27FC236}">
                  <a16:creationId xmlns:a16="http://schemas.microsoft.com/office/drawing/2014/main" id="{B5A0562A-1306-DC61-0C18-7D31CD35098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7" name="Rectangle">
              <a:extLst>
                <a:ext uri="{FF2B5EF4-FFF2-40B4-BE49-F238E27FC236}">
                  <a16:creationId xmlns:a16="http://schemas.microsoft.com/office/drawing/2014/main" id="{5C71C91E-062D-5AA6-A7CB-AC7C7AB1DD8B}"/>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8" name="Rectangle">
              <a:extLst>
                <a:ext uri="{FF2B5EF4-FFF2-40B4-BE49-F238E27FC236}">
                  <a16:creationId xmlns:a16="http://schemas.microsoft.com/office/drawing/2014/main" id="{8A3FEA93-6B59-166B-6BA4-43A290ABCAFA}"/>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59" name="Computer">
            <a:extLst>
              <a:ext uri="{FF2B5EF4-FFF2-40B4-BE49-F238E27FC236}">
                <a16:creationId xmlns:a16="http://schemas.microsoft.com/office/drawing/2014/main" id="{103439B9-2E14-9EB0-008A-B682C78F8421}"/>
              </a:ext>
            </a:extLst>
          </p:cNvPr>
          <p:cNvSpPr/>
          <p:nvPr/>
        </p:nvSpPr>
        <p:spPr>
          <a:xfrm>
            <a:off x="4000086" y="5635707"/>
            <a:ext cx="535181" cy="431882"/>
          </a:xfrm>
          <a:custGeom>
            <a:avLst/>
            <a:gdLst/>
            <a:ahLst/>
            <a:cxnLst>
              <a:cxn ang="0">
                <a:pos x="wd2" y="hd2"/>
              </a:cxn>
              <a:cxn ang="5400000">
                <a:pos x="wd2" y="hd2"/>
              </a:cxn>
              <a:cxn ang="10800000">
                <a:pos x="wd2" y="hd2"/>
              </a:cxn>
              <a:cxn ang="16200000">
                <a:pos x="wd2" y="hd2"/>
              </a:cxn>
            </a:cxnLst>
            <a:rect l="0" t="0" r="r" b="b"/>
            <a:pathLst>
              <a:path w="21595" h="21600" extrusionOk="0">
                <a:moveTo>
                  <a:pt x="464" y="0"/>
                </a:moveTo>
                <a:cubicBezTo>
                  <a:pt x="210" y="0"/>
                  <a:pt x="0" y="261"/>
                  <a:pt x="0" y="575"/>
                </a:cubicBezTo>
                <a:lnTo>
                  <a:pt x="0" y="17777"/>
                </a:lnTo>
                <a:cubicBezTo>
                  <a:pt x="0" y="18091"/>
                  <a:pt x="210" y="18354"/>
                  <a:pt x="464" y="18354"/>
                </a:cubicBezTo>
                <a:lnTo>
                  <a:pt x="9148" y="18354"/>
                </a:lnTo>
                <a:lnTo>
                  <a:pt x="9116" y="18513"/>
                </a:lnTo>
                <a:lnTo>
                  <a:pt x="8753" y="20763"/>
                </a:lnTo>
                <a:lnTo>
                  <a:pt x="7690" y="20763"/>
                </a:lnTo>
                <a:lnTo>
                  <a:pt x="7690" y="21600"/>
                </a:lnTo>
                <a:lnTo>
                  <a:pt x="10486" y="21600"/>
                </a:lnTo>
                <a:lnTo>
                  <a:pt x="11107" y="21600"/>
                </a:lnTo>
                <a:lnTo>
                  <a:pt x="13905" y="21600"/>
                </a:lnTo>
                <a:lnTo>
                  <a:pt x="13905" y="20763"/>
                </a:lnTo>
                <a:lnTo>
                  <a:pt x="12842" y="20763"/>
                </a:lnTo>
                <a:lnTo>
                  <a:pt x="12479" y="18513"/>
                </a:lnTo>
                <a:lnTo>
                  <a:pt x="12452" y="18354"/>
                </a:lnTo>
                <a:lnTo>
                  <a:pt x="21131" y="18354"/>
                </a:lnTo>
                <a:cubicBezTo>
                  <a:pt x="21384" y="18354"/>
                  <a:pt x="21595" y="18091"/>
                  <a:pt x="21595" y="17777"/>
                </a:cubicBezTo>
                <a:lnTo>
                  <a:pt x="21595" y="575"/>
                </a:lnTo>
                <a:cubicBezTo>
                  <a:pt x="21600" y="261"/>
                  <a:pt x="21389" y="0"/>
                  <a:pt x="21136" y="0"/>
                </a:cubicBezTo>
                <a:lnTo>
                  <a:pt x="464" y="0"/>
                </a:lnTo>
                <a:close/>
                <a:moveTo>
                  <a:pt x="10800" y="542"/>
                </a:moveTo>
                <a:cubicBezTo>
                  <a:pt x="10913" y="542"/>
                  <a:pt x="11006" y="650"/>
                  <a:pt x="11006" y="797"/>
                </a:cubicBezTo>
                <a:cubicBezTo>
                  <a:pt x="11006" y="937"/>
                  <a:pt x="10913" y="1052"/>
                  <a:pt x="10800" y="1052"/>
                </a:cubicBezTo>
                <a:cubicBezTo>
                  <a:pt x="10686" y="1052"/>
                  <a:pt x="10594" y="937"/>
                  <a:pt x="10594" y="797"/>
                </a:cubicBezTo>
                <a:cubicBezTo>
                  <a:pt x="10594" y="656"/>
                  <a:pt x="10686" y="542"/>
                  <a:pt x="10800" y="542"/>
                </a:cubicBezTo>
                <a:close/>
                <a:moveTo>
                  <a:pt x="1242" y="1734"/>
                </a:moveTo>
                <a:lnTo>
                  <a:pt x="20358" y="1734"/>
                </a:lnTo>
                <a:lnTo>
                  <a:pt x="20358" y="15233"/>
                </a:lnTo>
                <a:lnTo>
                  <a:pt x="1242" y="15233"/>
                </a:lnTo>
                <a:lnTo>
                  <a:pt x="1242" y="1734"/>
                </a:lnTo>
                <a:close/>
              </a:path>
            </a:pathLst>
          </a:custGeom>
          <a:solidFill>
            <a:srgbClr val="FFFFFF"/>
          </a:solidFill>
          <a:ln w="19050">
            <a:solidFill>
              <a:schemeClr val="accent1"/>
            </a:solidFill>
          </a:ln>
        </p:spPr>
        <p:txBody>
          <a:bodyPr lIns="36000" tIns="36000" rIns="36000" bIns="36000" anchor="ctr"/>
          <a:lstStyle/>
          <a:p>
            <a:endParaRPr lang="en-US" dirty="0">
              <a:latin typeface="+mj-lt"/>
            </a:endParaRPr>
          </a:p>
        </p:txBody>
      </p:sp>
      <p:sp>
        <p:nvSpPr>
          <p:cNvPr id="60" name="Line">
            <a:extLst>
              <a:ext uri="{FF2B5EF4-FFF2-40B4-BE49-F238E27FC236}">
                <a16:creationId xmlns:a16="http://schemas.microsoft.com/office/drawing/2014/main" id="{D29F027B-613C-6F91-70FE-6716EE3BB010}"/>
              </a:ext>
            </a:extLst>
          </p:cNvPr>
          <p:cNvSpPr/>
          <p:nvPr/>
        </p:nvSpPr>
        <p:spPr>
          <a:xfrm>
            <a:off x="4267676" y="5119671"/>
            <a:ext cx="1" cy="492024"/>
          </a:xfrm>
          <a:prstGeom prst="line">
            <a:avLst/>
          </a:prstGeom>
          <a:ln w="31750">
            <a:solidFill>
              <a:srgbClr val="0329D6">
                <a:alpha val="87615"/>
              </a:srgbClr>
            </a:solidFill>
            <a:miter lim="400000"/>
            <a:headEnd type="triangle"/>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1" name="Line">
            <a:extLst>
              <a:ext uri="{FF2B5EF4-FFF2-40B4-BE49-F238E27FC236}">
                <a16:creationId xmlns:a16="http://schemas.microsoft.com/office/drawing/2014/main" id="{D08FC84B-0CED-B153-FE74-9F77D75083EF}"/>
              </a:ext>
            </a:extLst>
          </p:cNvPr>
          <p:cNvSpPr/>
          <p:nvPr/>
        </p:nvSpPr>
        <p:spPr>
          <a:xfrm flipV="1">
            <a:off x="5528440" y="5121571"/>
            <a:ext cx="1" cy="450932"/>
          </a:xfrm>
          <a:prstGeom prst="line">
            <a:avLst/>
          </a:prstGeom>
          <a:ln w="31750">
            <a:solidFill>
              <a:srgbClr val="0329D6">
                <a:alpha val="87615"/>
              </a:srgbClr>
            </a:solidFill>
            <a:miter lim="400000"/>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2" name="Rectangle">
            <a:extLst>
              <a:ext uri="{FF2B5EF4-FFF2-40B4-BE49-F238E27FC236}">
                <a16:creationId xmlns:a16="http://schemas.microsoft.com/office/drawing/2014/main" id="{EB2C8B0C-5315-68CF-C66D-EF87F9A02648}"/>
              </a:ext>
            </a:extLst>
          </p:cNvPr>
          <p:cNvSpPr/>
          <p:nvPr/>
        </p:nvSpPr>
        <p:spPr>
          <a:xfrm>
            <a:off x="5464259" y="5708869"/>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63" name="b4p">
            <a:extLst>
              <a:ext uri="{FF2B5EF4-FFF2-40B4-BE49-F238E27FC236}">
                <a16:creationId xmlns:a16="http://schemas.microsoft.com/office/drawing/2014/main" id="{E07743BA-C8A2-FCD3-F704-5D6324A7BE2D}"/>
              </a:ext>
            </a:extLst>
          </p:cNvPr>
          <p:cNvSpPr txBox="1"/>
          <p:nvPr/>
        </p:nvSpPr>
        <p:spPr>
          <a:xfrm>
            <a:off x="5470877" y="5888149"/>
            <a:ext cx="284691" cy="2308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sz="900">
                <a:solidFill>
                  <a:srgbClr val="FFFFFF"/>
                </a:solidFill>
              </a:defRPr>
            </a:lvl1pPr>
          </a:lstStyle>
          <a:p>
            <a:r>
              <a:rPr lang="en-US" dirty="0">
                <a:latin typeface="+mj-lt"/>
              </a:rPr>
              <a:t>b4p</a:t>
            </a:r>
          </a:p>
        </p:txBody>
      </p:sp>
      <p:grpSp>
        <p:nvGrpSpPr>
          <p:cNvPr id="64" name="Group 6">
            <a:extLst>
              <a:ext uri="{FF2B5EF4-FFF2-40B4-BE49-F238E27FC236}">
                <a16:creationId xmlns:a16="http://schemas.microsoft.com/office/drawing/2014/main" id="{D94AC979-08C9-6760-827C-4269EBCD4416}"/>
              </a:ext>
            </a:extLst>
          </p:cNvPr>
          <p:cNvGrpSpPr/>
          <p:nvPr/>
        </p:nvGrpSpPr>
        <p:grpSpPr>
          <a:xfrm>
            <a:off x="2613297" y="4523228"/>
            <a:ext cx="288496" cy="352957"/>
            <a:chOff x="3732405" y="3352009"/>
            <a:chExt cx="288496" cy="352957"/>
          </a:xfrm>
        </p:grpSpPr>
        <p:sp>
          <p:nvSpPr>
            <p:cNvPr id="65" name="Cylinder">
              <a:extLst>
                <a:ext uri="{FF2B5EF4-FFF2-40B4-BE49-F238E27FC236}">
                  <a16:creationId xmlns:a16="http://schemas.microsoft.com/office/drawing/2014/main" id="{6D444B29-B589-FF03-1C90-AA0A2206920D}"/>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66" name="Cylinder">
              <a:extLst>
                <a:ext uri="{FF2B5EF4-FFF2-40B4-BE49-F238E27FC236}">
                  <a16:creationId xmlns:a16="http://schemas.microsoft.com/office/drawing/2014/main" id="{1B3C9541-FFBF-E4C8-E929-87BA14D85018}"/>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67" name="Triangle">
            <a:extLst>
              <a:ext uri="{FF2B5EF4-FFF2-40B4-BE49-F238E27FC236}">
                <a16:creationId xmlns:a16="http://schemas.microsoft.com/office/drawing/2014/main" id="{5965C05F-8EB1-2DD9-6E87-69F2E87512D2}"/>
              </a:ext>
            </a:extLst>
          </p:cNvPr>
          <p:cNvSpPr/>
          <p:nvPr/>
        </p:nvSpPr>
        <p:spPr>
          <a:xfrm rot="5400000">
            <a:off x="5535012" y="5746695"/>
            <a:ext cx="156421" cy="1511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sp>
        <p:nvSpPr>
          <p:cNvPr id="68" name="Rectangle">
            <a:extLst>
              <a:ext uri="{FF2B5EF4-FFF2-40B4-BE49-F238E27FC236}">
                <a16:creationId xmlns:a16="http://schemas.microsoft.com/office/drawing/2014/main" id="{75C3151C-CB5A-BCE1-FE6D-6EFC6CF49A0E}"/>
              </a:ext>
            </a:extLst>
          </p:cNvPr>
          <p:cNvSpPr/>
          <p:nvPr/>
        </p:nvSpPr>
        <p:spPr>
          <a:xfrm>
            <a:off x="4038691" y="5672420"/>
            <a:ext cx="457972" cy="291274"/>
          </a:xfrm>
          <a:prstGeom prst="rect">
            <a:avLst/>
          </a:prstGeom>
          <a:solidFill>
            <a:srgbClr val="3264C8"/>
          </a:solidFill>
          <a:ln w="38100">
            <a:solidFill>
              <a:srgbClr val="FFFFFF"/>
            </a:solidFill>
            <a:miter lim="400000"/>
          </a:ln>
        </p:spPr>
        <p:txBody>
          <a:bodyPr lIns="36000" tIns="36000" rIns="36000" bIns="36000" anchor="ctr"/>
          <a:lstStyle/>
          <a:p>
            <a:endParaRPr lang="en-US" dirty="0">
              <a:latin typeface="+mj-lt"/>
            </a:endParaRPr>
          </a:p>
        </p:txBody>
      </p:sp>
      <p:sp>
        <p:nvSpPr>
          <p:cNvPr id="69" name="&gt;b4p">
            <a:extLst>
              <a:ext uri="{FF2B5EF4-FFF2-40B4-BE49-F238E27FC236}">
                <a16:creationId xmlns:a16="http://schemas.microsoft.com/office/drawing/2014/main" id="{454B68B3-944B-3ED5-A80D-785AE161DAF4}"/>
              </a:ext>
            </a:extLst>
          </p:cNvPr>
          <p:cNvSpPr txBox="1"/>
          <p:nvPr/>
        </p:nvSpPr>
        <p:spPr>
          <a:xfrm>
            <a:off x="4047176" y="5696068"/>
            <a:ext cx="379269"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FFFFFF"/>
                </a:solidFill>
              </a:defRPr>
            </a:lvl1pPr>
          </a:lstStyle>
          <a:p>
            <a:r>
              <a:rPr lang="en-US" dirty="0">
                <a:latin typeface="+mj-lt"/>
              </a:rPr>
              <a:t>&gt;b4p</a:t>
            </a:r>
          </a:p>
        </p:txBody>
      </p:sp>
      <p:sp>
        <p:nvSpPr>
          <p:cNvPr id="70" name="B4P">
            <a:extLst>
              <a:ext uri="{FF2B5EF4-FFF2-40B4-BE49-F238E27FC236}">
                <a16:creationId xmlns:a16="http://schemas.microsoft.com/office/drawing/2014/main" id="{1AE269E5-1231-B601-866F-401B4844D22A}"/>
              </a:ext>
            </a:extLst>
          </p:cNvPr>
          <p:cNvSpPr txBox="1"/>
          <p:nvPr/>
        </p:nvSpPr>
        <p:spPr>
          <a:xfrm>
            <a:off x="4430327" y="3680577"/>
            <a:ext cx="791240"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sz="2800" b="1">
                <a:solidFill>
                  <a:srgbClr val="FFFFFF"/>
                </a:solidFill>
              </a:defRPr>
            </a:lvl1pPr>
          </a:lstStyle>
          <a:p>
            <a:r>
              <a:rPr lang="en-US" dirty="0">
                <a:latin typeface="+mj-lt"/>
              </a:rPr>
              <a:t>B4P</a:t>
            </a:r>
          </a:p>
        </p:txBody>
      </p:sp>
      <p:sp>
        <p:nvSpPr>
          <p:cNvPr id="72" name="Triangle">
            <a:extLst>
              <a:ext uri="{FF2B5EF4-FFF2-40B4-BE49-F238E27FC236}">
                <a16:creationId xmlns:a16="http://schemas.microsoft.com/office/drawing/2014/main" id="{C380263F-B49E-9D41-1BF5-D71CFC061323}"/>
              </a:ext>
            </a:extLst>
          </p:cNvPr>
          <p:cNvSpPr/>
          <p:nvPr/>
        </p:nvSpPr>
        <p:spPr>
          <a:xfrm rot="5400000">
            <a:off x="4514617" y="4153603"/>
            <a:ext cx="710111" cy="73934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grpSp>
        <p:nvGrpSpPr>
          <p:cNvPr id="73" name="Group">
            <a:extLst>
              <a:ext uri="{FF2B5EF4-FFF2-40B4-BE49-F238E27FC236}">
                <a16:creationId xmlns:a16="http://schemas.microsoft.com/office/drawing/2014/main" id="{E75E2B3C-54B1-54E2-D309-A7A8B9BA111F}"/>
              </a:ext>
            </a:extLst>
          </p:cNvPr>
          <p:cNvGrpSpPr/>
          <p:nvPr/>
        </p:nvGrpSpPr>
        <p:grpSpPr>
          <a:xfrm>
            <a:off x="7355910" y="4027544"/>
            <a:ext cx="667889" cy="788699"/>
            <a:chOff x="0" y="0"/>
            <a:chExt cx="667887" cy="788698"/>
          </a:xfrm>
        </p:grpSpPr>
        <p:sp>
          <p:nvSpPr>
            <p:cNvPr id="74" name="Rectangle">
              <a:extLst>
                <a:ext uri="{FF2B5EF4-FFF2-40B4-BE49-F238E27FC236}">
                  <a16:creationId xmlns:a16="http://schemas.microsoft.com/office/drawing/2014/main" id="{673CA629-898B-1BE8-3A0B-A72812FD6789}"/>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75" name="Bar Chart">
              <a:extLst>
                <a:ext uri="{FF2B5EF4-FFF2-40B4-BE49-F238E27FC236}">
                  <a16:creationId xmlns:a16="http://schemas.microsoft.com/office/drawing/2014/main" id="{C1B7634F-6F2B-EB93-74F0-0E19DFE4BD26}"/>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sp>
          <p:nvSpPr>
            <p:cNvPr id="76" name="Line Graph">
              <a:extLst>
                <a:ext uri="{FF2B5EF4-FFF2-40B4-BE49-F238E27FC236}">
                  <a16:creationId xmlns:a16="http://schemas.microsoft.com/office/drawing/2014/main" id="{B6A46B42-B4A2-2381-D2E8-05524854318F}"/>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grpSp>
          <p:nvGrpSpPr>
            <p:cNvPr id="77" name="Group">
              <a:extLst>
                <a:ext uri="{FF2B5EF4-FFF2-40B4-BE49-F238E27FC236}">
                  <a16:creationId xmlns:a16="http://schemas.microsoft.com/office/drawing/2014/main" id="{B4DDFB7B-803D-AD76-B7F3-8615B05EAE7B}"/>
                </a:ext>
              </a:extLst>
            </p:cNvPr>
            <p:cNvGrpSpPr/>
            <p:nvPr/>
          </p:nvGrpSpPr>
          <p:grpSpPr>
            <a:xfrm>
              <a:off x="50957" y="322563"/>
              <a:ext cx="570988" cy="466136"/>
              <a:chOff x="0" y="0"/>
              <a:chExt cx="570986" cy="466134"/>
            </a:xfrm>
          </p:grpSpPr>
          <p:sp>
            <p:nvSpPr>
              <p:cNvPr id="92" name="Line">
                <a:extLst>
                  <a:ext uri="{FF2B5EF4-FFF2-40B4-BE49-F238E27FC236}">
                    <a16:creationId xmlns:a16="http://schemas.microsoft.com/office/drawing/2014/main" id="{D78898CC-FC91-4B2F-D5BE-08F69C605804}"/>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3" name="Line">
                <a:extLst>
                  <a:ext uri="{FF2B5EF4-FFF2-40B4-BE49-F238E27FC236}">
                    <a16:creationId xmlns:a16="http://schemas.microsoft.com/office/drawing/2014/main" id="{393A955A-0EA1-575B-AF84-0C1C83602DDE}"/>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4" name="Line">
                <a:extLst>
                  <a:ext uri="{FF2B5EF4-FFF2-40B4-BE49-F238E27FC236}">
                    <a16:creationId xmlns:a16="http://schemas.microsoft.com/office/drawing/2014/main" id="{FD4136E6-94EC-CE62-4E71-24258C8FC2FB}"/>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5" name="Line">
                <a:extLst>
                  <a:ext uri="{FF2B5EF4-FFF2-40B4-BE49-F238E27FC236}">
                    <a16:creationId xmlns:a16="http://schemas.microsoft.com/office/drawing/2014/main" id="{BD5A9910-AD1D-633B-8C2C-5CFC340EB8BD}"/>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6" name="Line">
                <a:extLst>
                  <a:ext uri="{FF2B5EF4-FFF2-40B4-BE49-F238E27FC236}">
                    <a16:creationId xmlns:a16="http://schemas.microsoft.com/office/drawing/2014/main" id="{E19744CD-BD8D-4FB5-E98B-3A0082A16120}"/>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7" name="Line">
                <a:extLst>
                  <a:ext uri="{FF2B5EF4-FFF2-40B4-BE49-F238E27FC236}">
                    <a16:creationId xmlns:a16="http://schemas.microsoft.com/office/drawing/2014/main" id="{42200D91-620C-AE6C-317F-A1D56FBB1A71}"/>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8" name="Line">
                <a:extLst>
                  <a:ext uri="{FF2B5EF4-FFF2-40B4-BE49-F238E27FC236}">
                    <a16:creationId xmlns:a16="http://schemas.microsoft.com/office/drawing/2014/main" id="{AAC90252-E302-9AA4-9A13-A8416D15B907}"/>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nvGrpSpPr>
            <p:cNvPr id="78" name="Group">
              <a:extLst>
                <a:ext uri="{FF2B5EF4-FFF2-40B4-BE49-F238E27FC236}">
                  <a16:creationId xmlns:a16="http://schemas.microsoft.com/office/drawing/2014/main" id="{2C69BD66-721B-6699-EAC6-BDE8C49B4176}"/>
                </a:ext>
              </a:extLst>
            </p:cNvPr>
            <p:cNvGrpSpPr/>
            <p:nvPr/>
          </p:nvGrpSpPr>
          <p:grpSpPr>
            <a:xfrm>
              <a:off x="-1" y="322563"/>
              <a:ext cx="665607" cy="466136"/>
              <a:chOff x="0" y="0"/>
              <a:chExt cx="665605" cy="466134"/>
            </a:xfrm>
          </p:grpSpPr>
          <p:sp>
            <p:nvSpPr>
              <p:cNvPr id="79" name="Line">
                <a:extLst>
                  <a:ext uri="{FF2B5EF4-FFF2-40B4-BE49-F238E27FC236}">
                    <a16:creationId xmlns:a16="http://schemas.microsoft.com/office/drawing/2014/main" id="{1B6863D7-CFCB-F05F-9DC9-26C4CA835956}"/>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0" name="Line">
                <a:extLst>
                  <a:ext uri="{FF2B5EF4-FFF2-40B4-BE49-F238E27FC236}">
                    <a16:creationId xmlns:a16="http://schemas.microsoft.com/office/drawing/2014/main" id="{648DFC3F-B223-BF3D-FAF6-D202B24A56E8}"/>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1" name="Line">
                <a:extLst>
                  <a:ext uri="{FF2B5EF4-FFF2-40B4-BE49-F238E27FC236}">
                    <a16:creationId xmlns:a16="http://schemas.microsoft.com/office/drawing/2014/main" id="{4ECEF19B-9AAD-B6FB-76B5-AE8F5C8C1B64}"/>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2" name="Line">
                <a:extLst>
                  <a:ext uri="{FF2B5EF4-FFF2-40B4-BE49-F238E27FC236}">
                    <a16:creationId xmlns:a16="http://schemas.microsoft.com/office/drawing/2014/main" id="{50348BA0-3D90-2719-896E-7C726A3A2555}"/>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3" name="Line">
                <a:extLst>
                  <a:ext uri="{FF2B5EF4-FFF2-40B4-BE49-F238E27FC236}">
                    <a16:creationId xmlns:a16="http://schemas.microsoft.com/office/drawing/2014/main" id="{FB8E8171-BD0C-92B8-8819-5FC3C00740C7}"/>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4" name="Line">
                <a:extLst>
                  <a:ext uri="{FF2B5EF4-FFF2-40B4-BE49-F238E27FC236}">
                    <a16:creationId xmlns:a16="http://schemas.microsoft.com/office/drawing/2014/main" id="{989BBF57-2F25-74B9-4034-EA9861EB0FA5}"/>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5" name="Line">
                <a:extLst>
                  <a:ext uri="{FF2B5EF4-FFF2-40B4-BE49-F238E27FC236}">
                    <a16:creationId xmlns:a16="http://schemas.microsoft.com/office/drawing/2014/main" id="{7000F469-9937-92A8-C5E4-9EA4B65F279E}"/>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6" name="Line">
                <a:extLst>
                  <a:ext uri="{FF2B5EF4-FFF2-40B4-BE49-F238E27FC236}">
                    <a16:creationId xmlns:a16="http://schemas.microsoft.com/office/drawing/2014/main" id="{F4C0B768-F476-2076-2F67-39ACAED68242}"/>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7" name="Line">
                <a:extLst>
                  <a:ext uri="{FF2B5EF4-FFF2-40B4-BE49-F238E27FC236}">
                    <a16:creationId xmlns:a16="http://schemas.microsoft.com/office/drawing/2014/main" id="{AEC3AFC8-E057-67BF-2390-D5F1E390C7DD}"/>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8" name="Line">
                <a:extLst>
                  <a:ext uri="{FF2B5EF4-FFF2-40B4-BE49-F238E27FC236}">
                    <a16:creationId xmlns:a16="http://schemas.microsoft.com/office/drawing/2014/main" id="{CC014ADE-369B-2C28-36AF-EFA72372E9D9}"/>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9" name="Line">
                <a:extLst>
                  <a:ext uri="{FF2B5EF4-FFF2-40B4-BE49-F238E27FC236}">
                    <a16:creationId xmlns:a16="http://schemas.microsoft.com/office/drawing/2014/main" id="{BC2B72F5-53E3-979C-413C-7D2CF0FD8BCB}"/>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0" name="Line">
                <a:extLst>
                  <a:ext uri="{FF2B5EF4-FFF2-40B4-BE49-F238E27FC236}">
                    <a16:creationId xmlns:a16="http://schemas.microsoft.com/office/drawing/2014/main" id="{6ACE396B-D63C-C46B-BC14-005438B6112D}"/>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1" name="Line">
                <a:extLst>
                  <a:ext uri="{FF2B5EF4-FFF2-40B4-BE49-F238E27FC236}">
                    <a16:creationId xmlns:a16="http://schemas.microsoft.com/office/drawing/2014/main" id="{CD133DBE-167D-7C9A-E388-BBFE0E6F18F6}"/>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sp>
        <p:nvSpPr>
          <p:cNvPr id="99" name="TextBox 37">
            <a:extLst>
              <a:ext uri="{FF2B5EF4-FFF2-40B4-BE49-F238E27FC236}">
                <a16:creationId xmlns:a16="http://schemas.microsoft.com/office/drawing/2014/main" id="{17A80BAC-6568-FB31-8258-C47BAA52F0CD}"/>
              </a:ext>
            </a:extLst>
          </p:cNvPr>
          <p:cNvSpPr txBox="1"/>
          <p:nvPr/>
        </p:nvSpPr>
        <p:spPr>
          <a:xfrm>
            <a:off x="1088892" y="4059352"/>
            <a:ext cx="1217976"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spreadsheets</a:t>
            </a:r>
          </a:p>
        </p:txBody>
      </p:sp>
      <p:grpSp>
        <p:nvGrpSpPr>
          <p:cNvPr id="100" name="Gruppieren 99">
            <a:extLst>
              <a:ext uri="{FF2B5EF4-FFF2-40B4-BE49-F238E27FC236}">
                <a16:creationId xmlns:a16="http://schemas.microsoft.com/office/drawing/2014/main" id="{800F9DBB-1B4A-BAEB-0641-ED328F423E14}"/>
              </a:ext>
            </a:extLst>
          </p:cNvPr>
          <p:cNvGrpSpPr/>
          <p:nvPr/>
        </p:nvGrpSpPr>
        <p:grpSpPr>
          <a:xfrm>
            <a:off x="2591732" y="4060159"/>
            <a:ext cx="287704" cy="288000"/>
            <a:chOff x="3360000" y="3069000"/>
            <a:chExt cx="287704" cy="288000"/>
          </a:xfrm>
        </p:grpSpPr>
        <p:sp>
          <p:nvSpPr>
            <p:cNvPr id="101" name="Rechteck: abgerundete Ecken 100">
              <a:extLst>
                <a:ext uri="{FF2B5EF4-FFF2-40B4-BE49-F238E27FC236}">
                  <a16:creationId xmlns:a16="http://schemas.microsoft.com/office/drawing/2014/main" id="{9AFAF75D-6A2E-F08F-29D1-FEA85DCCA362}"/>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02" name="Gerader Verbinder 101">
              <a:extLst>
                <a:ext uri="{FF2B5EF4-FFF2-40B4-BE49-F238E27FC236}">
                  <a16:creationId xmlns:a16="http://schemas.microsoft.com/office/drawing/2014/main" id="{8C3A32B7-17B8-EBCA-A012-C89DEFF7778F}"/>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86430FD1-9C1B-5F21-A774-192A5C394A7A}"/>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79D505D0-67CF-132A-76F3-810D9E7125A2}"/>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ACB19CA1-8892-B414-0CFA-A7A26639CB38}"/>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ED41E1AF-D321-60EB-561A-290CDD0C8141}"/>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F0BC95FB-30FA-9C0D-806B-D134D174C205}"/>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5F7A718F-07EB-4512-10CC-B4FE29C714FE}"/>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3275B551-165D-86A5-DB01-375E844FBAA9}"/>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0AC9062-D8BB-C9AB-EE28-6846ADCA9DB4}"/>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AE4AF3A-326D-C213-E96C-8CEF128D7028}"/>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12" name="Trapezoid 111">
              <a:extLst>
                <a:ext uri="{FF2B5EF4-FFF2-40B4-BE49-F238E27FC236}">
                  <a16:creationId xmlns:a16="http://schemas.microsoft.com/office/drawing/2014/main" id="{1E4345C1-336E-CB5C-BD43-227A92540931}"/>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latin typeface="+mj-lt"/>
                </a:rPr>
                <a:t>X</a:t>
              </a:r>
              <a:endParaRPr lang="en-US" b="1" dirty="0">
                <a:solidFill>
                  <a:srgbClr val="A6A6A6"/>
                </a:solidFill>
                <a:latin typeface="+mj-lt"/>
              </a:endParaRPr>
            </a:p>
          </p:txBody>
        </p:sp>
      </p:grpSp>
      <p:grpSp>
        <p:nvGrpSpPr>
          <p:cNvPr id="113" name="Gruppieren 112">
            <a:extLst>
              <a:ext uri="{FF2B5EF4-FFF2-40B4-BE49-F238E27FC236}">
                <a16:creationId xmlns:a16="http://schemas.microsoft.com/office/drawing/2014/main" id="{2F686216-6CEF-E59C-8113-2C3870458436}"/>
              </a:ext>
            </a:extLst>
          </p:cNvPr>
          <p:cNvGrpSpPr/>
          <p:nvPr/>
        </p:nvGrpSpPr>
        <p:grpSpPr>
          <a:xfrm>
            <a:off x="6552214" y="4204143"/>
            <a:ext cx="431636" cy="432080"/>
            <a:chOff x="3360000" y="3069000"/>
            <a:chExt cx="287704" cy="288000"/>
          </a:xfrm>
        </p:grpSpPr>
        <p:sp>
          <p:nvSpPr>
            <p:cNvPr id="114" name="Rechteck: abgerundete Ecken 113">
              <a:extLst>
                <a:ext uri="{FF2B5EF4-FFF2-40B4-BE49-F238E27FC236}">
                  <a16:creationId xmlns:a16="http://schemas.microsoft.com/office/drawing/2014/main" id="{F19C84D7-A61B-A5D4-7055-5BB6609C12B7}"/>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15" name="Gerader Verbinder 114">
              <a:extLst>
                <a:ext uri="{FF2B5EF4-FFF2-40B4-BE49-F238E27FC236}">
                  <a16:creationId xmlns:a16="http://schemas.microsoft.com/office/drawing/2014/main" id="{CED4A458-585E-8DA6-12F4-D22E4ABDB8B4}"/>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9435E48B-55DD-F58C-C965-E892082267EE}"/>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77AE2495-325B-A512-B5B3-AE3E00873938}"/>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8073F959-1C29-85CF-12D4-EE9448493F77}"/>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202595AE-6A5D-C896-C18F-DD6C4201E94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54AEC64B-26D0-8692-D4FE-5B46DF6A2483}"/>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4A4131CE-7275-FA9D-7C91-0F4F58FE7850}"/>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71F9775E-BD26-C771-0CC7-9B101E46737B}"/>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F7E7158C-1ACF-7745-0A27-AD0A0F614CCC}"/>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B4513561-82A9-45F8-979D-7F3151D21183}"/>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25" name="Trapezoid 124">
              <a:extLst>
                <a:ext uri="{FF2B5EF4-FFF2-40B4-BE49-F238E27FC236}">
                  <a16:creationId xmlns:a16="http://schemas.microsoft.com/office/drawing/2014/main" id="{EA490302-138D-05BC-9D57-45FFDDF8F9DD}"/>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latin typeface="+mj-lt"/>
                </a:rPr>
                <a:t>X</a:t>
              </a:r>
              <a:endParaRPr lang="en-US" sz="2400" b="1" dirty="0">
                <a:solidFill>
                  <a:srgbClr val="A6A6A6"/>
                </a:solidFill>
                <a:latin typeface="+mj-lt"/>
              </a:endParaRPr>
            </a:p>
          </p:txBody>
        </p:sp>
      </p:grpSp>
      <p:grpSp>
        <p:nvGrpSpPr>
          <p:cNvPr id="126" name="Gruppieren 125">
            <a:extLst>
              <a:ext uri="{FF2B5EF4-FFF2-40B4-BE49-F238E27FC236}">
                <a16:creationId xmlns:a16="http://schemas.microsoft.com/office/drawing/2014/main" id="{354A2566-4CBC-F039-0A19-271602C7E2E9}"/>
              </a:ext>
            </a:extLst>
          </p:cNvPr>
          <p:cNvGrpSpPr/>
          <p:nvPr/>
        </p:nvGrpSpPr>
        <p:grpSpPr>
          <a:xfrm>
            <a:off x="2591732" y="5032267"/>
            <a:ext cx="324000" cy="324000"/>
            <a:chOff x="2495600" y="4725144"/>
            <a:chExt cx="324000" cy="324000"/>
          </a:xfrm>
        </p:grpSpPr>
        <p:sp>
          <p:nvSpPr>
            <p:cNvPr id="127" name="World">
              <a:extLst>
                <a:ext uri="{FF2B5EF4-FFF2-40B4-BE49-F238E27FC236}">
                  <a16:creationId xmlns:a16="http://schemas.microsoft.com/office/drawing/2014/main" id="{A1AFA65E-30C7-92D8-9BCA-36816821BCA8}"/>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128" name="World">
              <a:extLst>
                <a:ext uri="{FF2B5EF4-FFF2-40B4-BE49-F238E27FC236}">
                  <a16:creationId xmlns:a16="http://schemas.microsoft.com/office/drawing/2014/main" id="{26E345A2-4062-596A-34F8-E9977F7C536D}"/>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latin typeface="+mj-lt"/>
              </a:endParaRPr>
            </a:p>
          </p:txBody>
        </p:sp>
      </p:grpSp>
      <p:sp>
        <p:nvSpPr>
          <p:cNvPr id="129" name="TextBox 36">
            <a:extLst>
              <a:ext uri="{FF2B5EF4-FFF2-40B4-BE49-F238E27FC236}">
                <a16:creationId xmlns:a16="http://schemas.microsoft.com/office/drawing/2014/main" id="{3071225D-9825-6CA1-7582-67607F342852}"/>
              </a:ext>
            </a:extLst>
          </p:cNvPr>
          <p:cNvSpPr txBox="1"/>
          <p:nvPr/>
        </p:nvSpPr>
        <p:spPr>
          <a:xfrm>
            <a:off x="3557830" y="2853000"/>
            <a:ext cx="2379155"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algn="ctr">
              <a:defRPr sz="1600" b="1">
                <a:solidFill>
                  <a:srgbClr val="535353"/>
                </a:solidFill>
              </a:defRPr>
            </a:pPr>
            <a:r>
              <a:rPr lang="en-US" sz="1400" dirty="0">
                <a:solidFill>
                  <a:srgbClr val="3264C8"/>
                </a:solidFill>
                <a:latin typeface="+mj-lt"/>
              </a:rPr>
              <a:t>B4P Data Integration and Analytics Engine</a:t>
            </a:r>
          </a:p>
        </p:txBody>
      </p:sp>
      <p:sp>
        <p:nvSpPr>
          <p:cNvPr id="130" name="Rounded Rectangle 2">
            <a:extLst>
              <a:ext uri="{FF2B5EF4-FFF2-40B4-BE49-F238E27FC236}">
                <a16:creationId xmlns:a16="http://schemas.microsoft.com/office/drawing/2014/main" id="{C1298F32-A488-2565-75FA-577F9E0D69BA}"/>
              </a:ext>
            </a:extLst>
          </p:cNvPr>
          <p:cNvSpPr/>
          <p:nvPr/>
        </p:nvSpPr>
        <p:spPr>
          <a:xfrm>
            <a:off x="3732009" y="3712780"/>
            <a:ext cx="2207991" cy="2975440"/>
          </a:xfrm>
          <a:prstGeom prst="roundRect">
            <a:avLst/>
          </a:prstGeom>
          <a:solidFill>
            <a:srgbClr val="3264C8">
              <a:alpha val="706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latin typeface="+mj-lt"/>
            </a:endParaRPr>
          </a:p>
        </p:txBody>
      </p:sp>
      <p:sp>
        <p:nvSpPr>
          <p:cNvPr id="131" name="Textfeld 130">
            <a:extLst>
              <a:ext uri="{FF2B5EF4-FFF2-40B4-BE49-F238E27FC236}">
                <a16:creationId xmlns:a16="http://schemas.microsoft.com/office/drawing/2014/main" id="{94B80C71-AE6F-171C-161E-7E5D6194B1BF}"/>
              </a:ext>
            </a:extLst>
          </p:cNvPr>
          <p:cNvSpPr txBox="1"/>
          <p:nvPr/>
        </p:nvSpPr>
        <p:spPr>
          <a:xfrm>
            <a:off x="972000" y="1053000"/>
            <a:ext cx="7344000" cy="400110"/>
          </a:xfrm>
          <a:prstGeom prst="rect">
            <a:avLst/>
          </a:prstGeom>
          <a:noFill/>
        </p:spPr>
        <p:txBody>
          <a:bodyPr wrap="square">
            <a:spAutoFit/>
          </a:bodyPr>
          <a:lstStyle/>
          <a:p>
            <a:pPr algn="ctr"/>
            <a:r>
              <a:rPr lang="en-US" sz="2000" b="1" i="0" dirty="0">
                <a:solidFill>
                  <a:srgbClr val="3264C8"/>
                </a:solidFill>
                <a:effectLst/>
                <a:latin typeface="+mj-lt"/>
              </a:rPr>
              <a:t>B4P: Transforming Big Data into Powerful Insights</a:t>
            </a:r>
          </a:p>
        </p:txBody>
      </p:sp>
      <p:sp>
        <p:nvSpPr>
          <p:cNvPr id="133" name="Textfeld 132">
            <a:extLst>
              <a:ext uri="{FF2B5EF4-FFF2-40B4-BE49-F238E27FC236}">
                <a16:creationId xmlns:a16="http://schemas.microsoft.com/office/drawing/2014/main" id="{4258D11F-25D7-66F9-3613-5CB803FB7A9D}"/>
              </a:ext>
            </a:extLst>
          </p:cNvPr>
          <p:cNvSpPr txBox="1"/>
          <p:nvPr/>
        </p:nvSpPr>
        <p:spPr>
          <a:xfrm>
            <a:off x="900000" y="1753780"/>
            <a:ext cx="7560000" cy="646331"/>
          </a:xfrm>
          <a:prstGeom prst="rect">
            <a:avLst/>
          </a:prstGeom>
          <a:noFill/>
        </p:spPr>
        <p:txBody>
          <a:bodyPr wrap="square">
            <a:spAutoFit/>
          </a:bodyPr>
          <a:lstStyle/>
          <a:p>
            <a:r>
              <a:rPr lang="en-US" sz="1200" b="1" i="0" dirty="0">
                <a:solidFill>
                  <a:schemeClr val="tx1">
                    <a:lumMod val="50000"/>
                    <a:lumOff val="50000"/>
                  </a:schemeClr>
                </a:solidFill>
                <a:effectLst/>
                <a:latin typeface="+mj-lt"/>
              </a:rPr>
              <a:t>B4P is a Low-Code Solution to improve the performance in extracting insights from big data.</a:t>
            </a:r>
            <a:r>
              <a:rPr lang="en-US" sz="1200" b="0" i="0" dirty="0">
                <a:solidFill>
                  <a:schemeClr val="tx1">
                    <a:lumMod val="50000"/>
                    <a:lumOff val="50000"/>
                  </a:schemeClr>
                </a:solidFill>
                <a:effectLst/>
                <a:latin typeface="+mj-lt"/>
              </a:rPr>
              <a:t> </a:t>
            </a:r>
            <a:r>
              <a:rPr lang="en-US" sz="1200" dirty="0">
                <a:solidFill>
                  <a:schemeClr val="tx1">
                    <a:lumMod val="50000"/>
                    <a:lumOff val="50000"/>
                  </a:schemeClr>
                </a:solidFill>
                <a:latin typeface="+mj-lt"/>
              </a:rPr>
              <a:t>It</a:t>
            </a:r>
            <a:r>
              <a:rPr lang="en-US" sz="1200" b="0" i="0" dirty="0">
                <a:solidFill>
                  <a:schemeClr val="tx1">
                    <a:lumMod val="50000"/>
                    <a:lumOff val="50000"/>
                  </a:schemeClr>
                </a:solidFill>
                <a:effectLst/>
                <a:latin typeface="+mj-lt"/>
              </a:rPr>
              <a:t> is purpose-built for integration and analysis of large complex data to rapidly generate results for Excel and other business intelligence tools.</a:t>
            </a:r>
            <a:endParaRPr lang="de-CH" sz="1200" dirty="0">
              <a:solidFill>
                <a:schemeClr val="tx1">
                  <a:lumMod val="50000"/>
                  <a:lumOff val="50000"/>
                </a:schemeClr>
              </a:solidFill>
              <a:latin typeface="+mj-lt"/>
            </a:endParaRPr>
          </a:p>
        </p:txBody>
      </p:sp>
    </p:spTree>
    <p:extLst>
      <p:ext uri="{BB962C8B-B14F-4D97-AF65-F5344CB8AC3E}">
        <p14:creationId xmlns:p14="http://schemas.microsoft.com/office/powerpoint/2010/main" val="15835748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 LAN_Pyramid_Basic_Types.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107" name="Freihandform: Form 106">
            <a:extLst>
              <a:ext uri="{FF2B5EF4-FFF2-40B4-BE49-F238E27FC236}">
                <a16:creationId xmlns:a16="http://schemas.microsoft.com/office/drawing/2014/main" id="{0DDE6D13-B62D-4CEB-8A20-F43F2EEB41CF}"/>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A86F7565-72CC-4699-85A8-101E8531EA50}"/>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erals</a:t>
            </a:r>
          </a:p>
        </p:txBody>
      </p:sp>
      <p:sp>
        <p:nvSpPr>
          <p:cNvPr id="116" name="Rechteck 115">
            <a:extLst>
              <a:ext uri="{FF2B5EF4-FFF2-40B4-BE49-F238E27FC236}">
                <a16:creationId xmlns:a16="http://schemas.microsoft.com/office/drawing/2014/main" id="{C286942D-6C66-4E0F-919D-41D66046381C}"/>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ings</a:t>
            </a:r>
          </a:p>
        </p:txBody>
      </p:sp>
      <p:sp>
        <p:nvSpPr>
          <p:cNvPr id="119" name="Rechteck 118">
            <a:extLst>
              <a:ext uri="{FF2B5EF4-FFF2-40B4-BE49-F238E27FC236}">
                <a16:creationId xmlns:a16="http://schemas.microsoft.com/office/drawing/2014/main" id="{BAE23512-A30D-47CE-BE31-5F2AB9B6AC97}"/>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Booleans</a:t>
            </a:r>
          </a:p>
        </p:txBody>
      </p:sp>
      <p:sp>
        <p:nvSpPr>
          <p:cNvPr id="120" name="Rechteck 119">
            <a:extLst>
              <a:ext uri="{FF2B5EF4-FFF2-40B4-BE49-F238E27FC236}">
                <a16:creationId xmlns:a16="http://schemas.microsoft.com/office/drawing/2014/main" id="{033DB8FE-3674-435B-9882-F31D03BE18D4}"/>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Dates</a:t>
            </a:r>
          </a:p>
        </p:txBody>
      </p:sp>
      <p:sp>
        <p:nvSpPr>
          <p:cNvPr id="124" name="Rechteck 123">
            <a:extLst>
              <a:ext uri="{FF2B5EF4-FFF2-40B4-BE49-F238E27FC236}">
                <a16:creationId xmlns:a16="http://schemas.microsoft.com/office/drawing/2014/main" id="{0C840BAC-002B-40C6-8878-25441F472C89}"/>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Parameter Sets</a:t>
            </a:r>
          </a:p>
        </p:txBody>
      </p:sp>
      <p:sp>
        <p:nvSpPr>
          <p:cNvPr id="125" name="Rechteck 124">
            <a:extLst>
              <a:ext uri="{FF2B5EF4-FFF2-40B4-BE49-F238E27FC236}">
                <a16:creationId xmlns:a16="http://schemas.microsoft.com/office/drawing/2014/main" id="{363D5E4D-08C8-4E33-934F-BF318DC95C44}"/>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oids</a:t>
            </a:r>
          </a:p>
        </p:txBody>
      </p:sp>
      <p:sp>
        <p:nvSpPr>
          <p:cNvPr id="127" name="Rechteck 126">
            <a:extLst>
              <a:ext uri="{FF2B5EF4-FFF2-40B4-BE49-F238E27FC236}">
                <a16:creationId xmlns:a16="http://schemas.microsoft.com/office/drawing/2014/main" id="{D9979F78-9D8F-4F8E-BA0D-59F765FB8F7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28" name="Rechteck 127">
            <a:extLst>
              <a:ext uri="{FF2B5EF4-FFF2-40B4-BE49-F238E27FC236}">
                <a16:creationId xmlns:a16="http://schemas.microsoft.com/office/drawing/2014/main" id="{1271D7AF-D119-4097-B1ED-4423FDF22A44}"/>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29" name="Rechteck 128">
            <a:extLst>
              <a:ext uri="{FF2B5EF4-FFF2-40B4-BE49-F238E27FC236}">
                <a16:creationId xmlns:a16="http://schemas.microsoft.com/office/drawing/2014/main" id="{5CDD8D05-9F41-4657-B094-55ABD9693297}"/>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32" name="Rechteck 131">
            <a:extLst>
              <a:ext uri="{FF2B5EF4-FFF2-40B4-BE49-F238E27FC236}">
                <a16:creationId xmlns:a16="http://schemas.microsoft.com/office/drawing/2014/main" id="{AA9A70C9-157F-4194-AD57-1987B407F445}"/>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33" name="Gerader Verbinder 132">
            <a:extLst>
              <a:ext uri="{FF2B5EF4-FFF2-40B4-BE49-F238E27FC236}">
                <a16:creationId xmlns:a16="http://schemas.microsoft.com/office/drawing/2014/main" id="{7B043BE6-9E08-4D1E-9E44-266395E42D79}"/>
              </a:ext>
            </a:extLst>
          </p:cNvPr>
          <p:cNvCxnSpPr>
            <a:cxnSpLocks/>
          </p:cNvCxnSpPr>
          <p:nvPr/>
        </p:nvCxnSpPr>
        <p:spPr>
          <a:xfrm>
            <a:off x="5436000" y="4941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F24DA3E5-5973-49FF-8A79-B9A90F04067C}"/>
              </a:ext>
            </a:extLst>
          </p:cNvPr>
          <p:cNvSpPr/>
          <p:nvPr/>
        </p:nvSpPr>
        <p:spPr>
          <a:xfrm>
            <a:off x="540000" y="299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38" name="Freihandform: Form 137">
            <a:extLst>
              <a:ext uri="{FF2B5EF4-FFF2-40B4-BE49-F238E27FC236}">
                <a16:creationId xmlns:a16="http://schemas.microsoft.com/office/drawing/2014/main" id="{F8DB258D-3F06-489A-B5E3-E1C41E396DE3}"/>
              </a:ext>
            </a:extLst>
          </p:cNvPr>
          <p:cNvSpPr/>
          <p:nvPr/>
        </p:nvSpPr>
        <p:spPr>
          <a:xfrm>
            <a:off x="1958087" y="2997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39" name="Freihandform: Form 138">
            <a:extLst>
              <a:ext uri="{FF2B5EF4-FFF2-40B4-BE49-F238E27FC236}">
                <a16:creationId xmlns:a16="http://schemas.microsoft.com/office/drawing/2014/main" id="{9D6921AB-BE04-44A8-9F22-6632DEDFC522}"/>
              </a:ext>
            </a:extLst>
          </p:cNvPr>
          <p:cNvSpPr/>
          <p:nvPr/>
        </p:nvSpPr>
        <p:spPr>
          <a:xfrm>
            <a:off x="1692000" y="3496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40" name="Rechteck 139">
            <a:extLst>
              <a:ext uri="{FF2B5EF4-FFF2-40B4-BE49-F238E27FC236}">
                <a16:creationId xmlns:a16="http://schemas.microsoft.com/office/drawing/2014/main" id="{BD8FC166-6C88-4ADE-9B02-F4BAB2D6133D}"/>
              </a:ext>
            </a:extLst>
          </p:cNvPr>
          <p:cNvSpPr/>
          <p:nvPr/>
        </p:nvSpPr>
        <p:spPr>
          <a:xfrm>
            <a:off x="1908000" y="342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1" name="Rechteck 140">
            <a:extLst>
              <a:ext uri="{FF2B5EF4-FFF2-40B4-BE49-F238E27FC236}">
                <a16:creationId xmlns:a16="http://schemas.microsoft.com/office/drawing/2014/main" id="{0C455689-8CC6-4BCD-82E6-EE22DB274823}"/>
              </a:ext>
            </a:extLst>
          </p:cNvPr>
          <p:cNvSpPr/>
          <p:nvPr/>
        </p:nvSpPr>
        <p:spPr>
          <a:xfrm>
            <a:off x="2484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bers</a:t>
            </a:r>
          </a:p>
        </p:txBody>
      </p:sp>
      <p:sp>
        <p:nvSpPr>
          <p:cNvPr id="142" name="Rechteck 141">
            <a:extLst>
              <a:ext uri="{FF2B5EF4-FFF2-40B4-BE49-F238E27FC236}">
                <a16:creationId xmlns:a16="http://schemas.microsoft.com/office/drawing/2014/main" id="{241A009F-112F-491C-97B8-C17B8197E5D7}"/>
              </a:ext>
            </a:extLst>
          </p:cNvPr>
          <p:cNvSpPr/>
          <p:nvPr/>
        </p:nvSpPr>
        <p:spPr>
          <a:xfrm>
            <a:off x="3708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ext</a:t>
            </a:r>
          </a:p>
        </p:txBody>
      </p:sp>
      <p:sp>
        <p:nvSpPr>
          <p:cNvPr id="143" name="Rechteck 142">
            <a:extLst>
              <a:ext uri="{FF2B5EF4-FFF2-40B4-BE49-F238E27FC236}">
                <a16:creationId xmlns:a16="http://schemas.microsoft.com/office/drawing/2014/main" id="{3D46C609-7D6B-4ED5-9A88-A518714E0582}"/>
              </a:ext>
            </a:extLst>
          </p:cNvPr>
          <p:cNvSpPr/>
          <p:nvPr/>
        </p:nvSpPr>
        <p:spPr>
          <a:xfrm>
            <a:off x="5940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ymbols</a:t>
            </a:r>
          </a:p>
        </p:txBody>
      </p:sp>
      <p:sp>
        <p:nvSpPr>
          <p:cNvPr id="144" name="Rechteck 143">
            <a:extLst>
              <a:ext uri="{FF2B5EF4-FFF2-40B4-BE49-F238E27FC236}">
                <a16:creationId xmlns:a16="http://schemas.microsoft.com/office/drawing/2014/main" id="{3A63A697-DB3C-4C85-A253-5BDCDD5275AB}"/>
              </a:ext>
            </a:extLst>
          </p:cNvPr>
          <p:cNvSpPr/>
          <p:nvPr/>
        </p:nvSpPr>
        <p:spPr>
          <a:xfrm>
            <a:off x="7308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omments</a:t>
            </a:r>
          </a:p>
        </p:txBody>
      </p:sp>
      <p:sp>
        <p:nvSpPr>
          <p:cNvPr id="145" name="Rechteck 144">
            <a:extLst>
              <a:ext uri="{FF2B5EF4-FFF2-40B4-BE49-F238E27FC236}">
                <a16:creationId xmlns:a16="http://schemas.microsoft.com/office/drawing/2014/main" id="{AC6C9DEE-E469-4AB2-9BB2-8A155F3EE434}"/>
              </a:ext>
            </a:extLst>
          </p:cNvPr>
          <p:cNvSpPr/>
          <p:nvPr/>
        </p:nvSpPr>
        <p:spPr>
          <a:xfrm>
            <a:off x="4860000" y="3573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haracter Set</a:t>
            </a:r>
          </a:p>
        </p:txBody>
      </p:sp>
      <p:sp>
        <p:nvSpPr>
          <p:cNvPr id="149" name="Rechteck 148">
            <a:extLst>
              <a:ext uri="{FF2B5EF4-FFF2-40B4-BE49-F238E27FC236}">
                <a16:creationId xmlns:a16="http://schemas.microsoft.com/office/drawing/2014/main" id="{3D5851DC-BE16-4B04-932F-EE6B21F6B51D}"/>
              </a:ext>
            </a:extLst>
          </p:cNvPr>
          <p:cNvSpPr/>
          <p:nvPr/>
        </p:nvSpPr>
        <p:spPr>
          <a:xfrm>
            <a:off x="2268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150" name="Rechteck 149">
            <a:extLst>
              <a:ext uri="{FF2B5EF4-FFF2-40B4-BE49-F238E27FC236}">
                <a16:creationId xmlns:a16="http://schemas.microsoft.com/office/drawing/2014/main" id="{039AA7C1-4FD2-4773-8B0C-39B1A52A13CF}"/>
              </a:ext>
            </a:extLst>
          </p:cNvPr>
          <p:cNvSpPr/>
          <p:nvPr/>
        </p:nvSpPr>
        <p:spPr>
          <a:xfrm>
            <a:off x="3492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51" name="Rechteck 150">
            <a:extLst>
              <a:ext uri="{FF2B5EF4-FFF2-40B4-BE49-F238E27FC236}">
                <a16:creationId xmlns:a16="http://schemas.microsoft.com/office/drawing/2014/main" id="{552261CC-1C51-4CA9-9F53-12315DE089AF}"/>
              </a:ext>
            </a:extLst>
          </p:cNvPr>
          <p:cNvSpPr/>
          <p:nvPr/>
        </p:nvSpPr>
        <p:spPr>
          <a:xfrm>
            <a:off x="4788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52" name="Rechteck 151">
            <a:extLst>
              <a:ext uri="{FF2B5EF4-FFF2-40B4-BE49-F238E27FC236}">
                <a16:creationId xmlns:a16="http://schemas.microsoft.com/office/drawing/2014/main" id="{AACA1370-E80A-4DC7-91FC-170EC7FBA719}"/>
              </a:ext>
            </a:extLst>
          </p:cNvPr>
          <p:cNvSpPr/>
          <p:nvPr/>
        </p:nvSpPr>
        <p:spPr>
          <a:xfrm>
            <a:off x="6012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53" name="Rechteck 152">
            <a:extLst>
              <a:ext uri="{FF2B5EF4-FFF2-40B4-BE49-F238E27FC236}">
                <a16:creationId xmlns:a16="http://schemas.microsoft.com/office/drawing/2014/main" id="{841B776D-F622-4A09-AEAB-440C9381B17B}"/>
              </a:ext>
            </a:extLst>
          </p:cNvPr>
          <p:cNvSpPr/>
          <p:nvPr/>
        </p:nvSpPr>
        <p:spPr>
          <a:xfrm>
            <a:off x="4788000" y="2997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54" name="Rechteck 153">
            <a:extLst>
              <a:ext uri="{FF2B5EF4-FFF2-40B4-BE49-F238E27FC236}">
                <a16:creationId xmlns:a16="http://schemas.microsoft.com/office/drawing/2014/main" id="{2161098B-7857-4F7D-A7E3-F427864DEA6E}"/>
              </a:ext>
            </a:extLst>
          </p:cNvPr>
          <p:cNvSpPr/>
          <p:nvPr/>
        </p:nvSpPr>
        <p:spPr>
          <a:xfrm>
            <a:off x="7380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59" name="Freihandform: Form 158">
            <a:extLst>
              <a:ext uri="{FF2B5EF4-FFF2-40B4-BE49-F238E27FC236}">
                <a16:creationId xmlns:a16="http://schemas.microsoft.com/office/drawing/2014/main" id="{C568D8DE-7121-4BB4-BA9A-9A4E5B5FC7C9}"/>
              </a:ext>
            </a:extLst>
          </p:cNvPr>
          <p:cNvSpPr/>
          <p:nvPr/>
        </p:nvSpPr>
        <p:spPr>
          <a:xfrm>
            <a:off x="2340000" y="2493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60" name="Rechteck 159">
            <a:extLst>
              <a:ext uri="{FF2B5EF4-FFF2-40B4-BE49-F238E27FC236}">
                <a16:creationId xmlns:a16="http://schemas.microsoft.com/office/drawing/2014/main" id="{6507AC1D-E746-4FE8-9648-0D281864028E}"/>
              </a:ext>
            </a:extLst>
          </p:cNvPr>
          <p:cNvSpPr/>
          <p:nvPr/>
        </p:nvSpPr>
        <p:spPr>
          <a:xfrm>
            <a:off x="6021390" y="249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61" name="Rechteck 160">
            <a:extLst>
              <a:ext uri="{FF2B5EF4-FFF2-40B4-BE49-F238E27FC236}">
                <a16:creationId xmlns:a16="http://schemas.microsoft.com/office/drawing/2014/main" id="{43399452-9313-4637-B715-1442B4AF7759}"/>
              </a:ext>
            </a:extLst>
          </p:cNvPr>
          <p:cNvSpPr/>
          <p:nvPr/>
        </p:nvSpPr>
        <p:spPr>
          <a:xfrm>
            <a:off x="3357390" y="249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62" name="Rechteck 161">
            <a:extLst>
              <a:ext uri="{FF2B5EF4-FFF2-40B4-BE49-F238E27FC236}">
                <a16:creationId xmlns:a16="http://schemas.microsoft.com/office/drawing/2014/main" id="{AF2ECE3F-E2E5-4468-A375-0F5C68E72E10}"/>
              </a:ext>
            </a:extLst>
          </p:cNvPr>
          <p:cNvSpPr/>
          <p:nvPr/>
        </p:nvSpPr>
        <p:spPr>
          <a:xfrm>
            <a:off x="5229390" y="27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63" name="Rechteck 162">
            <a:extLst>
              <a:ext uri="{FF2B5EF4-FFF2-40B4-BE49-F238E27FC236}">
                <a16:creationId xmlns:a16="http://schemas.microsoft.com/office/drawing/2014/main" id="{348B4609-2A4B-4E83-9B8E-BA5E8FAC432C}"/>
              </a:ext>
            </a:extLst>
          </p:cNvPr>
          <p:cNvSpPr/>
          <p:nvPr/>
        </p:nvSpPr>
        <p:spPr>
          <a:xfrm>
            <a:off x="6885390" y="27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64" name="Gerader Verbinder 163">
            <a:extLst>
              <a:ext uri="{FF2B5EF4-FFF2-40B4-BE49-F238E27FC236}">
                <a16:creationId xmlns:a16="http://schemas.microsoft.com/office/drawing/2014/main" id="{D537A456-8EA4-4E92-855E-729C4CEDE2CC}"/>
              </a:ext>
            </a:extLst>
          </p:cNvPr>
          <p:cNvCxnSpPr>
            <a:cxnSpLocks/>
          </p:cNvCxnSpPr>
          <p:nvPr/>
        </p:nvCxnSpPr>
        <p:spPr>
          <a:xfrm>
            <a:off x="5445390" y="2709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77649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Top_Level.png</a:t>
            </a:r>
            <a:br>
              <a:rPr lang="en-US" dirty="0"/>
            </a:br>
            <a:endParaRPr lang="en-US" dirty="0"/>
          </a:p>
        </p:txBody>
      </p:sp>
      <p:sp>
        <p:nvSpPr>
          <p:cNvPr id="35" name="Rechteck 34">
            <a:extLst>
              <a:ext uri="{FF2B5EF4-FFF2-40B4-BE49-F238E27FC236}">
                <a16:creationId xmlns:a16="http://schemas.microsoft.com/office/drawing/2014/main" id="{E6FD1F8A-1E29-4082-BD8E-B68439FB0EC7}"/>
              </a:ext>
            </a:extLst>
          </p:cNvPr>
          <p:cNvSpPr/>
          <p:nvPr/>
        </p:nvSpPr>
        <p:spPr>
          <a:xfrm>
            <a:off x="396000" y="765000"/>
            <a:ext cx="2160000" cy="432000"/>
          </a:xfrm>
          <a:prstGeom prst="rect">
            <a:avLst/>
          </a:pr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a:p>
            <a:pPr algn="ctr"/>
            <a:r>
              <a:rPr lang="en-US" sz="1200" b="1" dirty="0">
                <a:solidFill>
                  <a:schemeClr val="tx1"/>
                </a:solidFill>
              </a:rPr>
              <a:t>and Function Libraries</a:t>
            </a:r>
          </a:p>
        </p:txBody>
      </p:sp>
      <p:sp>
        <p:nvSpPr>
          <p:cNvPr id="37" name="Rechteck 36">
            <a:extLst>
              <a:ext uri="{FF2B5EF4-FFF2-40B4-BE49-F238E27FC236}">
                <a16:creationId xmlns:a16="http://schemas.microsoft.com/office/drawing/2014/main" id="{6E1BCBB0-D175-4259-B26F-C597A81DC306}"/>
              </a:ext>
            </a:extLst>
          </p:cNvPr>
          <p:cNvSpPr/>
          <p:nvPr/>
        </p:nvSpPr>
        <p:spPr>
          <a:xfrm>
            <a:off x="2556000" y="155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s</a:t>
            </a:r>
          </a:p>
        </p:txBody>
      </p:sp>
      <p:sp>
        <p:nvSpPr>
          <p:cNvPr id="39" name="Rechteck 38">
            <a:extLst>
              <a:ext uri="{FF2B5EF4-FFF2-40B4-BE49-F238E27FC236}">
                <a16:creationId xmlns:a16="http://schemas.microsoft.com/office/drawing/2014/main" id="{3DE79C33-9C3E-4819-BD35-A6EAA83F0B65}"/>
              </a:ext>
            </a:extLst>
          </p:cNvPr>
          <p:cNvSpPr/>
          <p:nvPr/>
        </p:nvSpPr>
        <p:spPr>
          <a:xfrm>
            <a:off x="2556000" y="227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sp>
        <p:nvSpPr>
          <p:cNvPr id="113" name="Rechteck 112">
            <a:extLst>
              <a:ext uri="{FF2B5EF4-FFF2-40B4-BE49-F238E27FC236}">
                <a16:creationId xmlns:a16="http://schemas.microsoft.com/office/drawing/2014/main" id="{69E15E5F-9525-4135-821B-6CDE0D1CB24D}"/>
              </a:ext>
            </a:extLst>
          </p:cNvPr>
          <p:cNvSpPr/>
          <p:nvPr/>
        </p:nvSpPr>
        <p:spPr>
          <a:xfrm>
            <a:off x="2556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Code blocks inside braces </a:t>
            </a:r>
            <a:r>
              <a:rPr lang="en-US" sz="1000" b="1" dirty="0">
                <a:solidFill>
                  <a:schemeClr val="tx1"/>
                </a:solidFill>
              </a:rPr>
              <a:t>{</a:t>
            </a:r>
            <a:r>
              <a:rPr lang="en-US" sz="1000" dirty="0">
                <a:solidFill>
                  <a:schemeClr val="tx1"/>
                </a:solidFill>
              </a:rPr>
              <a:t> … </a:t>
            </a:r>
            <a:r>
              <a:rPr lang="en-US" sz="1000" b="1" dirty="0">
                <a:solidFill>
                  <a:schemeClr val="tx1"/>
                </a:solidFill>
              </a:rPr>
              <a:t>}</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684000" y="1197000"/>
            <a:ext cx="0" cy="129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Rechteck 65">
            <a:extLst>
              <a:ext uri="{FF2B5EF4-FFF2-40B4-BE49-F238E27FC236}">
                <a16:creationId xmlns:a16="http://schemas.microsoft.com/office/drawing/2014/main" id="{3ABCAEDF-CBB1-465E-8102-CBAACAAA9356}"/>
              </a:ext>
            </a:extLst>
          </p:cNvPr>
          <p:cNvSpPr/>
          <p:nvPr/>
        </p:nvSpPr>
        <p:spPr>
          <a:xfrm>
            <a:off x="5004000" y="981000"/>
            <a:ext cx="360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i );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o );</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rgbClr val="0000FF"/>
                </a:solidFill>
                <a:latin typeface="Courier New" panose="02070309020205020404" pitchFamily="49" charset="0"/>
                <a:cs typeface="Courier New" panose="02070309020205020404" pitchFamily="49" charset="0"/>
              </a:rPr>
              <a:t>}</a:t>
            </a:r>
          </a:p>
        </p:txBody>
      </p:sp>
      <p:cxnSp>
        <p:nvCxnSpPr>
          <p:cNvPr id="67" name="Gerade Verbindung mit Pfeil 66">
            <a:extLst>
              <a:ext uri="{FF2B5EF4-FFF2-40B4-BE49-F238E27FC236}">
                <a16:creationId xmlns:a16="http://schemas.microsoft.com/office/drawing/2014/main" id="{20A55B09-D86E-4FB5-8BE5-BE84F5EAC408}"/>
              </a:ext>
            </a:extLst>
          </p:cNvPr>
          <p:cNvCxnSpPr>
            <a:cxnSpLocks/>
            <a:stCxn id="113" idx="2"/>
            <a:endCxn id="39" idx="0"/>
          </p:cNvCxnSpPr>
          <p:nvPr/>
        </p:nvCxnSpPr>
        <p:spPr>
          <a:xfrm>
            <a:off x="3636000" y="1989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10C88A69-70FD-476B-BC65-029D09FFCE3F}"/>
              </a:ext>
            </a:extLst>
          </p:cNvPr>
          <p:cNvSpPr/>
          <p:nvPr/>
        </p:nvSpPr>
        <p:spPr>
          <a:xfrm>
            <a:off x="5004000" y="2277000"/>
            <a:ext cx="3600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ello world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date</a:t>
            </a:r>
            <a:r>
              <a:rPr lang="en-US" sz="1000" dirty="0">
                <a:solidFill>
                  <a:schemeClr val="tx1"/>
                </a:solidFill>
                <a:latin typeface="Courier New" panose="02070309020205020404" pitchFamily="49" charset="0"/>
                <a:cs typeface="Courier New" panose="02070309020205020404" pitchFamily="49" charset="0"/>
              </a:rPr>
              <a:t>(today) )</a:t>
            </a:r>
            <a:r>
              <a:rPr lang="en-US" sz="1000" b="1" dirty="0">
                <a:solidFill>
                  <a:srgbClr val="0000FF"/>
                </a:solidFill>
                <a:latin typeface="Courier New" panose="02070309020205020404" pitchFamily="49" charset="0"/>
                <a:cs typeface="Courier New" panose="02070309020205020404" pitchFamily="49" charset="0"/>
              </a:rPr>
              <a:t>;</a:t>
            </a:r>
            <a:endParaRPr lang="en-US" sz="1000" b="1" dirty="0">
              <a:solidFill>
                <a:schemeClr val="tx1"/>
              </a:solidFill>
              <a:latin typeface="Courier New" panose="02070309020205020404" pitchFamily="49" charset="0"/>
              <a:cs typeface="Courier New" panose="02070309020205020404" pitchFamily="49" charset="0"/>
            </a:endParaRPr>
          </a:p>
          <a:p>
            <a:r>
              <a:rPr lang="en-US" sz="1000" dirty="0">
                <a:solidFill>
                  <a:schemeClr val="tx1"/>
                </a:solidFill>
                <a:latin typeface="Courier New" panose="02070309020205020404" pitchFamily="49" charset="0"/>
                <a:cs typeface="Courier New" panose="02070309020205020404" pitchFamily="49" charset="0"/>
              </a:rPr>
              <a:t>a[] = 5 + 3*2</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Result is: ", a[])</a:t>
            </a:r>
            <a:r>
              <a:rPr lang="en-US" sz="1000" b="1" dirty="0">
                <a:solidFill>
                  <a:srgbClr val="0000FF"/>
                </a:solidFill>
                <a:latin typeface="Courier New" panose="02070309020205020404" pitchFamily="49" charset="0"/>
                <a:cs typeface="Courier New" panose="02070309020205020404" pitchFamily="49" charset="0"/>
              </a:rPr>
              <a:t>;</a:t>
            </a:r>
          </a:p>
        </p:txBody>
      </p:sp>
      <p:sp>
        <p:nvSpPr>
          <p:cNvPr id="72" name="Rechteck 71">
            <a:extLst>
              <a:ext uri="{FF2B5EF4-FFF2-40B4-BE49-F238E27FC236}">
                <a16:creationId xmlns:a16="http://schemas.microsoft.com/office/drawing/2014/main" id="{AA7BECD8-F4C9-4BB8-A25E-4F37FEEBFF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y contain 1 or more Statements and Blocks in any order</a:t>
            </a:r>
          </a:p>
        </p:txBody>
      </p:sp>
      <p:sp>
        <p:nvSpPr>
          <p:cNvPr id="15" name="Rechteck 14">
            <a:extLst>
              <a:ext uri="{FF2B5EF4-FFF2-40B4-BE49-F238E27FC236}">
                <a16:creationId xmlns:a16="http://schemas.microsoft.com/office/drawing/2014/main" id="{6363B55E-A0DD-4F04-B26B-EE0CF4163EFB}"/>
              </a:ext>
            </a:extLst>
          </p:cNvPr>
          <p:cNvSpPr/>
          <p:nvPr/>
        </p:nvSpPr>
        <p:spPr>
          <a:xfrm>
            <a:off x="3708000" y="1989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locks ,ay contain 1 or more statements and (nested) blocks</a:t>
            </a:r>
          </a:p>
        </p:txBody>
      </p:sp>
      <p:sp>
        <p:nvSpPr>
          <p:cNvPr id="16" name="Rechteck 15">
            <a:extLst>
              <a:ext uri="{FF2B5EF4-FFF2-40B4-BE49-F238E27FC236}">
                <a16:creationId xmlns:a16="http://schemas.microsoft.com/office/drawing/2014/main" id="{24DF15E2-8494-4CD4-97B9-0587F72A4C67}"/>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Delimited with semicolons </a:t>
            </a:r>
            <a:r>
              <a:rPr lang="en-US" sz="1000" b="1" dirty="0">
                <a:solidFill>
                  <a:schemeClr val="tx1"/>
                </a:solidFill>
              </a:rPr>
              <a:t>;</a:t>
            </a:r>
          </a:p>
        </p:txBody>
      </p:sp>
      <p:sp>
        <p:nvSpPr>
          <p:cNvPr id="25" name="Rechteck 24">
            <a:extLst>
              <a:ext uri="{FF2B5EF4-FFF2-40B4-BE49-F238E27FC236}">
                <a16:creationId xmlns:a16="http://schemas.microsoft.com/office/drawing/2014/main" id="{A32A9BA3-6FAF-4251-AA22-942116015580}"/>
              </a:ext>
            </a:extLst>
          </p:cNvPr>
          <p:cNvSpPr/>
          <p:nvPr/>
        </p:nvSpPr>
        <p:spPr>
          <a:xfrm>
            <a:off x="5004000" y="765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13540363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Statements.png</a:t>
            </a:r>
            <a:br>
              <a:rPr lang="en-US" dirty="0"/>
            </a:br>
            <a:r>
              <a:rPr lang="en-US" dirty="0"/>
              <a:t> </a:t>
            </a:r>
          </a:p>
        </p:txBody>
      </p:sp>
      <p:sp>
        <p:nvSpPr>
          <p:cNvPr id="70" name="Rechteck 69">
            <a:extLst>
              <a:ext uri="{FF2B5EF4-FFF2-40B4-BE49-F238E27FC236}">
                <a16:creationId xmlns:a16="http://schemas.microsoft.com/office/drawing/2014/main" id="{10C88A69-70FD-476B-BC65-029D09FFCE3F}"/>
              </a:ext>
            </a:extLst>
          </p:cNvPr>
          <p:cNvSpPr/>
          <p:nvPr/>
        </p:nvSpPr>
        <p:spPr>
          <a:xfrm>
            <a:off x="5004000" y="155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b="1" dirty="0">
                <a:solidFill>
                  <a:srgbClr val="0000FF"/>
                </a:solidFill>
                <a:latin typeface="Courier New" panose="02070309020205020404" pitchFamily="49" charset="0"/>
                <a:cs typeface="Courier New" panose="02070309020205020404" pitchFamily="49" charset="0"/>
              </a:rPr>
              <a:t>table load</a:t>
            </a:r>
            <a:r>
              <a:rPr lang="en-US" sz="1000" dirty="0">
                <a:solidFill>
                  <a:schemeClr val="tx1"/>
                </a:solidFill>
                <a:latin typeface="Courier New" panose="02070309020205020404" pitchFamily="49" charset="0"/>
                <a:cs typeface="Courier New" panose="02070309020205020404" pitchFamily="49" charset="0"/>
              </a:rPr>
              <a:t>( t1, test.csv ):</a:t>
            </a:r>
          </a:p>
        </p:txBody>
      </p:sp>
      <p:sp>
        <p:nvSpPr>
          <p:cNvPr id="34" name="Rechteck 33">
            <a:extLst>
              <a:ext uri="{FF2B5EF4-FFF2-40B4-BE49-F238E27FC236}">
                <a16:creationId xmlns:a16="http://schemas.microsoft.com/office/drawing/2014/main" id="{A6DD2971-12C7-4076-9703-01FF69EBDEFA}"/>
              </a:ext>
            </a:extLst>
          </p:cNvPr>
          <p:cNvSpPr/>
          <p:nvPr/>
        </p:nvSpPr>
        <p:spPr>
          <a:xfrm>
            <a:off x="2556000" y="155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Procedure Calls</a:t>
            </a:r>
          </a:p>
        </p:txBody>
      </p:sp>
      <p:sp>
        <p:nvSpPr>
          <p:cNvPr id="36" name="Rechteck 35">
            <a:extLst>
              <a:ext uri="{FF2B5EF4-FFF2-40B4-BE49-F238E27FC236}">
                <a16:creationId xmlns:a16="http://schemas.microsoft.com/office/drawing/2014/main" id="{DFFAA0A9-A507-4D93-BE46-511521A5AD92}"/>
              </a:ext>
            </a:extLst>
          </p:cNvPr>
          <p:cNvSpPr/>
          <p:nvPr/>
        </p:nvSpPr>
        <p:spPr>
          <a:xfrm>
            <a:off x="2556000" y="227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Control Flow</a:t>
            </a:r>
            <a:endParaRPr lang="en-US" sz="1200" dirty="0">
              <a:solidFill>
                <a:schemeClr val="tx1"/>
              </a:solidFill>
            </a:endParaRPr>
          </a:p>
        </p:txBody>
      </p:sp>
      <p:sp>
        <p:nvSpPr>
          <p:cNvPr id="38" name="Rechteck 37">
            <a:extLst>
              <a:ext uri="{FF2B5EF4-FFF2-40B4-BE49-F238E27FC236}">
                <a16:creationId xmlns:a16="http://schemas.microsoft.com/office/drawing/2014/main" id="{E97CC6B8-44DF-4D47-9AD5-4CD8C9A16DE7}"/>
              </a:ext>
            </a:extLst>
          </p:cNvPr>
          <p:cNvSpPr/>
          <p:nvPr/>
        </p:nvSpPr>
        <p:spPr>
          <a:xfrm>
            <a:off x="2556000" y="314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40" name="Rechteck 39">
            <a:extLst>
              <a:ext uri="{FF2B5EF4-FFF2-40B4-BE49-F238E27FC236}">
                <a16:creationId xmlns:a16="http://schemas.microsoft.com/office/drawing/2014/main" id="{22FBE4BE-F616-46C2-AAC9-63F289AA916F}"/>
              </a:ext>
            </a:extLst>
          </p:cNvPr>
          <p:cNvSpPr/>
          <p:nvPr/>
        </p:nvSpPr>
        <p:spPr>
          <a:xfrm>
            <a:off x="2556000" y="386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ndalone Ad-hoc</a:t>
            </a:r>
            <a:br>
              <a:rPr lang="en-US" sz="1200" b="1" dirty="0">
                <a:solidFill>
                  <a:schemeClr val="tx1"/>
                </a:solidFill>
              </a:rPr>
            </a:br>
            <a:r>
              <a:rPr lang="en-US" sz="1200" b="1" dirty="0">
                <a:solidFill>
                  <a:schemeClr val="tx1"/>
                </a:solidFill>
              </a:rPr>
              <a:t>Operations</a:t>
            </a:r>
          </a:p>
        </p:txBody>
      </p:sp>
      <p:sp>
        <p:nvSpPr>
          <p:cNvPr id="41" name="Rechteck 40">
            <a:extLst>
              <a:ext uri="{FF2B5EF4-FFF2-40B4-BE49-F238E27FC236}">
                <a16:creationId xmlns:a16="http://schemas.microsoft.com/office/drawing/2014/main" id="{506031A6-A80A-4A99-9B01-FE3C2619E675}"/>
              </a:ext>
            </a:extLst>
          </p:cNvPr>
          <p:cNvSpPr/>
          <p:nvPr/>
        </p:nvSpPr>
        <p:spPr>
          <a:xfrm>
            <a:off x="2556000" y="472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Transactions</a:t>
            </a:r>
          </a:p>
        </p:txBody>
      </p:sp>
      <p:sp>
        <p:nvSpPr>
          <p:cNvPr id="42" name="Rechteck 41">
            <a:extLst>
              <a:ext uri="{FF2B5EF4-FFF2-40B4-BE49-F238E27FC236}">
                <a16:creationId xmlns:a16="http://schemas.microsoft.com/office/drawing/2014/main" id="{21071A75-8F58-41AE-A1CD-672864BFBE85}"/>
              </a:ext>
            </a:extLst>
          </p:cNvPr>
          <p:cNvSpPr/>
          <p:nvPr/>
        </p:nvSpPr>
        <p:spPr>
          <a:xfrm>
            <a:off x="5004000" y="227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while</a:t>
            </a:r>
            <a:r>
              <a:rPr lang="en-US" sz="1000" dirty="0">
                <a:solidFill>
                  <a:schemeClr val="tx1"/>
                </a:solidFill>
                <a:latin typeface="Courier New" panose="02070309020205020404" pitchFamily="49" charset="0"/>
                <a:cs typeface="Courier New" panose="02070309020205020404" pitchFamily="49" charset="0"/>
              </a:rPr>
              <a:t> (a[] &gt; 3)</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a[]--, " is still greater than 3");</a:t>
            </a:r>
          </a:p>
        </p:txBody>
      </p:sp>
      <p:sp>
        <p:nvSpPr>
          <p:cNvPr id="44" name="Rechteck 43">
            <a:extLst>
              <a:ext uri="{FF2B5EF4-FFF2-40B4-BE49-F238E27FC236}">
                <a16:creationId xmlns:a16="http://schemas.microsoft.com/office/drawing/2014/main" id="{DF460A4C-B249-4F0E-93EF-BBCCCD8A0784}"/>
              </a:ext>
            </a:extLst>
          </p:cNvPr>
          <p:cNvSpPr/>
          <p:nvPr/>
        </p:nvSpPr>
        <p:spPr>
          <a:xfrm>
            <a:off x="5004000" y="314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b[]*2 + 1;</a:t>
            </a:r>
          </a:p>
          <a:p>
            <a:r>
              <a:rPr lang="en-US" sz="1000" dirty="0">
                <a:solidFill>
                  <a:schemeClr val="tx1"/>
                </a:solidFill>
                <a:latin typeface="Courier New" panose="02070309020205020404" pitchFamily="49" charset="0"/>
                <a:cs typeface="Courier New" panose="02070309020205020404" pitchFamily="49" charset="0"/>
              </a:rPr>
              <a:t>[Last Name]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Miller;</a:t>
            </a:r>
          </a:p>
        </p:txBody>
      </p:sp>
      <p:sp>
        <p:nvSpPr>
          <p:cNvPr id="48" name="Rechteck 47">
            <a:extLst>
              <a:ext uri="{FF2B5EF4-FFF2-40B4-BE49-F238E27FC236}">
                <a16:creationId xmlns:a16="http://schemas.microsoft.com/office/drawing/2014/main" id="{377EB056-F8DD-4731-800B-117D8EC57019}"/>
              </a:ext>
            </a:extLst>
          </p:cNvPr>
          <p:cNvSpPr/>
          <p:nvPr/>
        </p:nvSpPr>
        <p:spPr>
          <a:xfrm>
            <a:off x="5004000" y="386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Increment by 1</a:t>
            </a:r>
          </a:p>
          <a:p>
            <a:r>
              <a:rPr lang="en-US" sz="1000" dirty="0">
                <a:solidFill>
                  <a:schemeClr val="tx1"/>
                </a:solidFill>
                <a:latin typeface="Courier New" panose="02070309020205020404" pitchFamily="49" charset="0"/>
                <a:cs typeface="Courier New" panose="02070309020205020404" pitchFamily="49" charset="0"/>
              </a:rPr>
              <a:t>[Score]</a:t>
            </a:r>
            <a:r>
              <a:rPr lang="en-US" sz="1000" b="1" dirty="0">
                <a:solidFill>
                  <a:srgbClr val="0000FF"/>
                </a:solidFill>
                <a:latin typeface="Courier New" panose="02070309020205020404" pitchFamily="49" charset="0"/>
                <a:cs typeface="Courier New" panose="02070309020205020404" pitchFamily="49" charset="0"/>
              </a:rPr>
              <a:t>**(3)</a:t>
            </a:r>
            <a:r>
              <a:rPr lang="en-US" sz="1000" dirty="0">
                <a:solidFill>
                  <a:schemeClr val="tx1"/>
                </a:solidFill>
                <a:latin typeface="Courier New" panose="02070309020205020404" pitchFamily="49" charset="0"/>
                <a:cs typeface="Courier New" panose="02070309020205020404" pitchFamily="49" charset="0"/>
              </a:rPr>
              <a:t>; // Multiply by 3</a:t>
            </a:r>
          </a:p>
        </p:txBody>
      </p:sp>
      <p:sp>
        <p:nvSpPr>
          <p:cNvPr id="49" name="Rechteck 48">
            <a:extLst>
              <a:ext uri="{FF2B5EF4-FFF2-40B4-BE49-F238E27FC236}">
                <a16:creationId xmlns:a16="http://schemas.microsoft.com/office/drawing/2014/main" id="{4F8DF516-9F57-4601-9EBA-31382BB51905}"/>
              </a:ext>
            </a:extLst>
          </p:cNvPr>
          <p:cNvSpPr/>
          <p:nvPr/>
        </p:nvSpPr>
        <p:spPr>
          <a:xfrm>
            <a:off x="5004000" y="4725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sym typeface="Wingdings" panose="05000000000000000000" pitchFamily="2" charset="2"/>
              </a:rPr>
              <a:t>&lt;==</a:t>
            </a:r>
            <a:r>
              <a:rPr lang="en-US" sz="1000" dirty="0">
                <a:solidFill>
                  <a:schemeClr val="tx1"/>
                </a:solidFill>
                <a:latin typeface="Courier New" panose="02070309020205020404" pitchFamily="49" charset="0"/>
                <a:cs typeface="Courier New" panose="02070309020205020404" pitchFamily="49" charset="0"/>
                <a:sym typeface="Wingdings" panose="05000000000000000000" pitchFamily="2" charset="2"/>
              </a:rPr>
              <a:t> b[]</a:t>
            </a:r>
            <a:r>
              <a:rPr lang="en-US" sz="1000" dirty="0">
                <a:solidFill>
                  <a:schemeClr val="tx1"/>
                </a:solidFill>
                <a:latin typeface="Courier New" panose="02070309020205020404" pitchFamily="49" charset="0"/>
                <a:cs typeface="Courier New" panose="02070309020205020404" pitchFamily="49" charset="0"/>
              </a:rPr>
              <a:t>;</a:t>
            </a:r>
          </a:p>
        </p:txBody>
      </p:sp>
      <p:sp>
        <p:nvSpPr>
          <p:cNvPr id="50" name="Rechteck 49">
            <a:extLst>
              <a:ext uri="{FF2B5EF4-FFF2-40B4-BE49-F238E27FC236}">
                <a16:creationId xmlns:a16="http://schemas.microsoft.com/office/drawing/2014/main" id="{B24D4BB0-2B0E-4020-BE20-40352A0CE595}"/>
              </a:ext>
            </a:extLst>
          </p:cNvPr>
          <p:cNvSpPr/>
          <p:nvPr/>
        </p:nvSpPr>
        <p:spPr>
          <a:xfrm>
            <a:off x="2556000" y="335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51" name="Rechteck 50">
            <a:extLst>
              <a:ext uri="{FF2B5EF4-FFF2-40B4-BE49-F238E27FC236}">
                <a16:creationId xmlns:a16="http://schemas.microsoft.com/office/drawing/2014/main" id="{2380098F-B36B-4A3F-AAD5-FD4205B62090}"/>
              </a:ext>
            </a:extLst>
          </p:cNvPr>
          <p:cNvSpPr/>
          <p:nvPr/>
        </p:nvSpPr>
        <p:spPr>
          <a:xfrm>
            <a:off x="2556000" y="5157000"/>
            <a:ext cx="604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nhanced form of assignments using </a:t>
            </a:r>
            <a:r>
              <a:rPr lang="en-US" sz="1000" b="1" dirty="0">
                <a:solidFill>
                  <a:schemeClr val="tx1"/>
                </a:solidFill>
              </a:rPr>
              <a:t>Transaction Operators</a:t>
            </a:r>
            <a:r>
              <a:rPr lang="en-US" sz="1000" dirty="0">
                <a:solidFill>
                  <a:schemeClr val="tx1"/>
                </a:solidFill>
              </a:rPr>
              <a:t> (like </a:t>
            </a:r>
            <a:r>
              <a:rPr lang="en-US" sz="1000" b="1" dirty="0">
                <a:solidFill>
                  <a:srgbClr val="0000FF"/>
                </a:solidFill>
              </a:rPr>
              <a:t>&lt;==</a:t>
            </a:r>
            <a:r>
              <a:rPr lang="en-US" sz="1000" dirty="0">
                <a:solidFill>
                  <a:schemeClr val="tx1"/>
                </a:solidFill>
              </a:rPr>
              <a:t>) which also affect the members</a:t>
            </a:r>
          </a:p>
          <a:p>
            <a:r>
              <a:rPr lang="en-US" sz="1000" dirty="0">
                <a:solidFill>
                  <a:schemeClr val="tx1"/>
                </a:solidFill>
              </a:rPr>
              <a:t>and sub-members of variables  well as multiple fields in table rows</a:t>
            </a:r>
          </a:p>
        </p:txBody>
      </p:sp>
      <p:sp>
        <p:nvSpPr>
          <p:cNvPr id="55" name="Rechteck 54">
            <a:extLst>
              <a:ext uri="{FF2B5EF4-FFF2-40B4-BE49-F238E27FC236}">
                <a16:creationId xmlns:a16="http://schemas.microsoft.com/office/drawing/2014/main" id="{BCC1096A-708E-49A0-BFA7-53DD19D2F1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an be one of the following five varieties:</a:t>
            </a:r>
          </a:p>
        </p:txBody>
      </p:sp>
      <p:sp>
        <p:nvSpPr>
          <p:cNvPr id="56" name="Rechteck 55">
            <a:extLst>
              <a:ext uri="{FF2B5EF4-FFF2-40B4-BE49-F238E27FC236}">
                <a16:creationId xmlns:a16="http://schemas.microsoft.com/office/drawing/2014/main" id="{D16472FF-92A5-42AF-AF10-8071C751CE69}"/>
              </a:ext>
            </a:extLst>
          </p:cNvPr>
          <p:cNvSpPr/>
          <p:nvPr/>
        </p:nvSpPr>
        <p:spPr>
          <a:xfrm>
            <a:off x="2556000" y="1989000"/>
            <a:ext cx="597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4P functions being called as procedures, not making use of return values if provided.</a:t>
            </a:r>
          </a:p>
        </p:txBody>
      </p:sp>
      <p:sp>
        <p:nvSpPr>
          <p:cNvPr id="57" name="Rechteck 56">
            <a:extLst>
              <a:ext uri="{FF2B5EF4-FFF2-40B4-BE49-F238E27FC236}">
                <a16:creationId xmlns:a16="http://schemas.microsoft.com/office/drawing/2014/main" id="{DF90F11F-3657-4749-8D2B-091CBD9256BA}"/>
              </a:ext>
            </a:extLst>
          </p:cNvPr>
          <p:cNvSpPr/>
          <p:nvPr/>
        </p:nvSpPr>
        <p:spPr>
          <a:xfrm>
            <a:off x="2556000" y="2709000"/>
            <a:ext cx="597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f, while, for, switch / case, etc. are some of the B4P functions which are called as procedures, and</a:t>
            </a:r>
          </a:p>
          <a:p>
            <a:r>
              <a:rPr lang="en-US" sz="1000" dirty="0">
                <a:solidFill>
                  <a:schemeClr val="tx1"/>
                </a:solidFill>
              </a:rPr>
              <a:t>decide if and how the following statement or block shall be executed. (The </a:t>
            </a:r>
            <a:r>
              <a:rPr lang="en-US" sz="1000" b="1" dirty="0">
                <a:solidFill>
                  <a:schemeClr val="tx1"/>
                </a:solidFill>
              </a:rPr>
              <a:t>--</a:t>
            </a:r>
            <a:r>
              <a:rPr lang="en-US" sz="1000" dirty="0">
                <a:solidFill>
                  <a:schemeClr val="tx1"/>
                </a:solidFill>
              </a:rPr>
              <a:t> is an ad-hoc decrement)</a:t>
            </a:r>
          </a:p>
        </p:txBody>
      </p:sp>
      <p:sp>
        <p:nvSpPr>
          <p:cNvPr id="58" name="Rechteck 57">
            <a:extLst>
              <a:ext uri="{FF2B5EF4-FFF2-40B4-BE49-F238E27FC236}">
                <a16:creationId xmlns:a16="http://schemas.microsoft.com/office/drawing/2014/main" id="{BEFE14AC-3C68-4A2B-BC8B-87812F574905}"/>
              </a:ext>
            </a:extLst>
          </p:cNvPr>
          <p:cNvSpPr/>
          <p:nvPr/>
        </p:nvSpPr>
        <p:spPr>
          <a:xfrm>
            <a:off x="2556000" y="3573000"/>
            <a:ext cx="25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value (e.g. from a constant, expression, etc.) is assigned to a variable or table entry with the </a:t>
            </a:r>
            <a:r>
              <a:rPr lang="en-US" sz="1000" b="1" dirty="0">
                <a:solidFill>
                  <a:srgbClr val="0000FF"/>
                </a:solidFill>
              </a:rPr>
              <a:t>=</a:t>
            </a:r>
            <a:r>
              <a:rPr lang="en-US" sz="1000" dirty="0">
                <a:solidFill>
                  <a:schemeClr val="tx1"/>
                </a:solidFill>
              </a:rPr>
              <a:t> symbol</a:t>
            </a:r>
          </a:p>
        </p:txBody>
      </p:sp>
      <p:sp>
        <p:nvSpPr>
          <p:cNvPr id="59" name="Rechteck 58">
            <a:extLst>
              <a:ext uri="{FF2B5EF4-FFF2-40B4-BE49-F238E27FC236}">
                <a16:creationId xmlns:a16="http://schemas.microsoft.com/office/drawing/2014/main" id="{F440942B-C3C3-43D1-BA40-CAC1784C1598}"/>
              </a:ext>
            </a:extLst>
          </p:cNvPr>
          <p:cNvSpPr/>
          <p:nvPr/>
        </p:nvSpPr>
        <p:spPr>
          <a:xfrm>
            <a:off x="2556000" y="4293000"/>
            <a:ext cx="604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simple operation (e.g. increment, decrement, scaling, etc.) is applied on a</a:t>
            </a:r>
            <a:br>
              <a:rPr lang="en-US" sz="1000" dirty="0">
                <a:solidFill>
                  <a:schemeClr val="tx1"/>
                </a:solidFill>
              </a:rPr>
            </a:br>
            <a:r>
              <a:rPr lang="en-US" sz="1000" dirty="0">
                <a:solidFill>
                  <a:schemeClr val="tx1"/>
                </a:solidFill>
              </a:rPr>
              <a:t>variable or a table entry.</a:t>
            </a:r>
          </a:p>
        </p:txBody>
      </p:sp>
      <p:sp>
        <p:nvSpPr>
          <p:cNvPr id="60" name="Rechteck 59">
            <a:extLst>
              <a:ext uri="{FF2B5EF4-FFF2-40B4-BE49-F238E27FC236}">
                <a16:creationId xmlns:a16="http://schemas.microsoft.com/office/drawing/2014/main" id="{088ADC96-E6E1-4667-A590-625FDDABF764}"/>
              </a:ext>
            </a:extLst>
          </p:cNvPr>
          <p:cNvSpPr/>
          <p:nvPr/>
        </p:nvSpPr>
        <p:spPr>
          <a:xfrm>
            <a:off x="2556000" y="494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28" name="Rechteck 27">
            <a:extLst>
              <a:ext uri="{FF2B5EF4-FFF2-40B4-BE49-F238E27FC236}">
                <a16:creationId xmlns:a16="http://schemas.microsoft.com/office/drawing/2014/main" id="{6CB6B7CA-64B3-421C-A804-49F0145B62C1}"/>
              </a:ext>
            </a:extLst>
          </p:cNvPr>
          <p:cNvSpPr/>
          <p:nvPr/>
        </p:nvSpPr>
        <p:spPr>
          <a:xfrm>
            <a:off x="396000" y="765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cxnSp>
        <p:nvCxnSpPr>
          <p:cNvPr id="29" name="Gerade Verbindung mit Pfeil 28">
            <a:extLst>
              <a:ext uri="{FF2B5EF4-FFF2-40B4-BE49-F238E27FC236}">
                <a16:creationId xmlns:a16="http://schemas.microsoft.com/office/drawing/2014/main" id="{06FCFC51-5879-4F6B-94C7-B31079943250}"/>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82FC837B-7C24-4CE2-95E3-4D3B87F07330}"/>
              </a:ext>
            </a:extLst>
          </p:cNvPr>
          <p:cNvCxnSpPr>
            <a:cxnSpLocks/>
          </p:cNvCxnSpPr>
          <p:nvPr/>
        </p:nvCxnSpPr>
        <p:spPr>
          <a:xfrm>
            <a:off x="684000" y="1197000"/>
            <a:ext cx="0" cy="374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2B89A424-A068-464E-85F2-364440806F24}"/>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D721E8CD-BA13-4A1B-A1A6-A0E736B21248}"/>
              </a:ext>
            </a:extLst>
          </p:cNvPr>
          <p:cNvCxnSpPr>
            <a:cxnSpLocks/>
          </p:cNvCxnSpPr>
          <p:nvPr/>
        </p:nvCxnSpPr>
        <p:spPr>
          <a:xfrm>
            <a:off x="684000" y="335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3E1740EB-B10D-4B81-90F8-06D1653C9FC1}"/>
              </a:ext>
            </a:extLst>
          </p:cNvPr>
          <p:cNvCxnSpPr>
            <a:cxnSpLocks/>
          </p:cNvCxnSpPr>
          <p:nvPr/>
        </p:nvCxnSpPr>
        <p:spPr>
          <a:xfrm>
            <a:off x="684000" y="407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a:extLst>
              <a:ext uri="{FF2B5EF4-FFF2-40B4-BE49-F238E27FC236}">
                <a16:creationId xmlns:a16="http://schemas.microsoft.com/office/drawing/2014/main" id="{E5C7423F-D423-42C4-8355-9CEBD68B537F}"/>
              </a:ext>
            </a:extLst>
          </p:cNvPr>
          <p:cNvCxnSpPr>
            <a:cxnSpLocks/>
          </p:cNvCxnSpPr>
          <p:nvPr/>
        </p:nvCxnSpPr>
        <p:spPr>
          <a:xfrm>
            <a:off x="684000" y="4941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Rechteck 46">
            <a:extLst>
              <a:ext uri="{FF2B5EF4-FFF2-40B4-BE49-F238E27FC236}">
                <a16:creationId xmlns:a16="http://schemas.microsoft.com/office/drawing/2014/main" id="{91511AC0-5CEE-499C-9D86-EB22E19EB4DE}"/>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A variant of procedure calls</a:t>
            </a:r>
          </a:p>
        </p:txBody>
      </p:sp>
      <p:sp>
        <p:nvSpPr>
          <p:cNvPr id="61" name="Rechteck 60">
            <a:extLst>
              <a:ext uri="{FF2B5EF4-FFF2-40B4-BE49-F238E27FC236}">
                <a16:creationId xmlns:a16="http://schemas.microsoft.com/office/drawing/2014/main" id="{40050787-26AA-4C70-942D-4112605B7352}"/>
              </a:ext>
            </a:extLst>
          </p:cNvPr>
          <p:cNvSpPr/>
          <p:nvPr/>
        </p:nvSpPr>
        <p:spPr>
          <a:xfrm>
            <a:off x="5004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281680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Assignments.png</a:t>
            </a:r>
            <a:br>
              <a:rPr lang="en-US" dirty="0"/>
            </a:br>
            <a:endParaRPr lang="en-US" dirty="0"/>
          </a:p>
        </p:txBody>
      </p: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1485000"/>
            <a:ext cx="705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CD6ABD94-E5B6-4FE1-919E-4A756D0BE67A}"/>
              </a:ext>
            </a:extLst>
          </p:cNvPr>
          <p:cNvSpPr/>
          <p:nvPr/>
        </p:nvSpPr>
        <p:spPr>
          <a:xfrm>
            <a:off x="396000" y="76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20" name="Rechteck 19">
            <a:extLst>
              <a:ext uri="{FF2B5EF4-FFF2-40B4-BE49-F238E27FC236}">
                <a16:creationId xmlns:a16="http://schemas.microsoft.com/office/drawing/2014/main" id="{0ACD5D2F-9466-46C2-BE68-FB771B55134F}"/>
              </a:ext>
            </a:extLst>
          </p:cNvPr>
          <p:cNvSpPr/>
          <p:nvPr/>
        </p:nvSpPr>
        <p:spPr>
          <a:xfrm>
            <a:off x="396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LHS Expression</a:t>
            </a:r>
          </a:p>
          <a:p>
            <a:pPr algn="ctr"/>
            <a:r>
              <a:rPr lang="en-US" sz="1200" dirty="0">
                <a:solidFill>
                  <a:schemeClr val="tx1"/>
                </a:solidFill>
              </a:rPr>
              <a:t>(Left-Hand Side)</a:t>
            </a:r>
          </a:p>
        </p:txBody>
      </p:sp>
      <p:sp>
        <p:nvSpPr>
          <p:cNvPr id="21" name="Rechteck 20">
            <a:extLst>
              <a:ext uri="{FF2B5EF4-FFF2-40B4-BE49-F238E27FC236}">
                <a16:creationId xmlns:a16="http://schemas.microsoft.com/office/drawing/2014/main" id="{4A5C35A6-C202-4799-87C1-FEC2A6E6E514}"/>
              </a:ext>
            </a:extLst>
          </p:cNvPr>
          <p:cNvSpPr/>
          <p:nvPr/>
        </p:nvSpPr>
        <p:spPr>
          <a:xfrm>
            <a:off x="2988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 Symbol</a:t>
            </a:r>
          </a:p>
          <a:p>
            <a:pPr algn="ctr"/>
            <a:r>
              <a:rPr lang="en-US" sz="1200" b="1" dirty="0">
                <a:solidFill>
                  <a:schemeClr val="tx1"/>
                </a:solidFill>
              </a:rPr>
              <a:t>or Assignment Operator</a:t>
            </a:r>
          </a:p>
        </p:txBody>
      </p:sp>
      <p:sp>
        <p:nvSpPr>
          <p:cNvPr id="22" name="Rechteck 21">
            <a:extLst>
              <a:ext uri="{FF2B5EF4-FFF2-40B4-BE49-F238E27FC236}">
                <a16:creationId xmlns:a16="http://schemas.microsoft.com/office/drawing/2014/main" id="{6FE43969-344E-4790-ADCE-A2BB49BADBBE}"/>
              </a:ext>
            </a:extLst>
          </p:cNvPr>
          <p:cNvSpPr/>
          <p:nvPr/>
        </p:nvSpPr>
        <p:spPr>
          <a:xfrm>
            <a:off x="5580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RHS Expression</a:t>
            </a:r>
          </a:p>
          <a:p>
            <a:pPr algn="ctr"/>
            <a:r>
              <a:rPr lang="en-US" sz="1200" dirty="0">
                <a:solidFill>
                  <a:schemeClr val="tx1"/>
                </a:solidFill>
              </a:rPr>
              <a:t>(Right-Hand Side)</a:t>
            </a:r>
          </a:p>
        </p:txBody>
      </p:sp>
      <p:cxnSp>
        <p:nvCxnSpPr>
          <p:cNvPr id="23" name="Gerade Verbindung mit Pfeil 22">
            <a:extLst>
              <a:ext uri="{FF2B5EF4-FFF2-40B4-BE49-F238E27FC236}">
                <a16:creationId xmlns:a16="http://schemas.microsoft.com/office/drawing/2014/main" id="{DC3BDD63-8417-4E77-8ABA-29991766C581}"/>
              </a:ext>
            </a:extLst>
          </p:cNvPr>
          <p:cNvCxnSpPr>
            <a:cxnSpLocks/>
          </p:cNvCxnSpPr>
          <p:nvPr/>
        </p:nvCxnSpPr>
        <p:spPr>
          <a:xfrm>
            <a:off x="684000" y="1197000"/>
            <a:ext cx="0" cy="288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08278BCF-5D50-463B-9BFF-7F810B6E2EE0}"/>
              </a:ext>
            </a:extLst>
          </p:cNvPr>
          <p:cNvCxnSpPr>
            <a:cxnSpLocks/>
            <a:endCxn id="21" idx="1"/>
          </p:cNvCxnSpPr>
          <p:nvPr/>
        </p:nvCxnSpPr>
        <p:spPr>
          <a:xfrm>
            <a:off x="2556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195B627C-358A-4EC7-939A-4B00634E1B10}"/>
              </a:ext>
            </a:extLst>
          </p:cNvPr>
          <p:cNvCxnSpPr>
            <a:cxnSpLocks/>
          </p:cNvCxnSpPr>
          <p:nvPr/>
        </p:nvCxnSpPr>
        <p:spPr>
          <a:xfrm>
            <a:off x="5148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226E8BC4-EB97-4613-B3B1-2871B43C7114}"/>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ssignments consist of the following sequence</a:t>
            </a:r>
          </a:p>
        </p:txBody>
      </p:sp>
      <p:sp>
        <p:nvSpPr>
          <p:cNvPr id="34" name="Rechteck 33">
            <a:extLst>
              <a:ext uri="{FF2B5EF4-FFF2-40B4-BE49-F238E27FC236}">
                <a16:creationId xmlns:a16="http://schemas.microsoft.com/office/drawing/2014/main" id="{589D22FF-67D3-4B5B-8976-2F25CC8CFF72}"/>
              </a:ext>
            </a:extLst>
          </p:cNvPr>
          <p:cNvSpPr/>
          <p:nvPr/>
        </p:nvSpPr>
        <p:spPr>
          <a:xfrm>
            <a:off x="396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a</a:t>
            </a:r>
            <a:br>
              <a:rPr lang="en-US" sz="1000" dirty="0">
                <a:solidFill>
                  <a:schemeClr val="tx1"/>
                </a:solidFill>
              </a:rPr>
            </a:br>
            <a:r>
              <a:rPr lang="en-US" sz="1000" dirty="0">
                <a:solidFill>
                  <a:schemeClr val="tx1"/>
                </a:solidFill>
              </a:rPr>
              <a:t>variable or table entry</a:t>
            </a:r>
          </a:p>
        </p:txBody>
      </p:sp>
      <p:sp>
        <p:nvSpPr>
          <p:cNvPr id="36" name="Rechteck 35">
            <a:extLst>
              <a:ext uri="{FF2B5EF4-FFF2-40B4-BE49-F238E27FC236}">
                <a16:creationId xmlns:a16="http://schemas.microsoft.com/office/drawing/2014/main" id="{C2977F68-7F4D-4C9E-8588-62C40CEE4B1D}"/>
              </a:ext>
            </a:extLst>
          </p:cNvPr>
          <p:cNvSpPr/>
          <p:nvPr/>
        </p:nvSpPr>
        <p:spPr>
          <a:xfrm>
            <a:off x="5580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retrieve and/or</a:t>
            </a:r>
          </a:p>
          <a:p>
            <a:r>
              <a:rPr lang="en-US" sz="1000" dirty="0">
                <a:solidFill>
                  <a:schemeClr val="tx1"/>
                </a:solidFill>
              </a:rPr>
              <a:t>calculate a value</a:t>
            </a:r>
          </a:p>
        </p:txBody>
      </p:sp>
      <p:sp>
        <p:nvSpPr>
          <p:cNvPr id="38" name="Rechteck 37">
            <a:extLst>
              <a:ext uri="{FF2B5EF4-FFF2-40B4-BE49-F238E27FC236}">
                <a16:creationId xmlns:a16="http://schemas.microsoft.com/office/drawing/2014/main" id="{D99B0301-6E4C-48BF-ACEE-E17BE828AD2F}"/>
              </a:ext>
            </a:extLst>
          </p:cNvPr>
          <p:cNvSpPr/>
          <p:nvPr/>
        </p:nvSpPr>
        <p:spPr>
          <a:xfrm>
            <a:off x="2988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Simple assignment symbol: </a:t>
            </a:r>
            <a:r>
              <a:rPr lang="en-US" sz="1000" b="1" dirty="0">
                <a:solidFill>
                  <a:srgbClr val="0000FF"/>
                </a:solidFill>
              </a:rPr>
              <a:t>=</a:t>
            </a:r>
          </a:p>
          <a:p>
            <a:r>
              <a:rPr lang="en-US" sz="1000" dirty="0">
                <a:solidFill>
                  <a:schemeClr val="tx1"/>
                </a:solidFill>
              </a:rPr>
              <a:t>or preceded by a binary operator</a:t>
            </a:r>
          </a:p>
        </p:txBody>
      </p:sp>
      <p:sp>
        <p:nvSpPr>
          <p:cNvPr id="40" name="Rechteck 39">
            <a:extLst>
              <a:ext uri="{FF2B5EF4-FFF2-40B4-BE49-F238E27FC236}">
                <a16:creationId xmlns:a16="http://schemas.microsoft.com/office/drawing/2014/main" id="{1931DDB2-070E-41B6-AE42-46B74B1FB6F3}"/>
              </a:ext>
            </a:extLst>
          </p:cNvPr>
          <p:cNvSpPr/>
          <p:nvPr/>
        </p:nvSpPr>
        <p:spPr>
          <a:xfrm>
            <a:off x="396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Simple assignments)</a:t>
            </a:r>
          </a:p>
        </p:txBody>
      </p:sp>
      <p:sp>
        <p:nvSpPr>
          <p:cNvPr id="41" name="Rechteck 40">
            <a:extLst>
              <a:ext uri="{FF2B5EF4-FFF2-40B4-BE49-F238E27FC236}">
                <a16:creationId xmlns:a16="http://schemas.microsoft.com/office/drawing/2014/main" id="{C102D107-AC2C-4A2A-AEB5-E9FCF73ED5E8}"/>
              </a:ext>
            </a:extLst>
          </p:cNvPr>
          <p:cNvSpPr/>
          <p:nvPr/>
        </p:nvSpPr>
        <p:spPr>
          <a:xfrm>
            <a:off x="396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Table 1:First Name,3] = Mike;</a:t>
            </a:r>
          </a:p>
          <a:p>
            <a:r>
              <a:rPr lang="en-US" sz="1000" dirty="0">
                <a:solidFill>
                  <a:schemeClr val="tx1"/>
                </a:solidFill>
                <a:latin typeface="Courier New" panose="02070309020205020404" pitchFamily="49" charset="0"/>
                <a:cs typeface="Courier New" panose="02070309020205020404" pitchFamily="49" charset="0"/>
              </a:rPr>
              <a:t>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3 + a[] * 2; // Assigned: 13</a:t>
            </a:r>
          </a:p>
        </p:txBody>
      </p:sp>
      <p:sp>
        <p:nvSpPr>
          <p:cNvPr id="42" name="Rechteck 41">
            <a:extLst>
              <a:ext uri="{FF2B5EF4-FFF2-40B4-BE49-F238E27FC236}">
                <a16:creationId xmlns:a16="http://schemas.microsoft.com/office/drawing/2014/main" id="{B932074D-067C-43AF-93B1-B237A140835C}"/>
              </a:ext>
            </a:extLst>
          </p:cNvPr>
          <p:cNvSpPr/>
          <p:nvPr/>
        </p:nvSpPr>
        <p:spPr>
          <a:xfrm>
            <a:off x="4068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With assignment operators)</a:t>
            </a:r>
          </a:p>
        </p:txBody>
      </p:sp>
      <p:sp>
        <p:nvSpPr>
          <p:cNvPr id="43" name="Rechteck 42">
            <a:extLst>
              <a:ext uri="{FF2B5EF4-FFF2-40B4-BE49-F238E27FC236}">
                <a16:creationId xmlns:a16="http://schemas.microsoft.com/office/drawing/2014/main" id="{2C58D9B2-1600-472D-9EDB-E447A2895348}"/>
              </a:ext>
            </a:extLst>
          </p:cNvPr>
          <p:cNvSpPr/>
          <p:nvPr/>
        </p:nvSpPr>
        <p:spPr>
          <a:xfrm>
            <a:off x="4068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2; // Same as a[]= a[] - 2; Equals 3.</a:t>
            </a:r>
          </a:p>
          <a:p>
            <a:r>
              <a:rPr lang="en-US" sz="1000" dirty="0">
                <a:solidFill>
                  <a:schemeClr val="tx1"/>
                </a:solidFill>
                <a:latin typeface="Courier New" panose="02070309020205020404" pitchFamily="49" charset="0"/>
                <a:cs typeface="Courier New" panose="02070309020205020404" pitchFamily="49" charset="0"/>
              </a:rPr>
              <a:t>b[] = Hello; 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World";</a:t>
            </a:r>
          </a:p>
        </p:txBody>
      </p:sp>
    </p:spTree>
    <p:extLst>
      <p:ext uri="{BB962C8B-B14F-4D97-AF65-F5344CB8AC3E}">
        <p14:creationId xmlns:p14="http://schemas.microsoft.com/office/powerpoint/2010/main" val="18413912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a:extLst>
              <a:ext uri="{FF2B5EF4-FFF2-40B4-BE49-F238E27FC236}">
                <a16:creationId xmlns:a16="http://schemas.microsoft.com/office/drawing/2014/main" id="{706CEEAD-4E9E-4564-912D-BD0F1A60239B}"/>
              </a:ext>
            </a:extLst>
          </p:cNvPr>
          <p:cNvSpPr/>
          <p:nvPr/>
        </p:nvSpPr>
        <p:spPr>
          <a:xfrm>
            <a:off x="3132000" y="1413000"/>
            <a:ext cx="5184000" cy="26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endParaRPr lang="en-US" sz="1200" b="1" dirty="0">
              <a:solidFill>
                <a:schemeClr val="tx1"/>
              </a:solidFill>
            </a:endParaRPr>
          </a:p>
        </p:txBody>
      </p:sp>
      <p:sp>
        <p:nvSpPr>
          <p:cNvPr id="93" name="Rechteck 92">
            <a:extLst>
              <a:ext uri="{FF2B5EF4-FFF2-40B4-BE49-F238E27FC236}">
                <a16:creationId xmlns:a16="http://schemas.microsoft.com/office/drawing/2014/main" id="{213A46E3-49EA-40D6-B6BB-13C81BA15319}"/>
              </a:ext>
            </a:extLst>
          </p:cNvPr>
          <p:cNvSpPr/>
          <p:nvPr/>
        </p:nvSpPr>
        <p:spPr>
          <a:xfrm>
            <a:off x="7164000" y="3069000"/>
            <a:ext cx="1152000" cy="576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7" name="Rechteck 86">
            <a:extLst>
              <a:ext uri="{FF2B5EF4-FFF2-40B4-BE49-F238E27FC236}">
                <a16:creationId xmlns:a16="http://schemas.microsoft.com/office/drawing/2014/main" id="{64B8A89A-74F0-49B9-BEE5-CB52E549C4E3}"/>
              </a:ext>
            </a:extLst>
          </p:cNvPr>
          <p:cNvSpPr/>
          <p:nvPr/>
        </p:nvSpPr>
        <p:spPr>
          <a:xfrm>
            <a:off x="3708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8" name="Rechteck 87">
            <a:extLst>
              <a:ext uri="{FF2B5EF4-FFF2-40B4-BE49-F238E27FC236}">
                <a16:creationId xmlns:a16="http://schemas.microsoft.com/office/drawing/2014/main" id="{FFAF3EF7-ECB1-4FA8-9FBF-EA2EB52B0995}"/>
              </a:ext>
            </a:extLst>
          </p:cNvPr>
          <p:cNvSpPr/>
          <p:nvPr/>
        </p:nvSpPr>
        <p:spPr>
          <a:xfrm>
            <a:off x="4860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9" name="Rechteck 88">
            <a:extLst>
              <a:ext uri="{FF2B5EF4-FFF2-40B4-BE49-F238E27FC236}">
                <a16:creationId xmlns:a16="http://schemas.microsoft.com/office/drawing/2014/main" id="{BA583704-8B95-4A43-99B4-6BC6B6B316D3}"/>
              </a:ext>
            </a:extLst>
          </p:cNvPr>
          <p:cNvSpPr/>
          <p:nvPr/>
        </p:nvSpPr>
        <p:spPr>
          <a:xfrm>
            <a:off x="3708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0" name="Rechteck 89">
            <a:extLst>
              <a:ext uri="{FF2B5EF4-FFF2-40B4-BE49-F238E27FC236}">
                <a16:creationId xmlns:a16="http://schemas.microsoft.com/office/drawing/2014/main" id="{273001C5-EBBF-4CB2-A520-D98228025B2C}"/>
              </a:ext>
            </a:extLst>
          </p:cNvPr>
          <p:cNvSpPr/>
          <p:nvPr/>
        </p:nvSpPr>
        <p:spPr>
          <a:xfrm>
            <a:off x="4860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1" name="Rechteck 90">
            <a:extLst>
              <a:ext uri="{FF2B5EF4-FFF2-40B4-BE49-F238E27FC236}">
                <a16:creationId xmlns:a16="http://schemas.microsoft.com/office/drawing/2014/main" id="{FE7BAECC-630B-4AD3-A536-0A3BB7554FD6}"/>
              </a:ext>
            </a:extLst>
          </p:cNvPr>
          <p:cNvSpPr/>
          <p:nvPr/>
        </p:nvSpPr>
        <p:spPr>
          <a:xfrm>
            <a:off x="3708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2" name="Rechteck 91">
            <a:extLst>
              <a:ext uri="{FF2B5EF4-FFF2-40B4-BE49-F238E27FC236}">
                <a16:creationId xmlns:a16="http://schemas.microsoft.com/office/drawing/2014/main" id="{3598A97A-FFF7-4401-AF47-428F444A41EA}"/>
              </a:ext>
            </a:extLst>
          </p:cNvPr>
          <p:cNvSpPr/>
          <p:nvPr/>
        </p:nvSpPr>
        <p:spPr>
          <a:xfrm>
            <a:off x="4860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6" name="Rechteck 85">
            <a:extLst>
              <a:ext uri="{FF2B5EF4-FFF2-40B4-BE49-F238E27FC236}">
                <a16:creationId xmlns:a16="http://schemas.microsoft.com/office/drawing/2014/main" id="{84589899-8688-4194-BE28-4C34319E6A01}"/>
              </a:ext>
            </a:extLst>
          </p:cNvPr>
          <p:cNvSpPr/>
          <p:nvPr/>
        </p:nvSpPr>
        <p:spPr>
          <a:xfrm>
            <a:off x="6588000" y="1413000"/>
            <a:ext cx="576000" cy="266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3" name="Rechteck 82">
            <a:extLst>
              <a:ext uri="{FF2B5EF4-FFF2-40B4-BE49-F238E27FC236}">
                <a16:creationId xmlns:a16="http://schemas.microsoft.com/office/drawing/2014/main" id="{5479034C-0BD4-4818-90DB-1C41533DFDE7}"/>
              </a:ext>
            </a:extLst>
          </p:cNvPr>
          <p:cNvSpPr/>
          <p:nvPr/>
        </p:nvSpPr>
        <p:spPr>
          <a:xfrm>
            <a:off x="5436000" y="1701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4" name="Rechteck 83">
            <a:extLst>
              <a:ext uri="{FF2B5EF4-FFF2-40B4-BE49-F238E27FC236}">
                <a16:creationId xmlns:a16="http://schemas.microsoft.com/office/drawing/2014/main" id="{3D26F88C-C519-4826-8307-24E0B1F632EB}"/>
              </a:ext>
            </a:extLst>
          </p:cNvPr>
          <p:cNvSpPr/>
          <p:nvPr/>
        </p:nvSpPr>
        <p:spPr>
          <a:xfrm>
            <a:off x="5436000" y="2493000"/>
            <a:ext cx="576000" cy="432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5" name="Rechteck 84">
            <a:extLst>
              <a:ext uri="{FF2B5EF4-FFF2-40B4-BE49-F238E27FC236}">
                <a16:creationId xmlns:a16="http://schemas.microsoft.com/office/drawing/2014/main" id="{D46D7B0C-CD5C-4B12-B457-028F23892FBF}"/>
              </a:ext>
            </a:extLst>
          </p:cNvPr>
          <p:cNvSpPr/>
          <p:nvPr/>
        </p:nvSpPr>
        <p:spPr>
          <a:xfrm>
            <a:off x="5436000" y="1485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2" name="Rechteck 81">
            <a:extLst>
              <a:ext uri="{FF2B5EF4-FFF2-40B4-BE49-F238E27FC236}">
                <a16:creationId xmlns:a16="http://schemas.microsoft.com/office/drawing/2014/main" id="{12670B64-5DC1-4053-AA72-D2604A2125BF}"/>
              </a:ext>
            </a:extLst>
          </p:cNvPr>
          <p:cNvSpPr/>
          <p:nvPr/>
        </p:nvSpPr>
        <p:spPr>
          <a:xfrm>
            <a:off x="3132000" y="2277000"/>
            <a:ext cx="5184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66" name="Rechteck 65">
            <a:extLst>
              <a:ext uri="{FF2B5EF4-FFF2-40B4-BE49-F238E27FC236}">
                <a16:creationId xmlns:a16="http://schemas.microsoft.com/office/drawing/2014/main" id="{6D1F2D25-ABE1-4818-8B33-231026119194}"/>
              </a:ext>
            </a:extLst>
          </p:cNvPr>
          <p:cNvSpPr/>
          <p:nvPr/>
        </p:nvSpPr>
        <p:spPr>
          <a:xfrm>
            <a:off x="3708000" y="1557000"/>
            <a:ext cx="576000" cy="144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0" name="Rechteck 79">
            <a:extLst>
              <a:ext uri="{FF2B5EF4-FFF2-40B4-BE49-F238E27FC236}">
                <a16:creationId xmlns:a16="http://schemas.microsoft.com/office/drawing/2014/main" id="{2AF1CC50-E014-473B-9166-66BF4F401249}"/>
              </a:ext>
            </a:extLst>
          </p:cNvPr>
          <p:cNvSpPr/>
          <p:nvPr/>
        </p:nvSpPr>
        <p:spPr>
          <a:xfrm>
            <a:off x="3708000" y="2061000"/>
            <a:ext cx="576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1" name="Rechteck 80">
            <a:extLst>
              <a:ext uri="{FF2B5EF4-FFF2-40B4-BE49-F238E27FC236}">
                <a16:creationId xmlns:a16="http://schemas.microsoft.com/office/drawing/2014/main" id="{C25375C8-02A8-403B-86D9-DF185FAB96AC}"/>
              </a:ext>
            </a:extLst>
          </p:cNvPr>
          <p:cNvSpPr/>
          <p:nvPr/>
        </p:nvSpPr>
        <p:spPr>
          <a:xfrm>
            <a:off x="4860000" y="2061000"/>
            <a:ext cx="1152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Tables.png</a:t>
            </a:r>
            <a:br>
              <a:rPr lang="en-US" dirty="0"/>
            </a:br>
            <a:endParaRPr lang="en-US" dirty="0"/>
          </a:p>
        </p:txBody>
      </p:sp>
      <p:sp>
        <p:nvSpPr>
          <p:cNvPr id="24" name="Rechteck 23">
            <a:extLst>
              <a:ext uri="{FF2B5EF4-FFF2-40B4-BE49-F238E27FC236}">
                <a16:creationId xmlns:a16="http://schemas.microsoft.com/office/drawing/2014/main" id="{3ED4B5A5-B74F-409B-B444-4889A1BBB5CD}"/>
              </a:ext>
            </a:extLst>
          </p:cNvPr>
          <p:cNvSpPr/>
          <p:nvPr/>
        </p:nvSpPr>
        <p:spPr>
          <a:xfrm>
            <a:off x="324000" y="1485000"/>
            <a:ext cx="2160000" cy="288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imple Table Access</a:t>
            </a:r>
          </a:p>
        </p:txBody>
      </p:sp>
      <p:sp>
        <p:nvSpPr>
          <p:cNvPr id="27" name="Rechteck 26">
            <a:extLst>
              <a:ext uri="{FF2B5EF4-FFF2-40B4-BE49-F238E27FC236}">
                <a16:creationId xmlns:a16="http://schemas.microsoft.com/office/drawing/2014/main" id="{C845053D-E8BC-4208-87F1-7CFD3E8C9182}"/>
              </a:ext>
            </a:extLst>
          </p:cNvPr>
          <p:cNvSpPr/>
          <p:nvPr/>
        </p:nvSpPr>
        <p:spPr>
          <a:xfrm>
            <a:off x="3132000" y="1125000"/>
            <a:ext cx="5184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200" b="1" dirty="0">
              <a:solidFill>
                <a:schemeClr val="tx1"/>
              </a:solidFill>
            </a:endParaRPr>
          </a:p>
        </p:txBody>
      </p:sp>
      <p:cxnSp>
        <p:nvCxnSpPr>
          <p:cNvPr id="49" name="Gerader Verbinder 48">
            <a:extLst>
              <a:ext uri="{FF2B5EF4-FFF2-40B4-BE49-F238E27FC236}">
                <a16:creationId xmlns:a16="http://schemas.microsoft.com/office/drawing/2014/main" id="{48D66365-D37C-45BC-B23E-71F347D01CAC}"/>
              </a:ext>
            </a:extLst>
          </p:cNvPr>
          <p:cNvCxnSpPr>
            <a:cxnSpLocks/>
          </p:cNvCxnSpPr>
          <p:nvPr/>
        </p:nvCxnSpPr>
        <p:spPr>
          <a:xfrm flipH="1">
            <a:off x="3132000" y="4077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12BC7B7F-E63B-4202-8BD1-D3D2BB179550}"/>
              </a:ext>
            </a:extLst>
          </p:cNvPr>
          <p:cNvCxnSpPr>
            <a:cxnSpLocks/>
          </p:cNvCxnSpPr>
          <p:nvPr/>
        </p:nvCxnSpPr>
        <p:spPr>
          <a:xfrm flipH="1">
            <a:off x="3132000" y="1125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902CA58C-AA75-4D07-838F-11799D28965F}"/>
              </a:ext>
            </a:extLst>
          </p:cNvPr>
          <p:cNvCxnSpPr>
            <a:cxnSpLocks/>
          </p:cNvCxnSpPr>
          <p:nvPr/>
        </p:nvCxnSpPr>
        <p:spPr>
          <a:xfrm flipH="1">
            <a:off x="3132000" y="1413000"/>
            <a:ext cx="5184000"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Rechteck 51">
            <a:extLst>
              <a:ext uri="{FF2B5EF4-FFF2-40B4-BE49-F238E27FC236}">
                <a16:creationId xmlns:a16="http://schemas.microsoft.com/office/drawing/2014/main" id="{203B631C-942B-432D-8B61-B635D8DDA59C}"/>
              </a:ext>
            </a:extLst>
          </p:cNvPr>
          <p:cNvSpPr/>
          <p:nvPr/>
        </p:nvSpPr>
        <p:spPr>
          <a:xfrm>
            <a:off x="2340000" y="1125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Header row</a:t>
            </a:r>
          </a:p>
          <a:p>
            <a:pPr algn="r"/>
            <a:r>
              <a:rPr lang="en-US" sz="1000" dirty="0">
                <a:solidFill>
                  <a:schemeClr val="tx1"/>
                </a:solidFill>
              </a:rPr>
              <a:t>(row 0)</a:t>
            </a:r>
          </a:p>
        </p:txBody>
      </p:sp>
      <p:sp>
        <p:nvSpPr>
          <p:cNvPr id="53" name="Rechteck 52">
            <a:extLst>
              <a:ext uri="{FF2B5EF4-FFF2-40B4-BE49-F238E27FC236}">
                <a16:creationId xmlns:a16="http://schemas.microsoft.com/office/drawing/2014/main" id="{8F312EE4-9DB1-4852-A44F-375C657AF82D}"/>
              </a:ext>
            </a:extLst>
          </p:cNvPr>
          <p:cNvSpPr/>
          <p:nvPr/>
        </p:nvSpPr>
        <p:spPr>
          <a:xfrm>
            <a:off x="3132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lumn 0</a:t>
            </a:r>
          </a:p>
        </p:txBody>
      </p:sp>
      <p:sp>
        <p:nvSpPr>
          <p:cNvPr id="54" name="Rechteck 53">
            <a:extLst>
              <a:ext uri="{FF2B5EF4-FFF2-40B4-BE49-F238E27FC236}">
                <a16:creationId xmlns:a16="http://schemas.microsoft.com/office/drawing/2014/main" id="{ABB56097-DBC1-402E-8CDB-FBFE423B776F}"/>
              </a:ext>
            </a:extLst>
          </p:cNvPr>
          <p:cNvSpPr/>
          <p:nvPr/>
        </p:nvSpPr>
        <p:spPr>
          <a:xfrm>
            <a:off x="3132000" y="112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commended to use this row for header names</a:t>
            </a:r>
          </a:p>
        </p:txBody>
      </p:sp>
      <p:sp>
        <p:nvSpPr>
          <p:cNvPr id="55" name="Rechteck 54">
            <a:extLst>
              <a:ext uri="{FF2B5EF4-FFF2-40B4-BE49-F238E27FC236}">
                <a16:creationId xmlns:a16="http://schemas.microsoft.com/office/drawing/2014/main" id="{6E7D0383-3014-4FA9-BB4E-BF9BA54A5667}"/>
              </a:ext>
            </a:extLst>
          </p:cNvPr>
          <p:cNvSpPr/>
          <p:nvPr/>
        </p:nvSpPr>
        <p:spPr>
          <a:xfrm>
            <a:off x="324000" y="2061000"/>
            <a:ext cx="2160000" cy="288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rizontal Table Access</a:t>
            </a:r>
          </a:p>
        </p:txBody>
      </p:sp>
      <p:sp>
        <p:nvSpPr>
          <p:cNvPr id="56" name="Rechteck 55">
            <a:extLst>
              <a:ext uri="{FF2B5EF4-FFF2-40B4-BE49-F238E27FC236}">
                <a16:creationId xmlns:a16="http://schemas.microsoft.com/office/drawing/2014/main" id="{AC5C75F6-33B2-4EDE-B006-0060F2327EA3}"/>
              </a:ext>
            </a:extLst>
          </p:cNvPr>
          <p:cNvSpPr/>
          <p:nvPr/>
        </p:nvSpPr>
        <p:spPr>
          <a:xfrm>
            <a:off x="324000" y="2637000"/>
            <a:ext cx="2160000" cy="288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ertical Table Access</a:t>
            </a:r>
          </a:p>
        </p:txBody>
      </p:sp>
      <p:sp>
        <p:nvSpPr>
          <p:cNvPr id="57" name="Rechteck 56">
            <a:extLst>
              <a:ext uri="{FF2B5EF4-FFF2-40B4-BE49-F238E27FC236}">
                <a16:creationId xmlns:a16="http://schemas.microsoft.com/office/drawing/2014/main" id="{65E122B7-A6D3-4441-9F85-A0AD6AB86F18}"/>
              </a:ext>
            </a:extLst>
          </p:cNvPr>
          <p:cNvSpPr/>
          <p:nvPr/>
        </p:nvSpPr>
        <p:spPr>
          <a:xfrm>
            <a:off x="324000" y="3213000"/>
            <a:ext cx="2160000" cy="288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rix Table Access</a:t>
            </a:r>
          </a:p>
        </p:txBody>
      </p:sp>
      <p:sp>
        <p:nvSpPr>
          <p:cNvPr id="8" name="Gleichschenkliges Dreieck 7">
            <a:extLst>
              <a:ext uri="{FF2B5EF4-FFF2-40B4-BE49-F238E27FC236}">
                <a16:creationId xmlns:a16="http://schemas.microsoft.com/office/drawing/2014/main" id="{889D2F18-1ED3-4699-B6EB-7D9715CEA0EF}"/>
              </a:ext>
            </a:extLst>
          </p:cNvPr>
          <p:cNvSpPr/>
          <p:nvPr/>
        </p:nvSpPr>
        <p:spPr>
          <a:xfrm rot="5400000">
            <a:off x="2556000" y="1485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Gleichschenkliges Dreieck 57">
            <a:extLst>
              <a:ext uri="{FF2B5EF4-FFF2-40B4-BE49-F238E27FC236}">
                <a16:creationId xmlns:a16="http://schemas.microsoft.com/office/drawing/2014/main" id="{2EE81BD3-0A03-432B-BC28-2BFE9870D85F}"/>
              </a:ext>
            </a:extLst>
          </p:cNvPr>
          <p:cNvSpPr/>
          <p:nvPr/>
        </p:nvSpPr>
        <p:spPr>
          <a:xfrm rot="5400000">
            <a:off x="2556000" y="2061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9" name="Gleichschenkliges Dreieck 58">
            <a:extLst>
              <a:ext uri="{FF2B5EF4-FFF2-40B4-BE49-F238E27FC236}">
                <a16:creationId xmlns:a16="http://schemas.microsoft.com/office/drawing/2014/main" id="{9E832CBF-6367-4A1B-9DE0-9A3AC016E9CA}"/>
              </a:ext>
            </a:extLst>
          </p:cNvPr>
          <p:cNvSpPr/>
          <p:nvPr/>
        </p:nvSpPr>
        <p:spPr>
          <a:xfrm rot="5400000">
            <a:off x="2556000" y="2637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0" name="Gleichschenkliges Dreieck 59">
            <a:extLst>
              <a:ext uri="{FF2B5EF4-FFF2-40B4-BE49-F238E27FC236}">
                <a16:creationId xmlns:a16="http://schemas.microsoft.com/office/drawing/2014/main" id="{283CA7DD-F498-4AF7-8AC2-8951C401642B}"/>
              </a:ext>
            </a:extLst>
          </p:cNvPr>
          <p:cNvSpPr/>
          <p:nvPr/>
        </p:nvSpPr>
        <p:spPr>
          <a:xfrm rot="5400000">
            <a:off x="2556000" y="3213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1" name="Rechteck 60">
            <a:extLst>
              <a:ext uri="{FF2B5EF4-FFF2-40B4-BE49-F238E27FC236}">
                <a16:creationId xmlns:a16="http://schemas.microsoft.com/office/drawing/2014/main" id="{9FBE586E-4B6F-4673-BA29-204C64B2DE17}"/>
              </a:ext>
            </a:extLst>
          </p:cNvPr>
          <p:cNvSpPr/>
          <p:nvPr/>
        </p:nvSpPr>
        <p:spPr>
          <a:xfrm>
            <a:off x="3132000" y="4437000"/>
            <a:ext cx="2160000" cy="432000"/>
          </a:xfrm>
          <a:prstGeom prst="rect">
            <a:avLst/>
          </a:pr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tial Table Specifications</a:t>
            </a:r>
          </a:p>
        </p:txBody>
      </p:sp>
      <p:grpSp>
        <p:nvGrpSpPr>
          <p:cNvPr id="108" name="Gruppieren 107">
            <a:extLst>
              <a:ext uri="{FF2B5EF4-FFF2-40B4-BE49-F238E27FC236}">
                <a16:creationId xmlns:a16="http://schemas.microsoft.com/office/drawing/2014/main" id="{23A4939E-7A11-4DE4-ABA5-4A699BA25ED4}"/>
              </a:ext>
            </a:extLst>
          </p:cNvPr>
          <p:cNvGrpSpPr/>
          <p:nvPr/>
        </p:nvGrpSpPr>
        <p:grpSpPr>
          <a:xfrm>
            <a:off x="3132000" y="1125000"/>
            <a:ext cx="5184000" cy="2952000"/>
            <a:chOff x="3132000" y="1125000"/>
            <a:chExt cx="5184000" cy="2808000"/>
          </a:xfrm>
        </p:grpSpPr>
        <p:cxnSp>
          <p:nvCxnSpPr>
            <p:cNvPr id="4" name="Gerader Verbinder 3">
              <a:extLst>
                <a:ext uri="{FF2B5EF4-FFF2-40B4-BE49-F238E27FC236}">
                  <a16:creationId xmlns:a16="http://schemas.microsoft.com/office/drawing/2014/main" id="{F842D469-7273-4A60-A4B8-5BD7647CADB0}"/>
                </a:ext>
              </a:extLst>
            </p:cNvPr>
            <p:cNvCxnSpPr>
              <a:cxnSpLocks/>
            </p:cNvCxnSpPr>
            <p:nvPr/>
          </p:nvCxnSpPr>
          <p:spPr>
            <a:xfrm>
              <a:off x="313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A4894391-C828-4D75-B11E-96527C1724D4}"/>
                </a:ext>
              </a:extLst>
            </p:cNvPr>
            <p:cNvCxnSpPr>
              <a:cxnSpLocks/>
            </p:cNvCxnSpPr>
            <p:nvPr/>
          </p:nvCxnSpPr>
          <p:spPr>
            <a:xfrm>
              <a:off x="370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35E8535F-64D6-4F95-AED8-8D390630AA4B}"/>
                </a:ext>
              </a:extLst>
            </p:cNvPr>
            <p:cNvCxnSpPr>
              <a:cxnSpLocks/>
            </p:cNvCxnSpPr>
            <p:nvPr/>
          </p:nvCxnSpPr>
          <p:spPr>
            <a:xfrm>
              <a:off x="428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02EA09E3-29FD-4B40-BAB8-14FB177F4597}"/>
                </a:ext>
              </a:extLst>
            </p:cNvPr>
            <p:cNvCxnSpPr>
              <a:cxnSpLocks/>
            </p:cNvCxnSpPr>
            <p:nvPr/>
          </p:nvCxnSpPr>
          <p:spPr>
            <a:xfrm>
              <a:off x="486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6B49EAB6-DBB6-47F2-8C5A-0E730310F041}"/>
                </a:ext>
              </a:extLst>
            </p:cNvPr>
            <p:cNvCxnSpPr>
              <a:cxnSpLocks/>
            </p:cNvCxnSpPr>
            <p:nvPr/>
          </p:nvCxnSpPr>
          <p:spPr>
            <a:xfrm>
              <a:off x="543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71F89E94-DF9E-4448-8D76-C7306D691158}"/>
                </a:ext>
              </a:extLst>
            </p:cNvPr>
            <p:cNvCxnSpPr>
              <a:cxnSpLocks/>
            </p:cNvCxnSpPr>
            <p:nvPr/>
          </p:nvCxnSpPr>
          <p:spPr>
            <a:xfrm>
              <a:off x="601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AC2345D7-453F-48DA-9856-BB628BAE4862}"/>
                </a:ext>
              </a:extLst>
            </p:cNvPr>
            <p:cNvCxnSpPr>
              <a:cxnSpLocks/>
            </p:cNvCxnSpPr>
            <p:nvPr/>
          </p:nvCxnSpPr>
          <p:spPr>
            <a:xfrm>
              <a:off x="658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9441C0AC-0429-4B88-A95F-F3DD8C427E3F}"/>
                </a:ext>
              </a:extLst>
            </p:cNvPr>
            <p:cNvCxnSpPr>
              <a:cxnSpLocks/>
            </p:cNvCxnSpPr>
            <p:nvPr/>
          </p:nvCxnSpPr>
          <p:spPr>
            <a:xfrm>
              <a:off x="716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42DEA55A-A88E-43ED-9C06-D58243AFDD69}"/>
                </a:ext>
              </a:extLst>
            </p:cNvPr>
            <p:cNvCxnSpPr>
              <a:cxnSpLocks/>
            </p:cNvCxnSpPr>
            <p:nvPr/>
          </p:nvCxnSpPr>
          <p:spPr>
            <a:xfrm>
              <a:off x="774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39345581-3111-489E-AF08-1B7C443C9F3D}"/>
                </a:ext>
              </a:extLst>
            </p:cNvPr>
            <p:cNvCxnSpPr>
              <a:cxnSpLocks/>
            </p:cNvCxnSpPr>
            <p:nvPr/>
          </p:nvCxnSpPr>
          <p:spPr>
            <a:xfrm>
              <a:off x="831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94" name="Rechteck 93">
            <a:extLst>
              <a:ext uri="{FF2B5EF4-FFF2-40B4-BE49-F238E27FC236}">
                <a16:creationId xmlns:a16="http://schemas.microsoft.com/office/drawing/2014/main" id="{24082245-76AD-45C5-B1CD-334773C3EE7E}"/>
              </a:ext>
            </a:extLst>
          </p:cNvPr>
          <p:cNvSpPr/>
          <p:nvPr/>
        </p:nvSpPr>
        <p:spPr>
          <a:xfrm>
            <a:off x="324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ad / write one single field</a:t>
            </a:r>
          </a:p>
        </p:txBody>
      </p:sp>
      <p:sp>
        <p:nvSpPr>
          <p:cNvPr id="95" name="Rechteck 94">
            <a:extLst>
              <a:ext uri="{FF2B5EF4-FFF2-40B4-BE49-F238E27FC236}">
                <a16:creationId xmlns:a16="http://schemas.microsoft.com/office/drawing/2014/main" id="{C9DD8028-44B6-4262-B6DF-A3839B907D5C}"/>
              </a:ext>
            </a:extLst>
          </p:cNvPr>
          <p:cNvSpPr/>
          <p:nvPr/>
        </p:nvSpPr>
        <p:spPr>
          <a:xfrm>
            <a:off x="324000" y="234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row, or whole row</a:t>
            </a:r>
          </a:p>
        </p:txBody>
      </p:sp>
      <p:sp>
        <p:nvSpPr>
          <p:cNvPr id="96" name="Rechteck 95">
            <a:extLst>
              <a:ext uri="{FF2B5EF4-FFF2-40B4-BE49-F238E27FC236}">
                <a16:creationId xmlns:a16="http://schemas.microsoft.com/office/drawing/2014/main" id="{59501D39-DC6A-40F2-AC0C-A3E08B8586C6}"/>
              </a:ext>
            </a:extLst>
          </p:cNvPr>
          <p:cNvSpPr/>
          <p:nvPr/>
        </p:nvSpPr>
        <p:spPr>
          <a:xfrm>
            <a:off x="324000" y="2925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column, or whole column</a:t>
            </a:r>
          </a:p>
        </p:txBody>
      </p:sp>
      <p:sp>
        <p:nvSpPr>
          <p:cNvPr id="97" name="Rechteck 96">
            <a:extLst>
              <a:ext uri="{FF2B5EF4-FFF2-40B4-BE49-F238E27FC236}">
                <a16:creationId xmlns:a16="http://schemas.microsoft.com/office/drawing/2014/main" id="{1BA0CAF0-DF6C-4E8A-A477-40E7F0EA5DD2}"/>
              </a:ext>
            </a:extLst>
          </p:cNvPr>
          <p:cNvSpPr/>
          <p:nvPr/>
        </p:nvSpPr>
        <p:spPr>
          <a:xfrm>
            <a:off x="324000" y="350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across the table, or entire table</a:t>
            </a:r>
          </a:p>
        </p:txBody>
      </p:sp>
      <p:sp>
        <p:nvSpPr>
          <p:cNvPr id="98" name="Rechteck 97">
            <a:extLst>
              <a:ext uri="{FF2B5EF4-FFF2-40B4-BE49-F238E27FC236}">
                <a16:creationId xmlns:a16="http://schemas.microsoft.com/office/drawing/2014/main" id="{EF0569DC-8B42-4E32-A322-88A2C67D0C05}"/>
              </a:ext>
            </a:extLst>
          </p:cNvPr>
          <p:cNvSpPr/>
          <p:nvPr/>
        </p:nvSpPr>
        <p:spPr>
          <a:xfrm>
            <a:off x="5364000" y="4221000"/>
            <a:ext cx="216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vides a context to</a:t>
            </a:r>
          </a:p>
          <a:p>
            <a:pPr marL="171450" indent="-171450">
              <a:buFont typeface="Arial" panose="020B0604020202020204" pitchFamily="34" charset="0"/>
              <a:buChar char="•"/>
            </a:pPr>
            <a:r>
              <a:rPr lang="en-US" sz="1000" dirty="0">
                <a:solidFill>
                  <a:schemeClr val="tx1"/>
                </a:solidFill>
              </a:rPr>
              <a:t>a specified table</a:t>
            </a:r>
          </a:p>
          <a:p>
            <a:pPr marL="171450" indent="-171450">
              <a:buFont typeface="Arial" panose="020B0604020202020204" pitchFamily="34" charset="0"/>
              <a:buChar char="•"/>
            </a:pPr>
            <a:r>
              <a:rPr lang="en-US" sz="1000" dirty="0">
                <a:solidFill>
                  <a:schemeClr val="tx1"/>
                </a:solidFill>
              </a:rPr>
              <a:t>a row number</a:t>
            </a:r>
          </a:p>
          <a:p>
            <a:pPr marL="171450" indent="-171450">
              <a:buFont typeface="Arial" panose="020B0604020202020204" pitchFamily="34" charset="0"/>
              <a:buChar char="•"/>
            </a:pPr>
            <a:r>
              <a:rPr lang="en-US" sz="1000" dirty="0">
                <a:solidFill>
                  <a:schemeClr val="tx1"/>
                </a:solidFill>
              </a:rPr>
              <a:t>optionally a column number</a:t>
            </a:r>
          </a:p>
        </p:txBody>
      </p:sp>
      <p:sp>
        <p:nvSpPr>
          <p:cNvPr id="99" name="Rechteck 98">
            <a:extLst>
              <a:ext uri="{FF2B5EF4-FFF2-40B4-BE49-F238E27FC236}">
                <a16:creationId xmlns:a16="http://schemas.microsoft.com/office/drawing/2014/main" id="{20834EA1-5C27-45CE-8593-82B1476477A8}"/>
              </a:ext>
            </a:extLst>
          </p:cNvPr>
          <p:cNvSpPr/>
          <p:nvPr/>
        </p:nvSpPr>
        <p:spPr>
          <a:xfrm>
            <a:off x="3132000" y="465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ifies accessing contents</a:t>
            </a:r>
          </a:p>
        </p:txBody>
      </p:sp>
      <p:sp>
        <p:nvSpPr>
          <p:cNvPr id="100" name="Rechteck 99">
            <a:extLst>
              <a:ext uri="{FF2B5EF4-FFF2-40B4-BE49-F238E27FC236}">
                <a16:creationId xmlns:a16="http://schemas.microsoft.com/office/drawing/2014/main" id="{4543FE51-85C0-4DB1-B928-2096925C9817}"/>
              </a:ext>
            </a:extLst>
          </p:cNvPr>
          <p:cNvSpPr/>
          <p:nvPr/>
        </p:nvSpPr>
        <p:spPr>
          <a:xfrm>
            <a:off x="3132000" y="2637000"/>
            <a:ext cx="5184000" cy="144000"/>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cxnSp>
        <p:nvCxnSpPr>
          <p:cNvPr id="102" name="Gerade Verbindung mit Pfeil 101">
            <a:extLst>
              <a:ext uri="{FF2B5EF4-FFF2-40B4-BE49-F238E27FC236}">
                <a16:creationId xmlns:a16="http://schemas.microsoft.com/office/drawing/2014/main" id="{9790E2B3-7045-4D08-9FC1-D3E037BECFC0}"/>
              </a:ext>
            </a:extLst>
          </p:cNvPr>
          <p:cNvCxnSpPr>
            <a:cxnSpLocks/>
          </p:cNvCxnSpPr>
          <p:nvPr/>
        </p:nvCxnSpPr>
        <p:spPr>
          <a:xfrm flipV="1">
            <a:off x="4572000" y="2781000"/>
            <a:ext cx="0" cy="1656000"/>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569443BF-A519-4247-9C59-73E0C648B534}"/>
              </a:ext>
            </a:extLst>
          </p:cNvPr>
          <p:cNvSpPr/>
          <p:nvPr/>
        </p:nvSpPr>
        <p:spPr>
          <a:xfrm>
            <a:off x="6948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Column (-1)</a:t>
            </a:r>
          </a:p>
        </p:txBody>
      </p:sp>
      <p:sp>
        <p:nvSpPr>
          <p:cNvPr id="107" name="Rechteck 106">
            <a:extLst>
              <a:ext uri="{FF2B5EF4-FFF2-40B4-BE49-F238E27FC236}">
                <a16:creationId xmlns:a16="http://schemas.microsoft.com/office/drawing/2014/main" id="{CB76399E-FA26-4202-AA89-BBF7B05A8091}"/>
              </a:ext>
            </a:extLst>
          </p:cNvPr>
          <p:cNvSpPr/>
          <p:nvPr/>
        </p:nvSpPr>
        <p:spPr>
          <a:xfrm>
            <a:off x="2340000" y="3789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row</a:t>
            </a:r>
          </a:p>
          <a:p>
            <a:pPr algn="r"/>
            <a:r>
              <a:rPr lang="en-US" sz="1000" dirty="0">
                <a:solidFill>
                  <a:schemeClr val="tx1"/>
                </a:solidFill>
              </a:rPr>
              <a:t>(-1)</a:t>
            </a:r>
          </a:p>
        </p:txBody>
      </p:sp>
      <p:sp>
        <p:nvSpPr>
          <p:cNvPr id="111" name="Rechteck 110">
            <a:extLst>
              <a:ext uri="{FF2B5EF4-FFF2-40B4-BE49-F238E27FC236}">
                <a16:creationId xmlns:a16="http://schemas.microsoft.com/office/drawing/2014/main" id="{0E212DA4-1DC8-441E-A4AE-E36E7513D353}"/>
              </a:ext>
            </a:extLst>
          </p:cNvPr>
          <p:cNvSpPr/>
          <p:nvPr/>
        </p:nvSpPr>
        <p:spPr>
          <a:xfrm>
            <a:off x="324000" y="3861000"/>
            <a:ext cx="216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spcBef>
                <a:spcPts val="300"/>
              </a:spcBef>
              <a:spcAft>
                <a:spcPts val="300"/>
              </a:spcAft>
            </a:pPr>
            <a:r>
              <a:rPr lang="en-US" sz="1000" b="1" dirty="0">
                <a:solidFill>
                  <a:schemeClr val="tx1"/>
                </a:solidFill>
              </a:rPr>
              <a:t>All contents are stored as text</a:t>
            </a:r>
          </a:p>
          <a:p>
            <a:pPr marL="92075" indent="-92075">
              <a:spcBef>
                <a:spcPts val="300"/>
              </a:spcBef>
              <a:spcAft>
                <a:spcPts val="300"/>
              </a:spcAft>
              <a:buFont typeface="Arial" panose="020B0604020202020204" pitchFamily="34" charset="0"/>
              <a:buChar char="•"/>
            </a:pPr>
            <a:r>
              <a:rPr lang="en-US" sz="1000" dirty="0">
                <a:solidFill>
                  <a:schemeClr val="tx1"/>
                </a:solidFill>
              </a:rPr>
              <a:t>Automatic conversion to numerals</a:t>
            </a:r>
            <a:br>
              <a:rPr lang="en-US" sz="1000" dirty="0">
                <a:solidFill>
                  <a:schemeClr val="tx1"/>
                </a:solidFill>
              </a:rPr>
            </a:br>
            <a:r>
              <a:rPr lang="en-US" sz="1000" dirty="0">
                <a:solidFill>
                  <a:schemeClr val="tx1"/>
                </a:solidFill>
              </a:rPr>
              <a:t>take place if numbers are accessed.</a:t>
            </a:r>
          </a:p>
          <a:p>
            <a:pPr marL="92075" indent="-92075">
              <a:spcBef>
                <a:spcPts val="300"/>
              </a:spcBef>
              <a:spcAft>
                <a:spcPts val="300"/>
              </a:spcAft>
              <a:buFont typeface="Arial" panose="020B0604020202020204" pitchFamily="34" charset="0"/>
              <a:buChar char="•"/>
            </a:pPr>
            <a:r>
              <a:rPr lang="en-US" sz="1000" dirty="0">
                <a:solidFill>
                  <a:schemeClr val="tx1"/>
                </a:solidFill>
              </a:rPr>
              <a:t>Additional data type conversions</a:t>
            </a:r>
            <a:br>
              <a:rPr lang="en-US" sz="1000" dirty="0">
                <a:solidFill>
                  <a:schemeClr val="tx1"/>
                </a:solidFill>
              </a:rPr>
            </a:br>
            <a:r>
              <a:rPr lang="en-US" sz="1000" dirty="0">
                <a:solidFill>
                  <a:schemeClr val="tx1"/>
                </a:solidFill>
              </a:rPr>
              <a:t>can be activated optionally.</a:t>
            </a:r>
          </a:p>
        </p:txBody>
      </p:sp>
    </p:spTree>
    <p:extLst>
      <p:ext uri="{BB962C8B-B14F-4D97-AF65-F5344CB8AC3E}">
        <p14:creationId xmlns:p14="http://schemas.microsoft.com/office/powerpoint/2010/main" val="4865074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Variables.png</a:t>
            </a:r>
            <a:br>
              <a:rPr lang="en-US" dirty="0"/>
            </a:br>
            <a:endParaRPr lang="en-US" dirty="0"/>
          </a:p>
        </p:txBody>
      </p:sp>
      <p:sp>
        <p:nvSpPr>
          <p:cNvPr id="64" name="Rechteck 63">
            <a:extLst>
              <a:ext uri="{FF2B5EF4-FFF2-40B4-BE49-F238E27FC236}">
                <a16:creationId xmlns:a16="http://schemas.microsoft.com/office/drawing/2014/main" id="{883ABDD0-65A6-435D-8B56-90A80D54F324}"/>
              </a:ext>
            </a:extLst>
          </p:cNvPr>
          <p:cNvSpPr/>
          <p:nvPr/>
        </p:nvSpPr>
        <p:spPr>
          <a:xfrm>
            <a:off x="468000" y="4653000"/>
            <a:ext cx="2160000" cy="216000"/>
          </a:xfrm>
          <a:prstGeom prst="rect">
            <a:avLst/>
          </a:prstGeom>
          <a:solidFill>
            <a:srgbClr val="EAB7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Global Variables</a:t>
            </a:r>
          </a:p>
        </p:txBody>
      </p:sp>
      <p:sp>
        <p:nvSpPr>
          <p:cNvPr id="65" name="Rechteck 64">
            <a:extLst>
              <a:ext uri="{FF2B5EF4-FFF2-40B4-BE49-F238E27FC236}">
                <a16:creationId xmlns:a16="http://schemas.microsoft.com/office/drawing/2014/main" id="{686BDFC6-A2B1-471F-B355-21875EFB72A0}"/>
              </a:ext>
            </a:extLst>
          </p:cNvPr>
          <p:cNvSpPr/>
          <p:nvPr/>
        </p:nvSpPr>
        <p:spPr>
          <a:xfrm>
            <a:off x="468000" y="4941000"/>
            <a:ext cx="2160000" cy="216000"/>
          </a:xfrm>
          <a:prstGeom prst="rect">
            <a:avLst/>
          </a:prstGeom>
          <a:solidFill>
            <a:srgbClr val="EA9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ystem Variables</a:t>
            </a:r>
          </a:p>
        </p:txBody>
      </p:sp>
      <p:sp>
        <p:nvSpPr>
          <p:cNvPr id="67" name="Rechteck 66">
            <a:extLst>
              <a:ext uri="{FF2B5EF4-FFF2-40B4-BE49-F238E27FC236}">
                <a16:creationId xmlns:a16="http://schemas.microsoft.com/office/drawing/2014/main" id="{EBB9BB94-EF9D-43C6-8228-FA2225AD30E9}"/>
              </a:ext>
            </a:extLst>
          </p:cNvPr>
          <p:cNvSpPr/>
          <p:nvPr/>
        </p:nvSpPr>
        <p:spPr>
          <a:xfrm>
            <a:off x="468000" y="4365000"/>
            <a:ext cx="2160000" cy="216000"/>
          </a:xfrm>
          <a:prstGeom prst="rect">
            <a:avLst/>
          </a:prstGeom>
          <a:solidFill>
            <a:srgbClr val="EAD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al Variables</a:t>
            </a:r>
          </a:p>
        </p:txBody>
      </p:sp>
      <p:sp>
        <p:nvSpPr>
          <p:cNvPr id="68" name="Rechteck 67">
            <a:extLst>
              <a:ext uri="{FF2B5EF4-FFF2-40B4-BE49-F238E27FC236}">
                <a16:creationId xmlns:a16="http://schemas.microsoft.com/office/drawing/2014/main" id="{03C826A4-3FA7-4950-92B4-D05D1DDFB73B}"/>
              </a:ext>
            </a:extLst>
          </p:cNvPr>
          <p:cNvSpPr/>
          <p:nvPr/>
        </p:nvSpPr>
        <p:spPr>
          <a:xfrm>
            <a:off x="468000" y="4077000"/>
            <a:ext cx="2160000" cy="216000"/>
          </a:xfrm>
          <a:prstGeom prst="rect">
            <a:avLst/>
          </a:prstGeom>
          <a:solidFill>
            <a:srgbClr val="EAEA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Local Variables</a:t>
            </a:r>
          </a:p>
        </p:txBody>
      </p:sp>
      <p:sp>
        <p:nvSpPr>
          <p:cNvPr id="77" name="Rechteck 76">
            <a:extLst>
              <a:ext uri="{FF2B5EF4-FFF2-40B4-BE49-F238E27FC236}">
                <a16:creationId xmlns:a16="http://schemas.microsoft.com/office/drawing/2014/main" id="{95A38175-2129-4772-8C99-82477AAFEBE9}"/>
              </a:ext>
            </a:extLst>
          </p:cNvPr>
          <p:cNvSpPr/>
          <p:nvPr/>
        </p:nvSpPr>
        <p:spPr>
          <a:xfrm>
            <a:off x="396000" y="371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Scopes</a:t>
            </a:r>
          </a:p>
        </p:txBody>
      </p:sp>
      <p:sp>
        <p:nvSpPr>
          <p:cNvPr id="78" name="Rechteck 77">
            <a:extLst>
              <a:ext uri="{FF2B5EF4-FFF2-40B4-BE49-F238E27FC236}">
                <a16:creationId xmlns:a16="http://schemas.microsoft.com/office/drawing/2014/main" id="{A7B0EDF8-310D-4BB0-B504-21A9ABC4924E}"/>
              </a:ext>
            </a:extLst>
          </p:cNvPr>
          <p:cNvSpPr/>
          <p:nvPr/>
        </p:nvSpPr>
        <p:spPr>
          <a:xfrm>
            <a:off x="46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irst Names</a:t>
            </a:r>
          </a:p>
        </p:txBody>
      </p:sp>
      <p:sp>
        <p:nvSpPr>
          <p:cNvPr id="79" name="Rechteck 78">
            <a:extLst>
              <a:ext uri="{FF2B5EF4-FFF2-40B4-BE49-F238E27FC236}">
                <a16:creationId xmlns:a16="http://schemas.microsoft.com/office/drawing/2014/main" id="{74A6E530-5BB8-4944-AC0B-B84C481734EF}"/>
              </a:ext>
            </a:extLst>
          </p:cNvPr>
          <p:cNvSpPr/>
          <p:nvPr/>
        </p:nvSpPr>
        <p:spPr>
          <a:xfrm>
            <a:off x="82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0</a:t>
            </a:r>
          </a:p>
        </p:txBody>
      </p:sp>
      <p:sp>
        <p:nvSpPr>
          <p:cNvPr id="101" name="Rechteck 100">
            <a:extLst>
              <a:ext uri="{FF2B5EF4-FFF2-40B4-BE49-F238E27FC236}">
                <a16:creationId xmlns:a16="http://schemas.microsoft.com/office/drawing/2014/main" id="{857F6BC8-F97F-4DF2-9710-CCE72C17FD42}"/>
              </a:ext>
            </a:extLst>
          </p:cNvPr>
          <p:cNvSpPr/>
          <p:nvPr/>
        </p:nvSpPr>
        <p:spPr>
          <a:xfrm>
            <a:off x="82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1</a:t>
            </a:r>
          </a:p>
        </p:txBody>
      </p:sp>
      <p:sp>
        <p:nvSpPr>
          <p:cNvPr id="103" name="Rechteck 102">
            <a:extLst>
              <a:ext uri="{FF2B5EF4-FFF2-40B4-BE49-F238E27FC236}">
                <a16:creationId xmlns:a16="http://schemas.microsoft.com/office/drawing/2014/main" id="{79AFE7B5-2FAB-45B7-B996-465ABDB73428}"/>
              </a:ext>
            </a:extLst>
          </p:cNvPr>
          <p:cNvSpPr/>
          <p:nvPr/>
        </p:nvSpPr>
        <p:spPr>
          <a:xfrm>
            <a:off x="82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i="1" dirty="0">
                <a:solidFill>
                  <a:schemeClr val="tx1"/>
                </a:solidFill>
              </a:rPr>
              <a:t>n</a:t>
            </a:r>
          </a:p>
        </p:txBody>
      </p:sp>
      <p:sp>
        <p:nvSpPr>
          <p:cNvPr id="104" name="Rechteck 103">
            <a:extLst>
              <a:ext uri="{FF2B5EF4-FFF2-40B4-BE49-F238E27FC236}">
                <a16:creationId xmlns:a16="http://schemas.microsoft.com/office/drawing/2014/main" id="{FEC42A58-273E-4921-BDBA-B5CB54876BB3}"/>
              </a:ext>
            </a:extLst>
          </p:cNvPr>
          <p:cNvSpPr/>
          <p:nvPr/>
        </p:nvSpPr>
        <p:spPr>
          <a:xfrm>
            <a:off x="46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ast Name</a:t>
            </a:r>
          </a:p>
        </p:txBody>
      </p:sp>
      <p:sp>
        <p:nvSpPr>
          <p:cNvPr id="105" name="Rechteck 104">
            <a:extLst>
              <a:ext uri="{FF2B5EF4-FFF2-40B4-BE49-F238E27FC236}">
                <a16:creationId xmlns:a16="http://schemas.microsoft.com/office/drawing/2014/main" id="{2293924F-1FFC-4CA9-ACDA-5F7EA62908A7}"/>
              </a:ext>
            </a:extLst>
          </p:cNvPr>
          <p:cNvSpPr/>
          <p:nvPr/>
        </p:nvSpPr>
        <p:spPr>
          <a:xfrm>
            <a:off x="46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imple Variables</a:t>
            </a:r>
          </a:p>
        </p:txBody>
      </p:sp>
      <p:sp>
        <p:nvSpPr>
          <p:cNvPr id="109" name="Rechteck 108">
            <a:extLst>
              <a:ext uri="{FF2B5EF4-FFF2-40B4-BE49-F238E27FC236}">
                <a16:creationId xmlns:a16="http://schemas.microsoft.com/office/drawing/2014/main" id="{7013077E-0D0C-4E03-A47C-7727672C9DBA}"/>
              </a:ext>
            </a:extLst>
          </p:cNvPr>
          <p:cNvSpPr/>
          <p:nvPr/>
        </p:nvSpPr>
        <p:spPr>
          <a:xfrm>
            <a:off x="46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rrays</a:t>
            </a:r>
          </a:p>
        </p:txBody>
      </p:sp>
      <p:sp>
        <p:nvSpPr>
          <p:cNvPr id="110" name="Rechteck 109">
            <a:extLst>
              <a:ext uri="{FF2B5EF4-FFF2-40B4-BE49-F238E27FC236}">
                <a16:creationId xmlns:a16="http://schemas.microsoft.com/office/drawing/2014/main" id="{D253F267-7749-4833-85B3-CE312535C694}"/>
              </a:ext>
            </a:extLst>
          </p:cNvPr>
          <p:cNvSpPr/>
          <p:nvPr/>
        </p:nvSpPr>
        <p:spPr>
          <a:xfrm>
            <a:off x="442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bbies</a:t>
            </a:r>
          </a:p>
        </p:txBody>
      </p:sp>
      <p:sp>
        <p:nvSpPr>
          <p:cNvPr id="112" name="Rechteck 111">
            <a:extLst>
              <a:ext uri="{FF2B5EF4-FFF2-40B4-BE49-F238E27FC236}">
                <a16:creationId xmlns:a16="http://schemas.microsoft.com/office/drawing/2014/main" id="{A0C5CA70-B1E2-415B-A1CC-5A05A2FFC509}"/>
              </a:ext>
            </a:extLst>
          </p:cNvPr>
          <p:cNvSpPr/>
          <p:nvPr/>
        </p:nvSpPr>
        <p:spPr>
          <a:xfrm>
            <a:off x="478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lex</a:t>
            </a:r>
          </a:p>
        </p:txBody>
      </p:sp>
      <p:sp>
        <p:nvSpPr>
          <p:cNvPr id="113" name="Rechteck 112">
            <a:extLst>
              <a:ext uri="{FF2B5EF4-FFF2-40B4-BE49-F238E27FC236}">
                <a16:creationId xmlns:a16="http://schemas.microsoft.com/office/drawing/2014/main" id="{7FC65303-C83E-42EB-8AD9-842EEA94121F}"/>
              </a:ext>
            </a:extLst>
          </p:cNvPr>
          <p:cNvSpPr/>
          <p:nvPr/>
        </p:nvSpPr>
        <p:spPr>
          <a:xfrm>
            <a:off x="478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ea</a:t>
            </a:r>
          </a:p>
        </p:txBody>
      </p:sp>
      <p:sp>
        <p:nvSpPr>
          <p:cNvPr id="114" name="Rechteck 113">
            <a:extLst>
              <a:ext uri="{FF2B5EF4-FFF2-40B4-BE49-F238E27FC236}">
                <a16:creationId xmlns:a16="http://schemas.microsoft.com/office/drawing/2014/main" id="{6BD7CA6C-BDAF-4520-9088-EB8D4799AFE1}"/>
              </a:ext>
            </a:extLst>
          </p:cNvPr>
          <p:cNvSpPr/>
          <p:nvPr/>
        </p:nvSpPr>
        <p:spPr>
          <a:xfrm>
            <a:off x="478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oë</a:t>
            </a:r>
          </a:p>
        </p:txBody>
      </p:sp>
      <p:sp>
        <p:nvSpPr>
          <p:cNvPr id="115" name="Rechteck 114">
            <a:extLst>
              <a:ext uri="{FF2B5EF4-FFF2-40B4-BE49-F238E27FC236}">
                <a16:creationId xmlns:a16="http://schemas.microsoft.com/office/drawing/2014/main" id="{07B0E6BF-40BE-4E63-A0B1-48BD47E1A164}"/>
              </a:ext>
            </a:extLst>
          </p:cNvPr>
          <p:cNvSpPr/>
          <p:nvPr/>
        </p:nvSpPr>
        <p:spPr>
          <a:xfrm>
            <a:off x="442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ructures</a:t>
            </a:r>
          </a:p>
        </p:txBody>
      </p:sp>
      <p:sp>
        <p:nvSpPr>
          <p:cNvPr id="116" name="Rechteck 115">
            <a:extLst>
              <a:ext uri="{FF2B5EF4-FFF2-40B4-BE49-F238E27FC236}">
                <a16:creationId xmlns:a16="http://schemas.microsoft.com/office/drawing/2014/main" id="{A789FA78-F0CE-4368-85B8-69C621CE13F6}"/>
              </a:ext>
            </a:extLst>
          </p:cNvPr>
          <p:cNvSpPr/>
          <p:nvPr/>
        </p:nvSpPr>
        <p:spPr>
          <a:xfrm>
            <a:off x="226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7" name="Rechteck 116">
            <a:extLst>
              <a:ext uri="{FF2B5EF4-FFF2-40B4-BE49-F238E27FC236}">
                <a16:creationId xmlns:a16="http://schemas.microsoft.com/office/drawing/2014/main" id="{286446C3-008A-4668-A3A3-1A7CB4A22F42}"/>
              </a:ext>
            </a:extLst>
          </p:cNvPr>
          <p:cNvSpPr/>
          <p:nvPr/>
        </p:nvSpPr>
        <p:spPr>
          <a:xfrm>
            <a:off x="622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8" name="Rechteck 117">
            <a:extLst>
              <a:ext uri="{FF2B5EF4-FFF2-40B4-BE49-F238E27FC236}">
                <a16:creationId xmlns:a16="http://schemas.microsoft.com/office/drawing/2014/main" id="{462EC032-A5A4-46ED-A02C-E59ADEE95410}"/>
              </a:ext>
            </a:extLst>
          </p:cNvPr>
          <p:cNvSpPr/>
          <p:nvPr/>
        </p:nvSpPr>
        <p:spPr>
          <a:xfrm>
            <a:off x="262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Index numbers</a:t>
            </a:r>
          </a:p>
        </p:txBody>
      </p:sp>
      <p:sp>
        <p:nvSpPr>
          <p:cNvPr id="119" name="Rechteck 118">
            <a:extLst>
              <a:ext uri="{FF2B5EF4-FFF2-40B4-BE49-F238E27FC236}">
                <a16:creationId xmlns:a16="http://schemas.microsoft.com/office/drawing/2014/main" id="{0C92636E-79B5-476E-9DFE-4D8F7042E835}"/>
              </a:ext>
            </a:extLst>
          </p:cNvPr>
          <p:cNvSpPr/>
          <p:nvPr/>
        </p:nvSpPr>
        <p:spPr>
          <a:xfrm>
            <a:off x="262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0" name="Rechteck 119">
            <a:extLst>
              <a:ext uri="{FF2B5EF4-FFF2-40B4-BE49-F238E27FC236}">
                <a16:creationId xmlns:a16="http://schemas.microsoft.com/office/drawing/2014/main" id="{0ED89430-8BC4-4BE0-8316-A2A98DEFA25B}"/>
              </a:ext>
            </a:extLst>
          </p:cNvPr>
          <p:cNvSpPr/>
          <p:nvPr/>
        </p:nvSpPr>
        <p:spPr>
          <a:xfrm>
            <a:off x="262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1" name="Rechteck 120">
            <a:extLst>
              <a:ext uri="{FF2B5EF4-FFF2-40B4-BE49-F238E27FC236}">
                <a16:creationId xmlns:a16="http://schemas.microsoft.com/office/drawing/2014/main" id="{03BC9655-F5FD-440E-959D-F56B6B32951D}"/>
              </a:ext>
            </a:extLst>
          </p:cNvPr>
          <p:cNvSpPr/>
          <p:nvPr/>
        </p:nvSpPr>
        <p:spPr>
          <a:xfrm>
            <a:off x="658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Member Name</a:t>
            </a:r>
          </a:p>
        </p:txBody>
      </p:sp>
      <p:sp>
        <p:nvSpPr>
          <p:cNvPr id="124" name="Rechteck 123">
            <a:extLst>
              <a:ext uri="{FF2B5EF4-FFF2-40B4-BE49-F238E27FC236}">
                <a16:creationId xmlns:a16="http://schemas.microsoft.com/office/drawing/2014/main" id="{15F960E5-E2ED-434B-AB5A-3AC5F70F4679}"/>
              </a:ext>
            </a:extLst>
          </p:cNvPr>
          <p:cNvSpPr/>
          <p:nvPr/>
        </p:nvSpPr>
        <p:spPr>
          <a:xfrm>
            <a:off x="658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5" name="Rechteck 124">
            <a:extLst>
              <a:ext uri="{FF2B5EF4-FFF2-40B4-BE49-F238E27FC236}">
                <a16:creationId xmlns:a16="http://schemas.microsoft.com/office/drawing/2014/main" id="{53607AE4-33E1-487E-B5EF-B34F216A59B1}"/>
              </a:ext>
            </a:extLst>
          </p:cNvPr>
          <p:cNvSpPr/>
          <p:nvPr/>
        </p:nvSpPr>
        <p:spPr>
          <a:xfrm>
            <a:off x="658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6" name="Rechteck 125">
            <a:extLst>
              <a:ext uri="{FF2B5EF4-FFF2-40B4-BE49-F238E27FC236}">
                <a16:creationId xmlns:a16="http://schemas.microsoft.com/office/drawing/2014/main" id="{E7AE17C7-355C-4977-B5E5-0A3CB3BF34E3}"/>
              </a:ext>
            </a:extLst>
          </p:cNvPr>
          <p:cNvSpPr/>
          <p:nvPr/>
        </p:nvSpPr>
        <p:spPr>
          <a:xfrm>
            <a:off x="82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7" name="Rechteck 126">
            <a:extLst>
              <a:ext uri="{FF2B5EF4-FFF2-40B4-BE49-F238E27FC236}">
                <a16:creationId xmlns:a16="http://schemas.microsoft.com/office/drawing/2014/main" id="{6FC6AD87-0A94-49DF-9B70-55103B70F884}"/>
              </a:ext>
            </a:extLst>
          </p:cNvPr>
          <p:cNvSpPr/>
          <p:nvPr/>
        </p:nvSpPr>
        <p:spPr>
          <a:xfrm>
            <a:off x="478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8" name="Rechteck 127">
            <a:extLst>
              <a:ext uri="{FF2B5EF4-FFF2-40B4-BE49-F238E27FC236}">
                <a16:creationId xmlns:a16="http://schemas.microsoft.com/office/drawing/2014/main" id="{52AF3196-AF46-479C-AB9C-3CCCC02DF404}"/>
              </a:ext>
            </a:extLst>
          </p:cNvPr>
          <p:cNvSpPr/>
          <p:nvPr/>
        </p:nvSpPr>
        <p:spPr>
          <a:xfrm>
            <a:off x="442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y Accounts</a:t>
            </a:r>
          </a:p>
        </p:txBody>
      </p:sp>
      <p:sp>
        <p:nvSpPr>
          <p:cNvPr id="129" name="Rechteck 128">
            <a:extLst>
              <a:ext uri="{FF2B5EF4-FFF2-40B4-BE49-F238E27FC236}">
                <a16:creationId xmlns:a16="http://schemas.microsoft.com/office/drawing/2014/main" id="{664B5EB9-D1B1-4781-8B9F-DE711926743C}"/>
              </a:ext>
            </a:extLst>
          </p:cNvPr>
          <p:cNvSpPr/>
          <p:nvPr/>
        </p:nvSpPr>
        <p:spPr>
          <a:xfrm>
            <a:off x="442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ero Members Variables</a:t>
            </a:r>
          </a:p>
        </p:txBody>
      </p:sp>
      <p:sp>
        <p:nvSpPr>
          <p:cNvPr id="130" name="Rechteck 129">
            <a:extLst>
              <a:ext uri="{FF2B5EF4-FFF2-40B4-BE49-F238E27FC236}">
                <a16:creationId xmlns:a16="http://schemas.microsoft.com/office/drawing/2014/main" id="{66E235CC-E737-4AF1-AED3-DF9A28195D4D}"/>
              </a:ext>
            </a:extLst>
          </p:cNvPr>
          <p:cNvSpPr/>
          <p:nvPr/>
        </p:nvSpPr>
        <p:spPr>
          <a:xfrm>
            <a:off x="4428000" y="1701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Like simple variables, but associated with 0 members</a:t>
            </a:r>
          </a:p>
        </p:txBody>
      </p:sp>
      <p:sp>
        <p:nvSpPr>
          <p:cNvPr id="131" name="Rechteck 130">
            <a:extLst>
              <a:ext uri="{FF2B5EF4-FFF2-40B4-BE49-F238E27FC236}">
                <a16:creationId xmlns:a16="http://schemas.microsoft.com/office/drawing/2014/main" id="{86674185-551B-4EBF-AD25-791BE31328D9}"/>
              </a:ext>
            </a:extLst>
          </p:cNvPr>
          <p:cNvSpPr/>
          <p:nvPr/>
        </p:nvSpPr>
        <p:spPr>
          <a:xfrm>
            <a:off x="2700000" y="4365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Local variables can be made accessible to further functions called</a:t>
            </a:r>
          </a:p>
        </p:txBody>
      </p:sp>
      <p:sp>
        <p:nvSpPr>
          <p:cNvPr id="132" name="Rechteck 131">
            <a:extLst>
              <a:ext uri="{FF2B5EF4-FFF2-40B4-BE49-F238E27FC236}">
                <a16:creationId xmlns:a16="http://schemas.microsoft.com/office/drawing/2014/main" id="{4F7391EF-7FF2-45F3-A787-211B1402DFEA}"/>
              </a:ext>
            </a:extLst>
          </p:cNvPr>
          <p:cNvSpPr/>
          <p:nvPr/>
        </p:nvSpPr>
        <p:spPr>
          <a:xfrm>
            <a:off x="2700000" y="4077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defined locally in inside user functions and procedures</a:t>
            </a:r>
          </a:p>
        </p:txBody>
      </p:sp>
      <p:sp>
        <p:nvSpPr>
          <p:cNvPr id="133" name="Rechteck 132">
            <a:extLst>
              <a:ext uri="{FF2B5EF4-FFF2-40B4-BE49-F238E27FC236}">
                <a16:creationId xmlns:a16="http://schemas.microsoft.com/office/drawing/2014/main" id="{7500411B-2F12-4268-A9EB-494D30033C31}"/>
              </a:ext>
            </a:extLst>
          </p:cNvPr>
          <p:cNvSpPr/>
          <p:nvPr/>
        </p:nvSpPr>
        <p:spPr>
          <a:xfrm>
            <a:off x="2700000" y="4653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accessible all time from anywhere in the program code</a:t>
            </a:r>
          </a:p>
        </p:txBody>
      </p:sp>
      <p:sp>
        <p:nvSpPr>
          <p:cNvPr id="134" name="Rechteck 133">
            <a:extLst>
              <a:ext uri="{FF2B5EF4-FFF2-40B4-BE49-F238E27FC236}">
                <a16:creationId xmlns:a16="http://schemas.microsoft.com/office/drawing/2014/main" id="{3CDF3E06-5EEC-4DB9-A4C6-586AD58DC7C9}"/>
              </a:ext>
            </a:extLst>
          </p:cNvPr>
          <p:cNvSpPr/>
          <p:nvPr/>
        </p:nvSpPr>
        <p:spPr>
          <a:xfrm>
            <a:off x="2700000" y="4941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Reserved variables, globally accessible.</a:t>
            </a:r>
          </a:p>
        </p:txBody>
      </p:sp>
      <p:sp>
        <p:nvSpPr>
          <p:cNvPr id="135" name="Rechteck 134">
            <a:extLst>
              <a:ext uri="{FF2B5EF4-FFF2-40B4-BE49-F238E27FC236}">
                <a16:creationId xmlns:a16="http://schemas.microsoft.com/office/drawing/2014/main" id="{5FC280AD-1F25-4164-9E1F-205D0794CD27}"/>
              </a:ext>
            </a:extLst>
          </p:cNvPr>
          <p:cNvSpPr/>
          <p:nvPr/>
        </p:nvSpPr>
        <p:spPr>
          <a:xfrm>
            <a:off x="226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6" name="Rechteck 135">
            <a:extLst>
              <a:ext uri="{FF2B5EF4-FFF2-40B4-BE49-F238E27FC236}">
                <a16:creationId xmlns:a16="http://schemas.microsoft.com/office/drawing/2014/main" id="{77551AC2-6B8E-4C0F-8797-CC45560EFF21}"/>
              </a:ext>
            </a:extLst>
          </p:cNvPr>
          <p:cNvSpPr/>
          <p:nvPr/>
        </p:nvSpPr>
        <p:spPr>
          <a:xfrm>
            <a:off x="622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7" name="Rechteck 136">
            <a:extLst>
              <a:ext uri="{FF2B5EF4-FFF2-40B4-BE49-F238E27FC236}">
                <a16:creationId xmlns:a16="http://schemas.microsoft.com/office/drawing/2014/main" id="{1FEB9D5D-B435-47F5-8BAC-4522C256C21E}"/>
              </a:ext>
            </a:extLst>
          </p:cNvPr>
          <p:cNvSpPr/>
          <p:nvPr/>
        </p:nvSpPr>
        <p:spPr>
          <a:xfrm>
            <a:off x="396000" y="83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Forms</a:t>
            </a:r>
          </a:p>
        </p:txBody>
      </p:sp>
      <p:sp>
        <p:nvSpPr>
          <p:cNvPr id="138" name="Rechteck 137">
            <a:extLst>
              <a:ext uri="{FF2B5EF4-FFF2-40B4-BE49-F238E27FC236}">
                <a16:creationId xmlns:a16="http://schemas.microsoft.com/office/drawing/2014/main" id="{AC7B4E1E-5B7B-4BA5-B8F0-7A81C67BC828}"/>
              </a:ext>
            </a:extLst>
          </p:cNvPr>
          <p:cNvSpPr/>
          <p:nvPr/>
        </p:nvSpPr>
        <p:spPr>
          <a:xfrm rot="16200000">
            <a:off x="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39" name="Rechteck 138">
            <a:extLst>
              <a:ext uri="{FF2B5EF4-FFF2-40B4-BE49-F238E27FC236}">
                <a16:creationId xmlns:a16="http://schemas.microsoft.com/office/drawing/2014/main" id="{95ADC085-2DC5-4678-89CA-9818B81AF463}"/>
              </a:ext>
            </a:extLst>
          </p:cNvPr>
          <p:cNvSpPr/>
          <p:nvPr/>
        </p:nvSpPr>
        <p:spPr>
          <a:xfrm rot="16200000">
            <a:off x="403200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40" name="Rechteck 139">
            <a:extLst>
              <a:ext uri="{FF2B5EF4-FFF2-40B4-BE49-F238E27FC236}">
                <a16:creationId xmlns:a16="http://schemas.microsoft.com/office/drawing/2014/main" id="{F61C16DB-80F9-4B61-981D-2B4320A3A0DC}"/>
              </a:ext>
            </a:extLst>
          </p:cNvPr>
          <p:cNvSpPr/>
          <p:nvPr/>
        </p:nvSpPr>
        <p:spPr>
          <a:xfrm>
            <a:off x="442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tection Settings</a:t>
            </a:r>
          </a:p>
        </p:txBody>
      </p:sp>
      <p:sp>
        <p:nvSpPr>
          <p:cNvPr id="141" name="Rechteck 140">
            <a:extLst>
              <a:ext uri="{FF2B5EF4-FFF2-40B4-BE49-F238E27FC236}">
                <a16:creationId xmlns:a16="http://schemas.microsoft.com/office/drawing/2014/main" id="{32BE120D-3045-4462-8DE4-38EAFDB2F6D3}"/>
              </a:ext>
            </a:extLst>
          </p:cNvPr>
          <p:cNvSpPr/>
          <p:nvPr/>
        </p:nvSpPr>
        <p:spPr>
          <a:xfrm>
            <a:off x="46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References to Variables</a:t>
            </a:r>
          </a:p>
        </p:txBody>
      </p:sp>
      <p:sp>
        <p:nvSpPr>
          <p:cNvPr id="3" name="Rechteck 2">
            <a:extLst>
              <a:ext uri="{FF2B5EF4-FFF2-40B4-BE49-F238E27FC236}">
                <a16:creationId xmlns:a16="http://schemas.microsoft.com/office/drawing/2014/main" id="{791B3492-49E5-4EAB-AB2D-4735FA5554D6}"/>
              </a:ext>
            </a:extLst>
          </p:cNvPr>
          <p:cNvSpPr/>
          <p:nvPr/>
        </p:nvSpPr>
        <p:spPr>
          <a:xfrm>
            <a:off x="396000" y="1125000"/>
            <a:ext cx="8208000" cy="24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70DC3E93-A1DB-41B8-BBC5-831CFAC38B7B}"/>
              </a:ext>
            </a:extLst>
          </p:cNvPr>
          <p:cNvSpPr/>
          <p:nvPr/>
        </p:nvSpPr>
        <p:spPr>
          <a:xfrm>
            <a:off x="396000" y="4005000"/>
            <a:ext cx="820800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3" name="Rechteck 142">
            <a:extLst>
              <a:ext uri="{FF2B5EF4-FFF2-40B4-BE49-F238E27FC236}">
                <a16:creationId xmlns:a16="http://schemas.microsoft.com/office/drawing/2014/main" id="{1CB939A9-FD43-4646-B5C4-15FDE88BF907}"/>
              </a:ext>
            </a:extLst>
          </p:cNvPr>
          <p:cNvSpPr/>
          <p:nvPr/>
        </p:nvSpPr>
        <p:spPr>
          <a:xfrm>
            <a:off x="396000" y="5373000"/>
            <a:ext cx="2160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Other Features</a:t>
            </a:r>
          </a:p>
        </p:txBody>
      </p:sp>
      <p:sp>
        <p:nvSpPr>
          <p:cNvPr id="144" name="Rechteck 143">
            <a:extLst>
              <a:ext uri="{FF2B5EF4-FFF2-40B4-BE49-F238E27FC236}">
                <a16:creationId xmlns:a16="http://schemas.microsoft.com/office/drawing/2014/main" id="{941A02E5-EF2F-4475-BF2C-129AEE8B6E62}"/>
              </a:ext>
            </a:extLst>
          </p:cNvPr>
          <p:cNvSpPr/>
          <p:nvPr/>
        </p:nvSpPr>
        <p:spPr>
          <a:xfrm>
            <a:off x="396000" y="5661000"/>
            <a:ext cx="8208000" cy="6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6" name="Rechteck 145">
            <a:extLst>
              <a:ext uri="{FF2B5EF4-FFF2-40B4-BE49-F238E27FC236}">
                <a16:creationId xmlns:a16="http://schemas.microsoft.com/office/drawing/2014/main" id="{90CA9FC4-F5F0-4562-A436-935C389A3F88}"/>
              </a:ext>
            </a:extLst>
          </p:cNvPr>
          <p:cNvSpPr/>
          <p:nvPr/>
        </p:nvSpPr>
        <p:spPr>
          <a:xfrm>
            <a:off x="262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Create simple references</a:t>
            </a:r>
          </a:p>
          <a:p>
            <a:r>
              <a:rPr lang="en-US" sz="1200" dirty="0">
                <a:solidFill>
                  <a:schemeClr val="tx1"/>
                </a:solidFill>
              </a:rPr>
              <a:t>to access existing</a:t>
            </a:r>
          </a:p>
          <a:p>
            <a:r>
              <a:rPr lang="en-US" sz="1200" dirty="0">
                <a:solidFill>
                  <a:schemeClr val="tx1"/>
                </a:solidFill>
              </a:rPr>
              <a:t>variables</a:t>
            </a:r>
          </a:p>
        </p:txBody>
      </p:sp>
      <p:sp>
        <p:nvSpPr>
          <p:cNvPr id="147" name="Rechteck 146">
            <a:extLst>
              <a:ext uri="{FF2B5EF4-FFF2-40B4-BE49-F238E27FC236}">
                <a16:creationId xmlns:a16="http://schemas.microsoft.com/office/drawing/2014/main" id="{5F92431B-D8F5-48B3-BAEF-513C7191DFC2}"/>
              </a:ext>
            </a:extLst>
          </p:cNvPr>
          <p:cNvSpPr/>
          <p:nvPr/>
        </p:nvSpPr>
        <p:spPr>
          <a:xfrm>
            <a:off x="658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pply protection settings</a:t>
            </a:r>
          </a:p>
          <a:p>
            <a:r>
              <a:rPr lang="en-US" sz="1200" dirty="0">
                <a:solidFill>
                  <a:schemeClr val="tx1"/>
                </a:solidFill>
              </a:rPr>
              <a:t>in order to avoid</a:t>
            </a:r>
          </a:p>
          <a:p>
            <a:r>
              <a:rPr lang="en-US" sz="1200" dirty="0">
                <a:solidFill>
                  <a:schemeClr val="tx1"/>
                </a:solidFill>
              </a:rPr>
              <a:t>accidental problems</a:t>
            </a:r>
          </a:p>
        </p:txBody>
      </p:sp>
    </p:spTree>
    <p:extLst>
      <p:ext uri="{BB962C8B-B14F-4D97-AF65-F5344CB8AC3E}">
        <p14:creationId xmlns:p14="http://schemas.microsoft.com/office/powerpoint/2010/main" val="36135401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Gerade Verbindung mit Pfeil 60">
            <a:extLst>
              <a:ext uri="{FF2B5EF4-FFF2-40B4-BE49-F238E27FC236}">
                <a16:creationId xmlns:a16="http://schemas.microsoft.com/office/drawing/2014/main" id="{C430D2CC-2AA6-4E4D-9838-C7CFA7BD9803}"/>
              </a:ext>
            </a:extLst>
          </p:cNvPr>
          <p:cNvCxnSpPr>
            <a:cxnSpLocks/>
          </p:cNvCxnSpPr>
          <p:nvPr/>
        </p:nvCxnSpPr>
        <p:spPr>
          <a:xfrm>
            <a:off x="5220000" y="4005000"/>
            <a:ext cx="136800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AF61FCA3-65F3-40C8-822C-E107E29A282C}"/>
              </a:ext>
            </a:extLst>
          </p:cNvPr>
          <p:cNvCxnSpPr>
            <a:cxnSpLocks/>
          </p:cNvCxnSpPr>
          <p:nvPr/>
        </p:nvCxnSpPr>
        <p:spPr>
          <a:xfrm>
            <a:off x="4716000" y="4005000"/>
            <a:ext cx="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en-US"/>
              <a:t>Functions Overview</a:t>
            </a:r>
            <a:br>
              <a:rPr lang="en-US"/>
            </a:br>
            <a:endParaRPr lang="en-US"/>
          </a:p>
        </p:txBody>
      </p:sp>
      <p:sp>
        <p:nvSpPr>
          <p:cNvPr id="35" name="Rechteck 34">
            <a:extLst>
              <a:ext uri="{FF2B5EF4-FFF2-40B4-BE49-F238E27FC236}">
                <a16:creationId xmlns:a16="http://schemas.microsoft.com/office/drawing/2014/main" id="{E6FD1F8A-1E29-4082-BD8E-B68439FB0EC7}"/>
              </a:ext>
            </a:extLst>
          </p:cNvPr>
          <p:cNvSpPr/>
          <p:nvPr/>
        </p:nvSpPr>
        <p:spPr>
          <a:xfrm>
            <a:off x="972000" y="765000"/>
            <a:ext cx="2160000" cy="432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p:txBody>
      </p:sp>
      <p:sp>
        <p:nvSpPr>
          <p:cNvPr id="37" name="Rechteck 36">
            <a:extLst>
              <a:ext uri="{FF2B5EF4-FFF2-40B4-BE49-F238E27FC236}">
                <a16:creationId xmlns:a16="http://schemas.microsoft.com/office/drawing/2014/main" id="{6E1BCBB0-D175-4259-B26F-C597A81DC306}"/>
              </a:ext>
            </a:extLst>
          </p:cNvPr>
          <p:cNvSpPr/>
          <p:nvPr/>
        </p:nvSpPr>
        <p:spPr>
          <a:xfrm>
            <a:off x="3420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a:t>
            </a:r>
          </a:p>
        </p:txBody>
      </p:sp>
      <p:sp>
        <p:nvSpPr>
          <p:cNvPr id="39" name="Rechteck 38">
            <a:extLst>
              <a:ext uri="{FF2B5EF4-FFF2-40B4-BE49-F238E27FC236}">
                <a16:creationId xmlns:a16="http://schemas.microsoft.com/office/drawing/2014/main" id="{3DE79C33-9C3E-4819-BD35-A6EAA83F0B65}"/>
              </a:ext>
            </a:extLst>
          </p:cNvPr>
          <p:cNvSpPr/>
          <p:nvPr/>
        </p:nvSpPr>
        <p:spPr>
          <a:xfrm>
            <a:off x="5868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a:t>
            </a:r>
          </a:p>
        </p:txBody>
      </p:sp>
      <p:sp>
        <p:nvSpPr>
          <p:cNvPr id="43" name="Rechteck 42">
            <a:extLst>
              <a:ext uri="{FF2B5EF4-FFF2-40B4-BE49-F238E27FC236}">
                <a16:creationId xmlns:a16="http://schemas.microsoft.com/office/drawing/2014/main" id="{9746CE75-FD5E-40C8-929C-8E593A67016C}"/>
              </a:ext>
            </a:extLst>
          </p:cNvPr>
          <p:cNvSpPr/>
          <p:nvPr/>
        </p:nvSpPr>
        <p:spPr>
          <a:xfrm>
            <a:off x="37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Assignments</a:t>
            </a:r>
          </a:p>
        </p:txBody>
      </p:sp>
      <p:sp>
        <p:nvSpPr>
          <p:cNvPr id="45" name="Rechteck 44">
            <a:extLst>
              <a:ext uri="{FF2B5EF4-FFF2-40B4-BE49-F238E27FC236}">
                <a16:creationId xmlns:a16="http://schemas.microsoft.com/office/drawing/2014/main" id="{1001E8B8-A0F6-445F-B5B1-9C80B6D9597F}"/>
              </a:ext>
            </a:extLst>
          </p:cNvPr>
          <p:cNvSpPr/>
          <p:nvPr/>
        </p:nvSpPr>
        <p:spPr>
          <a:xfrm>
            <a:off x="55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andalone</a:t>
            </a:r>
          </a:p>
          <a:p>
            <a:r>
              <a:rPr lang="en-US" sz="1200" b="1" dirty="0">
                <a:solidFill>
                  <a:schemeClr val="tx1"/>
                </a:solidFill>
              </a:rPr>
              <a:t>Ad-Hoc Operations</a:t>
            </a:r>
          </a:p>
        </p:txBody>
      </p:sp>
      <p:sp>
        <p:nvSpPr>
          <p:cNvPr id="46" name="Rechteck 45">
            <a:extLst>
              <a:ext uri="{FF2B5EF4-FFF2-40B4-BE49-F238E27FC236}">
                <a16:creationId xmlns:a16="http://schemas.microsoft.com/office/drawing/2014/main" id="{092E4CD3-7EEF-4BE3-9288-2551EFE145C9}"/>
              </a:ext>
            </a:extLst>
          </p:cNvPr>
          <p:cNvSpPr/>
          <p:nvPr/>
        </p:nvSpPr>
        <p:spPr>
          <a:xfrm>
            <a:off x="7308000" y="1629847"/>
            <a:ext cx="1728000" cy="43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ransactions</a:t>
            </a:r>
          </a:p>
        </p:txBody>
      </p:sp>
      <p:sp>
        <p:nvSpPr>
          <p:cNvPr id="47" name="Rechteck 46">
            <a:extLst>
              <a:ext uri="{FF2B5EF4-FFF2-40B4-BE49-F238E27FC236}">
                <a16:creationId xmlns:a16="http://schemas.microsoft.com/office/drawing/2014/main" id="{B0B8E2A1-27CC-4395-94ED-4E17733B66E8}"/>
              </a:ext>
            </a:extLst>
          </p:cNvPr>
          <p:cNvSpPr/>
          <p:nvPr/>
        </p:nvSpPr>
        <p:spPr>
          <a:xfrm>
            <a:off x="108000" y="1629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cedure Calls</a:t>
            </a:r>
          </a:p>
        </p:txBody>
      </p:sp>
      <p:sp>
        <p:nvSpPr>
          <p:cNvPr id="54" name="Rechteck 53">
            <a:extLst>
              <a:ext uri="{FF2B5EF4-FFF2-40B4-BE49-F238E27FC236}">
                <a16:creationId xmlns:a16="http://schemas.microsoft.com/office/drawing/2014/main" id="{481A2274-F4BB-44ED-A009-B97EC6ED0B43}"/>
              </a:ext>
            </a:extLst>
          </p:cNvPr>
          <p:cNvSpPr/>
          <p:nvPr/>
        </p:nvSpPr>
        <p:spPr>
          <a:xfrm>
            <a:off x="37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Expressions</a:t>
            </a:r>
          </a:p>
        </p:txBody>
      </p:sp>
      <p:sp>
        <p:nvSpPr>
          <p:cNvPr id="99" name="Rechteck 98">
            <a:extLst>
              <a:ext uri="{FF2B5EF4-FFF2-40B4-BE49-F238E27FC236}">
                <a16:creationId xmlns:a16="http://schemas.microsoft.com/office/drawing/2014/main" id="{927F121B-F8B4-4D44-A46D-641D9B714E05}"/>
              </a:ext>
            </a:extLst>
          </p:cNvPr>
          <p:cNvSpPr/>
          <p:nvPr/>
        </p:nvSpPr>
        <p:spPr>
          <a:xfrm>
            <a:off x="1908000" y="1629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low Control</a:t>
            </a:r>
          </a:p>
          <a:p>
            <a:r>
              <a:rPr lang="en-US" sz="1200" b="1" dirty="0">
                <a:solidFill>
                  <a:schemeClr val="tx1"/>
                </a:solidFill>
              </a:rPr>
              <a:t>Procedure Calls</a:t>
            </a:r>
          </a:p>
        </p:txBody>
      </p:sp>
      <p:sp>
        <p:nvSpPr>
          <p:cNvPr id="105" name="Rechteck 104">
            <a:extLst>
              <a:ext uri="{FF2B5EF4-FFF2-40B4-BE49-F238E27FC236}">
                <a16:creationId xmlns:a16="http://schemas.microsoft.com/office/drawing/2014/main" id="{4DF3F716-9AA0-4699-8C65-2A4CB9997650}"/>
              </a:ext>
            </a:extLst>
          </p:cNvPr>
          <p:cNvSpPr/>
          <p:nvPr/>
        </p:nvSpPr>
        <p:spPr>
          <a:xfrm>
            <a:off x="1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sp>
        <p:nvSpPr>
          <p:cNvPr id="113" name="Rechteck 112">
            <a:extLst>
              <a:ext uri="{FF2B5EF4-FFF2-40B4-BE49-F238E27FC236}">
                <a16:creationId xmlns:a16="http://schemas.microsoft.com/office/drawing/2014/main" id="{69E15E5F-9525-4135-821B-6CDE0D1CB24D}"/>
              </a:ext>
            </a:extLst>
          </p:cNvPr>
          <p:cNvSpPr/>
          <p:nvPr/>
        </p:nvSpPr>
        <p:spPr>
          <a:xfrm>
            <a:off x="3420000" y="98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 Statement; … }</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5436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8" name="Rechteck 117">
            <a:extLst>
              <a:ext uri="{FF2B5EF4-FFF2-40B4-BE49-F238E27FC236}">
                <a16:creationId xmlns:a16="http://schemas.microsoft.com/office/drawing/2014/main" id="{3026E471-369F-4FC4-A626-9F4F4AF835F5}"/>
              </a:ext>
            </a:extLst>
          </p:cNvPr>
          <p:cNvSpPr/>
          <p:nvPr/>
        </p:nvSpPr>
        <p:spPr>
          <a:xfrm>
            <a:off x="972000" y="981847"/>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Blocks and Statements</a:t>
            </a:r>
          </a:p>
        </p:txBody>
      </p: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2988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5" name="Gerade Verbindung mit Pfeil 124">
            <a:extLst>
              <a:ext uri="{FF2B5EF4-FFF2-40B4-BE49-F238E27FC236}">
                <a16:creationId xmlns:a16="http://schemas.microsoft.com/office/drawing/2014/main" id="{BC697433-001F-4FF9-8D1D-480698A09F57}"/>
              </a:ext>
            </a:extLst>
          </p:cNvPr>
          <p:cNvCxnSpPr>
            <a:cxnSpLocks/>
          </p:cNvCxnSpPr>
          <p:nvPr/>
        </p:nvCxnSpPr>
        <p:spPr>
          <a:xfrm>
            <a:off x="6660000" y="1197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 Verbindung mit Pfeil 126">
            <a:extLst>
              <a:ext uri="{FF2B5EF4-FFF2-40B4-BE49-F238E27FC236}">
                <a16:creationId xmlns:a16="http://schemas.microsoft.com/office/drawing/2014/main" id="{0DCEEC31-45D2-4933-BB48-F678476B1889}"/>
              </a:ext>
            </a:extLst>
          </p:cNvPr>
          <p:cNvCxnSpPr>
            <a:cxnSpLocks/>
          </p:cNvCxnSpPr>
          <p:nvPr/>
        </p:nvCxnSpPr>
        <p:spPr>
          <a:xfrm>
            <a:off x="972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Gerade Verbindung mit Pfeil 128">
            <a:extLst>
              <a:ext uri="{FF2B5EF4-FFF2-40B4-BE49-F238E27FC236}">
                <a16:creationId xmlns:a16="http://schemas.microsoft.com/office/drawing/2014/main" id="{C75B3B39-4AEA-48D6-81E0-B1358B326DB5}"/>
              </a:ext>
            </a:extLst>
          </p:cNvPr>
          <p:cNvCxnSpPr>
            <a:cxnSpLocks/>
          </p:cNvCxnSpPr>
          <p:nvPr/>
        </p:nvCxnSpPr>
        <p:spPr>
          <a:xfrm flipH="1">
            <a:off x="972000" y="1413847"/>
            <a:ext cx="7128000" cy="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 Verbindung mit Pfeil 131">
            <a:extLst>
              <a:ext uri="{FF2B5EF4-FFF2-40B4-BE49-F238E27FC236}">
                <a16:creationId xmlns:a16="http://schemas.microsoft.com/office/drawing/2014/main" id="{4F4A6C18-B7F9-4A7C-AA45-B0C3B134EAEA}"/>
              </a:ext>
            </a:extLst>
          </p:cNvPr>
          <p:cNvCxnSpPr>
            <a:cxnSpLocks/>
          </p:cNvCxnSpPr>
          <p:nvPr/>
        </p:nvCxnSpPr>
        <p:spPr>
          <a:xfrm>
            <a:off x="27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Gerade Verbindung mit Pfeil 132">
            <a:extLst>
              <a:ext uri="{FF2B5EF4-FFF2-40B4-BE49-F238E27FC236}">
                <a16:creationId xmlns:a16="http://schemas.microsoft.com/office/drawing/2014/main" id="{6FDBC69C-7FF3-499E-9AC2-8DE923A74EAE}"/>
              </a:ext>
            </a:extLst>
          </p:cNvPr>
          <p:cNvCxnSpPr>
            <a:cxnSpLocks/>
          </p:cNvCxnSpPr>
          <p:nvPr/>
        </p:nvCxnSpPr>
        <p:spPr>
          <a:xfrm>
            <a:off x="4428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Gerade Verbindung mit Pfeil 133">
            <a:extLst>
              <a:ext uri="{FF2B5EF4-FFF2-40B4-BE49-F238E27FC236}">
                <a16:creationId xmlns:a16="http://schemas.microsoft.com/office/drawing/2014/main" id="{630AC9E0-0A12-4266-939B-B4B096667E0F}"/>
              </a:ext>
            </a:extLst>
          </p:cNvPr>
          <p:cNvCxnSpPr>
            <a:cxnSpLocks/>
          </p:cNvCxnSpPr>
          <p:nvPr/>
        </p:nvCxnSpPr>
        <p:spPr>
          <a:xfrm>
            <a:off x="6084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Gerade Verbindung mit Pfeil 134">
            <a:extLst>
              <a:ext uri="{FF2B5EF4-FFF2-40B4-BE49-F238E27FC236}">
                <a16:creationId xmlns:a16="http://schemas.microsoft.com/office/drawing/2014/main" id="{D7A90912-280E-4192-849B-F6F1E70B37CF}"/>
              </a:ext>
            </a:extLst>
          </p:cNvPr>
          <p:cNvCxnSpPr>
            <a:cxnSpLocks/>
          </p:cNvCxnSpPr>
          <p:nvPr/>
        </p:nvCxnSpPr>
        <p:spPr>
          <a:xfrm>
            <a:off x="81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55FB7688-9E31-426C-9495-04A457FBABD7}"/>
              </a:ext>
            </a:extLst>
          </p:cNvPr>
          <p:cNvSpPr/>
          <p:nvPr/>
        </p:nvSpPr>
        <p:spPr>
          <a:xfrm>
            <a:off x="1980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g. if, while, for, switch)</a:t>
            </a:r>
          </a:p>
          <a:p>
            <a:r>
              <a:rPr lang="en-US" sz="1000" dirty="0">
                <a:solidFill>
                  <a:schemeClr val="tx1"/>
                </a:solidFill>
              </a:rPr>
              <a:t>Function Name </a:t>
            </a:r>
          </a:p>
          <a:p>
            <a:r>
              <a:rPr lang="en-US" sz="1000" dirty="0">
                <a:solidFill>
                  <a:schemeClr val="tx1"/>
                </a:solidFill>
              </a:rPr>
              <a:t>+ Opt. Function Parameters</a:t>
            </a:r>
          </a:p>
          <a:p>
            <a:r>
              <a:rPr lang="en-US" sz="1000" dirty="0">
                <a:solidFill>
                  <a:schemeClr val="tx1"/>
                </a:solidFill>
              </a:rPr>
              <a:t>+ Statement or Block</a:t>
            </a:r>
          </a:p>
          <a:p>
            <a:r>
              <a:rPr lang="en-US" sz="1000" dirty="0">
                <a:solidFill>
                  <a:schemeClr val="tx1"/>
                </a:solidFill>
              </a:rPr>
              <a:t>+ opt. else </a:t>
            </a:r>
            <a:r>
              <a:rPr lang="en-US" sz="1000" dirty="0" err="1">
                <a:solidFill>
                  <a:schemeClr val="tx1"/>
                </a:solidFill>
              </a:rPr>
              <a:t>Stm’t</a:t>
            </a:r>
            <a:r>
              <a:rPr lang="en-US" sz="1000" dirty="0">
                <a:solidFill>
                  <a:schemeClr val="tx1"/>
                </a:solidFill>
              </a:rPr>
              <a:t> or Block</a:t>
            </a:r>
          </a:p>
        </p:txBody>
      </p:sp>
      <p:sp>
        <p:nvSpPr>
          <p:cNvPr id="140" name="Rechteck 139">
            <a:extLst>
              <a:ext uri="{FF2B5EF4-FFF2-40B4-BE49-F238E27FC236}">
                <a16:creationId xmlns:a16="http://schemas.microsoft.com/office/drawing/2014/main" id="{8AD8071C-3366-4EDD-9325-068A41938395}"/>
              </a:ext>
            </a:extLst>
          </p:cNvPr>
          <p:cNvSpPr/>
          <p:nvPr/>
        </p:nvSpPr>
        <p:spPr>
          <a:xfrm>
            <a:off x="73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Transaction Symbol</a:t>
            </a:r>
          </a:p>
          <a:p>
            <a:r>
              <a:rPr lang="en-US" sz="1000" dirty="0">
                <a:solidFill>
                  <a:schemeClr val="tx1"/>
                </a:solidFill>
              </a:rPr>
              <a:t>+ LH Symbol</a:t>
            </a:r>
          </a:p>
        </p:txBody>
      </p:sp>
      <p:sp>
        <p:nvSpPr>
          <p:cNvPr id="141" name="Rechteck 140">
            <a:extLst>
              <a:ext uri="{FF2B5EF4-FFF2-40B4-BE49-F238E27FC236}">
                <a16:creationId xmlns:a16="http://schemas.microsoft.com/office/drawing/2014/main" id="{C402E5DE-9A39-4EB4-9C01-38DFAE65DEB3}"/>
              </a:ext>
            </a:extLst>
          </p:cNvPr>
          <p:cNvSpPr/>
          <p:nvPr/>
        </p:nvSpPr>
        <p:spPr>
          <a:xfrm>
            <a:off x="55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d Hoc Operator</a:t>
            </a:r>
          </a:p>
          <a:p>
            <a:r>
              <a:rPr lang="en-US" sz="1000" dirty="0">
                <a:solidFill>
                  <a:schemeClr val="tx1"/>
                </a:solidFill>
              </a:rPr>
              <a:t>before or after</a:t>
            </a:r>
          </a:p>
          <a:p>
            <a:r>
              <a:rPr lang="en-US" sz="1000" dirty="0">
                <a:solidFill>
                  <a:schemeClr val="tx1"/>
                </a:solidFill>
              </a:rPr>
              <a:t>LH Expression</a:t>
            </a:r>
          </a:p>
        </p:txBody>
      </p:sp>
      <p:sp>
        <p:nvSpPr>
          <p:cNvPr id="142" name="Rechteck 141">
            <a:extLst>
              <a:ext uri="{FF2B5EF4-FFF2-40B4-BE49-F238E27FC236}">
                <a16:creationId xmlns:a16="http://schemas.microsoft.com/office/drawing/2014/main" id="{EE0E4775-F85F-4A31-B1DF-397622C34EE8}"/>
              </a:ext>
            </a:extLst>
          </p:cNvPr>
          <p:cNvSpPr/>
          <p:nvPr/>
        </p:nvSpPr>
        <p:spPr>
          <a:xfrm>
            <a:off x="37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Assignment Symbol</a:t>
            </a:r>
          </a:p>
          <a:p>
            <a:r>
              <a:rPr lang="en-US" sz="1000" dirty="0">
                <a:solidFill>
                  <a:schemeClr val="tx1"/>
                </a:solidFill>
              </a:rPr>
              <a:t>+ Expression</a:t>
            </a:r>
          </a:p>
        </p:txBody>
      </p:sp>
      <p:sp>
        <p:nvSpPr>
          <p:cNvPr id="143" name="Rechteck 142">
            <a:extLst>
              <a:ext uri="{FF2B5EF4-FFF2-40B4-BE49-F238E27FC236}">
                <a16:creationId xmlns:a16="http://schemas.microsoft.com/office/drawing/2014/main" id="{8411AF6A-9D0F-48E3-821B-BDC20301A245}"/>
              </a:ext>
            </a:extLst>
          </p:cNvPr>
          <p:cNvSpPr/>
          <p:nvPr/>
        </p:nvSpPr>
        <p:spPr>
          <a:xfrm>
            <a:off x="73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H (Left-Hand)</a:t>
            </a:r>
          </a:p>
          <a:p>
            <a:r>
              <a:rPr lang="en-US" sz="1200" b="1" dirty="0">
                <a:solidFill>
                  <a:schemeClr val="tx1"/>
                </a:solidFill>
              </a:rPr>
              <a:t>Expression</a:t>
            </a:r>
          </a:p>
        </p:txBody>
      </p:sp>
      <p:sp>
        <p:nvSpPr>
          <p:cNvPr id="144" name="Rechteck 143">
            <a:extLst>
              <a:ext uri="{FF2B5EF4-FFF2-40B4-BE49-F238E27FC236}">
                <a16:creationId xmlns:a16="http://schemas.microsoft.com/office/drawing/2014/main" id="{B73151BB-F4A6-467E-A640-9461637880B2}"/>
              </a:ext>
            </a:extLst>
          </p:cNvPr>
          <p:cNvSpPr/>
          <p:nvPr/>
        </p:nvSpPr>
        <p:spPr>
          <a:xfrm>
            <a:off x="108000" y="4365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Parameters</a:t>
            </a:r>
          </a:p>
        </p:txBody>
      </p:sp>
      <p:sp>
        <p:nvSpPr>
          <p:cNvPr id="145" name="Rechteck 144">
            <a:extLst>
              <a:ext uri="{FF2B5EF4-FFF2-40B4-BE49-F238E27FC236}">
                <a16:creationId xmlns:a16="http://schemas.microsoft.com/office/drawing/2014/main" id="{F1A6728C-0D0F-437C-9808-6102388D262B}"/>
              </a:ext>
            </a:extLst>
          </p:cNvPr>
          <p:cNvSpPr/>
          <p:nvPr/>
        </p:nvSpPr>
        <p:spPr>
          <a:xfrm>
            <a:off x="108000" y="4797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parentheses, separated by commas</a:t>
            </a:r>
          </a:p>
          <a:p>
            <a:r>
              <a:rPr lang="en-US" sz="1000" dirty="0">
                <a:solidFill>
                  <a:schemeClr val="tx1"/>
                </a:solidFill>
              </a:rPr>
              <a:t>- Expression 	 (Input parameter)</a:t>
            </a:r>
          </a:p>
          <a:p>
            <a:r>
              <a:rPr lang="en-US" sz="1000" dirty="0">
                <a:solidFill>
                  <a:schemeClr val="tx1"/>
                </a:solidFill>
              </a:rPr>
              <a:t>- LH Expression (I/O parameter)</a:t>
            </a:r>
          </a:p>
          <a:p>
            <a:r>
              <a:rPr lang="en-US" sz="1000" dirty="0">
                <a:solidFill>
                  <a:schemeClr val="tx1"/>
                </a:solidFill>
              </a:rPr>
              <a:t>- Code Piece</a:t>
            </a:r>
          </a:p>
        </p:txBody>
      </p:sp>
      <p:sp>
        <p:nvSpPr>
          <p:cNvPr id="146" name="Rechteck 145">
            <a:extLst>
              <a:ext uri="{FF2B5EF4-FFF2-40B4-BE49-F238E27FC236}">
                <a16:creationId xmlns:a16="http://schemas.microsoft.com/office/drawing/2014/main" id="{B99A89BB-6C08-4F63-8928-338BD0FA4906}"/>
              </a:ext>
            </a:extLst>
          </p:cNvPr>
          <p:cNvSpPr/>
          <p:nvPr/>
        </p:nvSpPr>
        <p:spPr>
          <a:xfrm>
            <a:off x="730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Variable *</a:t>
            </a:r>
          </a:p>
          <a:p>
            <a:r>
              <a:rPr lang="en-US" sz="1000" dirty="0">
                <a:solidFill>
                  <a:schemeClr val="tx1"/>
                </a:solidFill>
              </a:rPr>
              <a:t>- Table reference *</a:t>
            </a:r>
          </a:p>
        </p:txBody>
      </p:sp>
      <p:sp>
        <p:nvSpPr>
          <p:cNvPr id="147" name="Rechteck 146">
            <a:extLst>
              <a:ext uri="{FF2B5EF4-FFF2-40B4-BE49-F238E27FC236}">
                <a16:creationId xmlns:a16="http://schemas.microsoft.com/office/drawing/2014/main" id="{70DCD7E0-78AB-482C-BE6F-E13CED6E8807}"/>
              </a:ext>
            </a:extLst>
          </p:cNvPr>
          <p:cNvSpPr/>
          <p:nvPr/>
        </p:nvSpPr>
        <p:spPr>
          <a:xfrm>
            <a:off x="334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Numbers</a:t>
            </a:r>
          </a:p>
          <a:p>
            <a:r>
              <a:rPr lang="en-US" sz="1000" dirty="0">
                <a:solidFill>
                  <a:schemeClr val="tx1"/>
                </a:solidFill>
              </a:rPr>
              <a:t>- Variables *</a:t>
            </a:r>
          </a:p>
          <a:p>
            <a:r>
              <a:rPr lang="en-US" sz="1000" dirty="0">
                <a:solidFill>
                  <a:schemeClr val="tx1"/>
                </a:solidFill>
              </a:rPr>
              <a:t>- Parameter sets</a:t>
            </a:r>
          </a:p>
          <a:p>
            <a:r>
              <a:rPr lang="en-US" sz="1000" dirty="0">
                <a:solidFill>
                  <a:schemeClr val="tx1"/>
                </a:solidFill>
              </a:rPr>
              <a:t>- Calculations and comparisons with operators and parentheses</a:t>
            </a:r>
          </a:p>
        </p:txBody>
      </p:sp>
      <p:sp>
        <p:nvSpPr>
          <p:cNvPr id="148" name="Rechteck 147">
            <a:extLst>
              <a:ext uri="{FF2B5EF4-FFF2-40B4-BE49-F238E27FC236}">
                <a16:creationId xmlns:a16="http://schemas.microsoft.com/office/drawing/2014/main" id="{3DECD778-1762-47B6-ABC2-615C08385F3A}"/>
              </a:ext>
            </a:extLst>
          </p:cNvPr>
          <p:cNvSpPr/>
          <p:nvPr/>
        </p:nvSpPr>
        <p:spPr>
          <a:xfrm>
            <a:off x="5508000" y="4365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s sets</a:t>
            </a:r>
          </a:p>
        </p:txBody>
      </p:sp>
      <p:sp>
        <p:nvSpPr>
          <p:cNvPr id="149" name="Rechteck 148">
            <a:extLst>
              <a:ext uri="{FF2B5EF4-FFF2-40B4-BE49-F238E27FC236}">
                <a16:creationId xmlns:a16="http://schemas.microsoft.com/office/drawing/2014/main" id="{D956C4D5-AA7A-4731-81FA-AD748E2BB761}"/>
              </a:ext>
            </a:extLst>
          </p:cNvPr>
          <p:cNvSpPr/>
          <p:nvPr/>
        </p:nvSpPr>
        <p:spPr>
          <a:xfrm>
            <a:off x="55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braces, separated by commas</a:t>
            </a:r>
          </a:p>
          <a:p>
            <a:r>
              <a:rPr lang="en-US" sz="1000" dirty="0">
                <a:solidFill>
                  <a:schemeClr val="tx1"/>
                </a:solidFill>
              </a:rPr>
              <a:t>- Expression</a:t>
            </a:r>
          </a:p>
        </p:txBody>
      </p:sp>
      <p:sp>
        <p:nvSpPr>
          <p:cNvPr id="150" name="Rechteck 149">
            <a:extLst>
              <a:ext uri="{FF2B5EF4-FFF2-40B4-BE49-F238E27FC236}">
                <a16:creationId xmlns:a16="http://schemas.microsoft.com/office/drawing/2014/main" id="{5998A0C6-2076-4A83-97B6-A83FBD3934F9}"/>
              </a:ext>
            </a:extLst>
          </p:cNvPr>
          <p:cNvSpPr/>
          <p:nvPr/>
        </p:nvSpPr>
        <p:spPr>
          <a:xfrm>
            <a:off x="3708000" y="4365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Call</a:t>
            </a:r>
          </a:p>
        </p:txBody>
      </p:sp>
      <p:sp>
        <p:nvSpPr>
          <p:cNvPr id="151" name="Rechteck 150">
            <a:extLst>
              <a:ext uri="{FF2B5EF4-FFF2-40B4-BE49-F238E27FC236}">
                <a16:creationId xmlns:a16="http://schemas.microsoft.com/office/drawing/2014/main" id="{D56037E5-12FD-4878-BE65-656D81FCA390}"/>
              </a:ext>
            </a:extLst>
          </p:cNvPr>
          <p:cNvSpPr/>
          <p:nvPr/>
        </p:nvSpPr>
        <p:spPr>
          <a:xfrm>
            <a:off x="37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cxnSp>
        <p:nvCxnSpPr>
          <p:cNvPr id="152" name="Gerade Verbindung mit Pfeil 151">
            <a:extLst>
              <a:ext uri="{FF2B5EF4-FFF2-40B4-BE49-F238E27FC236}">
                <a16:creationId xmlns:a16="http://schemas.microsoft.com/office/drawing/2014/main" id="{BEA02FC8-3441-4539-857C-F7D97D5F1FF5}"/>
              </a:ext>
            </a:extLst>
          </p:cNvPr>
          <p:cNvCxnSpPr>
            <a:cxnSpLocks/>
            <a:stCxn id="105" idx="2"/>
          </p:cNvCxnSpPr>
          <p:nvPr/>
        </p:nvCxnSpPr>
        <p:spPr>
          <a:xfrm>
            <a:off x="972000" y="2493847"/>
            <a:ext cx="0" cy="18711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a:extLst>
              <a:ext uri="{FF2B5EF4-FFF2-40B4-BE49-F238E27FC236}">
                <a16:creationId xmlns:a16="http://schemas.microsoft.com/office/drawing/2014/main" id="{08C86592-80E2-4833-AD2E-01CFE9AF5FBA}"/>
              </a:ext>
            </a:extLst>
          </p:cNvPr>
          <p:cNvCxnSpPr>
            <a:cxnSpLocks/>
          </p:cNvCxnSpPr>
          <p:nvPr/>
        </p:nvCxnSpPr>
        <p:spPr>
          <a:xfrm flipH="1">
            <a:off x="1836000" y="4581000"/>
            <a:ext cx="1872000"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6" name="Gerade Verbindung mit Pfeil 155">
            <a:extLst>
              <a:ext uri="{FF2B5EF4-FFF2-40B4-BE49-F238E27FC236}">
                <a16:creationId xmlns:a16="http://schemas.microsoft.com/office/drawing/2014/main" id="{BE5E2061-CEE8-4D61-8B48-B85681B18D44}"/>
              </a:ext>
            </a:extLst>
          </p:cNvPr>
          <p:cNvCxnSpPr>
            <a:cxnSpLocks/>
          </p:cNvCxnSpPr>
          <p:nvPr/>
        </p:nvCxnSpPr>
        <p:spPr>
          <a:xfrm flipH="1">
            <a:off x="972000" y="2997847"/>
            <a:ext cx="1728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8" name="Gerade Verbindung mit Pfeil 157">
            <a:extLst>
              <a:ext uri="{FF2B5EF4-FFF2-40B4-BE49-F238E27FC236}">
                <a16:creationId xmlns:a16="http://schemas.microsoft.com/office/drawing/2014/main" id="{F21BC139-4871-4358-A19E-ED39FBA51B8D}"/>
              </a:ext>
            </a:extLst>
          </p:cNvPr>
          <p:cNvCxnSpPr>
            <a:cxnSpLocks/>
          </p:cNvCxnSpPr>
          <p:nvPr/>
        </p:nvCxnSpPr>
        <p:spPr>
          <a:xfrm>
            <a:off x="8028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3276C4E3-2922-4070-8BA3-0D7330844793}"/>
              </a:ext>
            </a:extLst>
          </p:cNvPr>
          <p:cNvCxnSpPr>
            <a:cxnSpLocks/>
          </p:cNvCxnSpPr>
          <p:nvPr/>
        </p:nvCxnSpPr>
        <p:spPr>
          <a:xfrm>
            <a:off x="6876000" y="2565847"/>
            <a:ext cx="79200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5" name="Gerade Verbindung mit Pfeil 164">
            <a:extLst>
              <a:ext uri="{FF2B5EF4-FFF2-40B4-BE49-F238E27FC236}">
                <a16:creationId xmlns:a16="http://schemas.microsoft.com/office/drawing/2014/main" id="{BDD84929-517E-446E-A428-F6CDBF6B5344}"/>
              </a:ext>
            </a:extLst>
          </p:cNvPr>
          <p:cNvCxnSpPr>
            <a:cxnSpLocks/>
          </p:cNvCxnSpPr>
          <p:nvPr/>
        </p:nvCxnSpPr>
        <p:spPr>
          <a:xfrm>
            <a:off x="4572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8" name="Rechteck 167">
            <a:extLst>
              <a:ext uri="{FF2B5EF4-FFF2-40B4-BE49-F238E27FC236}">
                <a16:creationId xmlns:a16="http://schemas.microsoft.com/office/drawing/2014/main" id="{D85A19BC-6541-4A5F-8D1F-41C9CD79B326}"/>
              </a:ext>
            </a:extLst>
          </p:cNvPr>
          <p:cNvSpPr/>
          <p:nvPr/>
        </p:nvSpPr>
        <p:spPr>
          <a:xfrm>
            <a:off x="4932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ext, Boolean true, false</a:t>
            </a:r>
          </a:p>
          <a:p>
            <a:r>
              <a:rPr lang="en-US" sz="1000" dirty="0">
                <a:solidFill>
                  <a:schemeClr val="tx1"/>
                </a:solidFill>
              </a:rPr>
              <a:t>- Table references *</a:t>
            </a:r>
          </a:p>
          <a:p>
            <a:r>
              <a:rPr lang="en-US" sz="1000" dirty="0">
                <a:solidFill>
                  <a:schemeClr val="tx1"/>
                </a:solidFill>
              </a:rPr>
              <a:t>- Function calls</a:t>
            </a:r>
          </a:p>
        </p:txBody>
      </p:sp>
      <p:cxnSp>
        <p:nvCxnSpPr>
          <p:cNvPr id="169" name="Gerade Verbindung mit Pfeil 168">
            <a:extLst>
              <a:ext uri="{FF2B5EF4-FFF2-40B4-BE49-F238E27FC236}">
                <a16:creationId xmlns:a16="http://schemas.microsoft.com/office/drawing/2014/main" id="{2EF7A6D4-5BC6-46C3-922B-155F954DD878}"/>
              </a:ext>
            </a:extLst>
          </p:cNvPr>
          <p:cNvCxnSpPr>
            <a:cxnSpLocks/>
          </p:cNvCxnSpPr>
          <p:nvPr/>
        </p:nvCxnSpPr>
        <p:spPr>
          <a:xfrm>
            <a:off x="4572000" y="4005847"/>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C577E9DB-630A-43F4-A69C-E9F525B66CA8}"/>
              </a:ext>
            </a:extLst>
          </p:cNvPr>
          <p:cNvCxnSpPr>
            <a:cxnSpLocks/>
          </p:cNvCxnSpPr>
          <p:nvPr/>
        </p:nvCxnSpPr>
        <p:spPr>
          <a:xfrm>
            <a:off x="2700000" y="2781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9" name="Rechteck 178">
            <a:extLst>
              <a:ext uri="{FF2B5EF4-FFF2-40B4-BE49-F238E27FC236}">
                <a16:creationId xmlns:a16="http://schemas.microsoft.com/office/drawing/2014/main" id="{38AF722D-27F3-4D5F-B4E0-D6786BD9D459}"/>
              </a:ext>
            </a:extLst>
          </p:cNvPr>
          <p:cNvSpPr/>
          <p:nvPr/>
        </p:nvSpPr>
        <p:spPr>
          <a:xfrm>
            <a:off x="396000" y="6642000"/>
            <a:ext cx="309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Ad-hoc operators are allowed on tables and variables</a:t>
            </a:r>
          </a:p>
        </p:txBody>
      </p:sp>
      <p:sp>
        <p:nvSpPr>
          <p:cNvPr id="180" name="Rechteck 179">
            <a:extLst>
              <a:ext uri="{FF2B5EF4-FFF2-40B4-BE49-F238E27FC236}">
                <a16:creationId xmlns:a16="http://schemas.microsoft.com/office/drawing/2014/main" id="{E43B945B-A893-423A-9B7D-2E5BD82266D4}"/>
              </a:ext>
            </a:extLst>
          </p:cNvPr>
          <p:cNvSpPr/>
          <p:nvPr/>
        </p:nvSpPr>
        <p:spPr>
          <a:xfrm>
            <a:off x="108000" y="5733000"/>
            <a:ext cx="1728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de Piece </a:t>
            </a:r>
            <a:r>
              <a:rPr lang="en-US" sz="1000" dirty="0">
                <a:solidFill>
                  <a:schemeClr val="tx1"/>
                </a:solidFill>
              </a:rPr>
              <a:t>(supplied</a:t>
            </a:r>
          </a:p>
          <a:p>
            <a:r>
              <a:rPr lang="en-US" sz="1000" dirty="0">
                <a:solidFill>
                  <a:schemeClr val="tx1"/>
                </a:solidFill>
              </a:rPr>
              <a:t>as function parameter)</a:t>
            </a:r>
          </a:p>
        </p:txBody>
      </p:sp>
      <p:sp>
        <p:nvSpPr>
          <p:cNvPr id="181" name="Rechteck 180">
            <a:extLst>
              <a:ext uri="{FF2B5EF4-FFF2-40B4-BE49-F238E27FC236}">
                <a16:creationId xmlns:a16="http://schemas.microsoft.com/office/drawing/2014/main" id="{910DEE03-A1B8-4295-B1D4-6154C7D14CB2}"/>
              </a:ext>
            </a:extLst>
          </p:cNvPr>
          <p:cNvSpPr/>
          <p:nvPr/>
        </p:nvSpPr>
        <p:spPr>
          <a:xfrm>
            <a:off x="1836000" y="5661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Comparison</a:t>
            </a:r>
          </a:p>
          <a:p>
            <a:r>
              <a:rPr lang="en-US" sz="1000" dirty="0">
                <a:solidFill>
                  <a:schemeClr val="tx1"/>
                </a:solidFill>
              </a:rPr>
              <a:t>- Expression</a:t>
            </a:r>
          </a:p>
          <a:p>
            <a:r>
              <a:rPr lang="en-US" sz="1000" dirty="0">
                <a:solidFill>
                  <a:schemeClr val="tx1"/>
                </a:solidFill>
              </a:rPr>
              <a:t>- LH Expression</a:t>
            </a:r>
          </a:p>
          <a:p>
            <a:r>
              <a:rPr lang="en-US" sz="1000" dirty="0">
                <a:solidFill>
                  <a:schemeClr val="tx1"/>
                </a:solidFill>
              </a:rPr>
              <a:t>- Statement o Block</a:t>
            </a:r>
          </a:p>
        </p:txBody>
      </p:sp>
      <p:cxnSp>
        <p:nvCxnSpPr>
          <p:cNvPr id="185" name="Gerade Verbindung mit Pfeil 184">
            <a:extLst>
              <a:ext uri="{FF2B5EF4-FFF2-40B4-BE49-F238E27FC236}">
                <a16:creationId xmlns:a16="http://schemas.microsoft.com/office/drawing/2014/main" id="{64A962DC-8323-4AC9-95A4-4A33DE234132}"/>
              </a:ext>
            </a:extLst>
          </p:cNvPr>
          <p:cNvCxnSpPr>
            <a:cxnSpLocks/>
          </p:cNvCxnSpPr>
          <p:nvPr/>
        </p:nvCxnSpPr>
        <p:spPr>
          <a:xfrm>
            <a:off x="4932000" y="2493847"/>
            <a:ext cx="237600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1" name="Gerade Verbindung mit Pfeil 190">
            <a:extLst>
              <a:ext uri="{FF2B5EF4-FFF2-40B4-BE49-F238E27FC236}">
                <a16:creationId xmlns:a16="http://schemas.microsoft.com/office/drawing/2014/main" id="{E4EB1583-7CE0-4BDB-925A-E28DB063FA2A}"/>
              </a:ext>
            </a:extLst>
          </p:cNvPr>
          <p:cNvCxnSpPr>
            <a:cxnSpLocks/>
          </p:cNvCxnSpPr>
          <p:nvPr/>
        </p:nvCxnSpPr>
        <p:spPr>
          <a:xfrm>
            <a:off x="5364000" y="4005847"/>
            <a:ext cx="1008000" cy="351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7" name="Gerade Verbindung mit Pfeil 196">
            <a:extLst>
              <a:ext uri="{FF2B5EF4-FFF2-40B4-BE49-F238E27FC236}">
                <a16:creationId xmlns:a16="http://schemas.microsoft.com/office/drawing/2014/main" id="{98F933B7-C865-4BE4-8353-B74A62EA369E}"/>
              </a:ext>
            </a:extLst>
          </p:cNvPr>
          <p:cNvCxnSpPr>
            <a:cxnSpLocks/>
          </p:cNvCxnSpPr>
          <p:nvPr/>
        </p:nvCxnSpPr>
        <p:spPr>
          <a:xfrm>
            <a:off x="1548000" y="3141000"/>
            <a:ext cx="2160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3" name="Gerade Verbindung mit Pfeil 202">
            <a:extLst>
              <a:ext uri="{FF2B5EF4-FFF2-40B4-BE49-F238E27FC236}">
                <a16:creationId xmlns:a16="http://schemas.microsoft.com/office/drawing/2014/main" id="{55D7DB27-69AA-4407-AA7E-D4B7F7E1E04F}"/>
              </a:ext>
            </a:extLst>
          </p:cNvPr>
          <p:cNvCxnSpPr>
            <a:cxnSpLocks/>
          </p:cNvCxnSpPr>
          <p:nvPr/>
        </p:nvCxnSpPr>
        <p:spPr>
          <a:xfrm>
            <a:off x="1548000" y="3141000"/>
            <a:ext cx="0" cy="122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7" name="Gerade Verbindung mit Pfeil 206">
            <a:extLst>
              <a:ext uri="{FF2B5EF4-FFF2-40B4-BE49-F238E27FC236}">
                <a16:creationId xmlns:a16="http://schemas.microsoft.com/office/drawing/2014/main" id="{253D21A1-7E4B-49C2-AD35-8F2B46E3E1DF}"/>
              </a:ext>
            </a:extLst>
          </p:cNvPr>
          <p:cNvCxnSpPr>
            <a:cxnSpLocks/>
          </p:cNvCxnSpPr>
          <p:nvPr/>
        </p:nvCxnSpPr>
        <p:spPr>
          <a:xfrm>
            <a:off x="4572000" y="256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8" name="Gerade Verbindung mit Pfeil 207">
            <a:extLst>
              <a:ext uri="{FF2B5EF4-FFF2-40B4-BE49-F238E27FC236}">
                <a16:creationId xmlns:a16="http://schemas.microsoft.com/office/drawing/2014/main" id="{83495546-1FA7-4E39-B7E0-51E9A4997CFA}"/>
              </a:ext>
            </a:extLst>
          </p:cNvPr>
          <p:cNvCxnSpPr>
            <a:cxnSpLocks/>
          </p:cNvCxnSpPr>
          <p:nvPr/>
        </p:nvCxnSpPr>
        <p:spPr>
          <a:xfrm>
            <a:off x="972000" y="544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0" name="Rechteck 209">
            <a:extLst>
              <a:ext uri="{FF2B5EF4-FFF2-40B4-BE49-F238E27FC236}">
                <a16:creationId xmlns:a16="http://schemas.microsoft.com/office/drawing/2014/main" id="{E1515105-8407-4EC9-8127-25E693F040F6}"/>
              </a:ext>
            </a:extLst>
          </p:cNvPr>
          <p:cNvSpPr/>
          <p:nvPr/>
        </p:nvSpPr>
        <p:spPr>
          <a:xfrm>
            <a:off x="3708000" y="5733000"/>
            <a:ext cx="1728000" cy="432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a:t>
            </a:r>
          </a:p>
        </p:txBody>
      </p:sp>
      <p:sp>
        <p:nvSpPr>
          <p:cNvPr id="211" name="Rechteck 210">
            <a:extLst>
              <a:ext uri="{FF2B5EF4-FFF2-40B4-BE49-F238E27FC236}">
                <a16:creationId xmlns:a16="http://schemas.microsoft.com/office/drawing/2014/main" id="{58ADEFC7-FBB4-4B76-B281-6ADA90308C4F}"/>
              </a:ext>
            </a:extLst>
          </p:cNvPr>
          <p:cNvSpPr/>
          <p:nvPr/>
        </p:nvSpPr>
        <p:spPr>
          <a:xfrm>
            <a:off x="5796000" y="5733000"/>
            <a:ext cx="1728000" cy="432000"/>
          </a:xfrm>
          <a:prstGeom prst="rect">
            <a:avLst/>
          </a:prstGeom>
          <a:solidFill>
            <a:srgbClr val="99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References</a:t>
            </a:r>
          </a:p>
        </p:txBody>
      </p:sp>
      <p:sp>
        <p:nvSpPr>
          <p:cNvPr id="212" name="Rechteck 211">
            <a:extLst>
              <a:ext uri="{FF2B5EF4-FFF2-40B4-BE49-F238E27FC236}">
                <a16:creationId xmlns:a16="http://schemas.microsoft.com/office/drawing/2014/main" id="{D097D94D-08E5-4308-AED2-B01F44B94A69}"/>
              </a:ext>
            </a:extLst>
          </p:cNvPr>
          <p:cNvSpPr/>
          <p:nvPr/>
        </p:nvSpPr>
        <p:spPr>
          <a:xfrm>
            <a:off x="3708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Var. Name [ ]</a:t>
            </a:r>
          </a:p>
          <a:p>
            <a:r>
              <a:rPr lang="en-US" sz="1000" dirty="0">
                <a:solidFill>
                  <a:schemeClr val="tx1"/>
                </a:solidFill>
              </a:rPr>
              <a:t>Var. Name [ Member Name, … ]</a:t>
            </a:r>
          </a:p>
          <a:p>
            <a:r>
              <a:rPr lang="en-US" sz="1000" dirty="0">
                <a:solidFill>
                  <a:schemeClr val="tx1"/>
                </a:solidFill>
              </a:rPr>
              <a:t>Var. Name [ Array Index, … ]</a:t>
            </a:r>
          </a:p>
        </p:txBody>
      </p:sp>
      <p:sp>
        <p:nvSpPr>
          <p:cNvPr id="213" name="Rechteck 212">
            <a:extLst>
              <a:ext uri="{FF2B5EF4-FFF2-40B4-BE49-F238E27FC236}">
                <a16:creationId xmlns:a16="http://schemas.microsoft.com/office/drawing/2014/main" id="{A027EED1-3F42-4882-8342-7E4CFF3BBB24}"/>
              </a:ext>
            </a:extLst>
          </p:cNvPr>
          <p:cNvSpPr/>
          <p:nvPr/>
        </p:nvSpPr>
        <p:spPr>
          <a:xfrm>
            <a:off x="5796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able Name: Column, Row ]</a:t>
            </a:r>
          </a:p>
          <a:p>
            <a:r>
              <a:rPr lang="en-US" sz="1000" dirty="0">
                <a:solidFill>
                  <a:schemeClr val="tx1"/>
                </a:solidFill>
              </a:rPr>
              <a:t>Various forms of table references exist</a:t>
            </a:r>
          </a:p>
        </p:txBody>
      </p:sp>
    </p:spTree>
    <p:extLst>
      <p:ext uri="{BB962C8B-B14F-4D97-AF65-F5344CB8AC3E}">
        <p14:creationId xmlns:p14="http://schemas.microsoft.com/office/powerpoint/2010/main" val="21827785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Variable Model</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612000" y="1269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828000" y="1485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1044000" y="170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1044000" y="191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1044000" y="263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1476000" y="213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1044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828000" y="285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1044000" y="2132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1044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1" name="Rechteck 70">
            <a:extLst>
              <a:ext uri="{FF2B5EF4-FFF2-40B4-BE49-F238E27FC236}">
                <a16:creationId xmlns:a16="http://schemas.microsoft.com/office/drawing/2014/main" id="{B546854C-93CE-4499-8113-E450955AA7F9}"/>
              </a:ext>
            </a:extLst>
          </p:cNvPr>
          <p:cNvSpPr/>
          <p:nvPr/>
        </p:nvSpPr>
        <p:spPr>
          <a:xfrm>
            <a:off x="828000" y="306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home base ]</a:t>
            </a:r>
          </a:p>
        </p:txBody>
      </p:sp>
      <p:sp>
        <p:nvSpPr>
          <p:cNvPr id="72" name="Rechteck 71">
            <a:extLst>
              <a:ext uri="{FF2B5EF4-FFF2-40B4-BE49-F238E27FC236}">
                <a16:creationId xmlns:a16="http://schemas.microsoft.com/office/drawing/2014/main" id="{304F6299-4F11-49CE-9627-546D69366B71}"/>
              </a:ext>
            </a:extLst>
          </p:cNvPr>
          <p:cNvSpPr/>
          <p:nvPr/>
        </p:nvSpPr>
        <p:spPr>
          <a:xfrm>
            <a:off x="2412000" y="285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183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2628000" y="170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2628000" y="191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2628000" y="263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6" name="Rechteck 85">
            <a:extLst>
              <a:ext uri="{FF2B5EF4-FFF2-40B4-BE49-F238E27FC236}">
                <a16:creationId xmlns:a16="http://schemas.microsoft.com/office/drawing/2014/main" id="{F08276E1-33FB-4D70-8265-ED54F567BBB8}"/>
              </a:ext>
            </a:extLst>
          </p:cNvPr>
          <p:cNvSpPr/>
          <p:nvPr/>
        </p:nvSpPr>
        <p:spPr>
          <a:xfrm>
            <a:off x="2412000" y="306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os Angeles"</a:t>
            </a:r>
          </a:p>
        </p:txBody>
      </p:sp>
      <p:sp>
        <p:nvSpPr>
          <p:cNvPr id="88" name="Rechteck 87">
            <a:extLst>
              <a:ext uri="{FF2B5EF4-FFF2-40B4-BE49-F238E27FC236}">
                <a16:creationId xmlns:a16="http://schemas.microsoft.com/office/drawing/2014/main" id="{71B2FE66-51FB-4097-AD5D-45AAA79622E6}"/>
              </a:ext>
            </a:extLst>
          </p:cNvPr>
          <p:cNvSpPr/>
          <p:nvPr/>
        </p:nvSpPr>
        <p:spPr>
          <a:xfrm>
            <a:off x="3060000" y="213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1476000" y="234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3708000" y="234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4931864" y="105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932000" y="126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4932000" y="1485000"/>
            <a:ext cx="1224136"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2052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6" name="Rechteck 105">
            <a:extLst>
              <a:ext uri="{FF2B5EF4-FFF2-40B4-BE49-F238E27FC236}">
                <a16:creationId xmlns:a16="http://schemas.microsoft.com/office/drawing/2014/main" id="{9D79E555-03D9-4E94-B7DE-B9908092B3CC}"/>
              </a:ext>
            </a:extLst>
          </p:cNvPr>
          <p:cNvSpPr/>
          <p:nvPr/>
        </p:nvSpPr>
        <p:spPr>
          <a:xfrm>
            <a:off x="828000" y="32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a:t>
            </a:r>
          </a:p>
        </p:txBody>
      </p:sp>
      <p:sp>
        <p:nvSpPr>
          <p:cNvPr id="118" name="Rechteck 117">
            <a:extLst>
              <a:ext uri="{FF2B5EF4-FFF2-40B4-BE49-F238E27FC236}">
                <a16:creationId xmlns:a16="http://schemas.microsoft.com/office/drawing/2014/main" id="{B87288E4-A3ED-410A-B14C-04DF4C155E03}"/>
              </a:ext>
            </a:extLst>
          </p:cNvPr>
          <p:cNvSpPr/>
          <p:nvPr/>
        </p:nvSpPr>
        <p:spPr>
          <a:xfrm>
            <a:off x="1044000" y="3501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other team ]</a:t>
            </a:r>
          </a:p>
        </p:txBody>
      </p:sp>
      <p:sp>
        <p:nvSpPr>
          <p:cNvPr id="119" name="Rechteck 118">
            <a:extLst>
              <a:ext uri="{FF2B5EF4-FFF2-40B4-BE49-F238E27FC236}">
                <a16:creationId xmlns:a16="http://schemas.microsoft.com/office/drawing/2014/main" id="{97C4EB14-7C46-4F51-8AB1-EF16F9B71913}"/>
              </a:ext>
            </a:extLst>
          </p:cNvPr>
          <p:cNvSpPr/>
          <p:nvPr/>
        </p:nvSpPr>
        <p:spPr>
          <a:xfrm>
            <a:off x="3204000" y="350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enice Beach Muscle Braggers S.C."</a:t>
            </a:r>
          </a:p>
        </p:txBody>
      </p:sp>
      <p:sp>
        <p:nvSpPr>
          <p:cNvPr id="120" name="Rechteck 119">
            <a:extLst>
              <a:ext uri="{FF2B5EF4-FFF2-40B4-BE49-F238E27FC236}">
                <a16:creationId xmlns:a16="http://schemas.microsoft.com/office/drawing/2014/main" id="{EB9BE8B0-F1CE-4417-8996-E2BE7634299E}"/>
              </a:ext>
            </a:extLst>
          </p:cNvPr>
          <p:cNvSpPr/>
          <p:nvPr/>
        </p:nvSpPr>
        <p:spPr>
          <a:xfrm>
            <a:off x="1044000" y="3717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date ]</a:t>
            </a:r>
          </a:p>
        </p:txBody>
      </p:sp>
      <p:sp>
        <p:nvSpPr>
          <p:cNvPr id="121" name="Rechteck 120">
            <a:extLst>
              <a:ext uri="{FF2B5EF4-FFF2-40B4-BE49-F238E27FC236}">
                <a16:creationId xmlns:a16="http://schemas.microsoft.com/office/drawing/2014/main" id="{5BF1910A-6AF7-41CE-94A6-7BB27231DFC9}"/>
              </a:ext>
            </a:extLst>
          </p:cNvPr>
          <p:cNvSpPr/>
          <p:nvPr/>
        </p:nvSpPr>
        <p:spPr>
          <a:xfrm>
            <a:off x="3204000" y="371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020-07-04</a:t>
            </a:r>
          </a:p>
        </p:txBody>
      </p:sp>
      <p:sp>
        <p:nvSpPr>
          <p:cNvPr id="122" name="Rechteck 121">
            <a:extLst>
              <a:ext uri="{FF2B5EF4-FFF2-40B4-BE49-F238E27FC236}">
                <a16:creationId xmlns:a16="http://schemas.microsoft.com/office/drawing/2014/main" id="{60499DCB-5ADF-4C9D-894E-1073B3C7B549}"/>
              </a:ext>
            </a:extLst>
          </p:cNvPr>
          <p:cNvSpPr/>
          <p:nvPr/>
        </p:nvSpPr>
        <p:spPr>
          <a:xfrm>
            <a:off x="1044000" y="3933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score ]</a:t>
            </a:r>
          </a:p>
        </p:txBody>
      </p:sp>
      <p:sp>
        <p:nvSpPr>
          <p:cNvPr id="123" name="Rechteck 122">
            <a:extLst>
              <a:ext uri="{FF2B5EF4-FFF2-40B4-BE49-F238E27FC236}">
                <a16:creationId xmlns:a16="http://schemas.microsoft.com/office/drawing/2014/main" id="{CC97F955-3210-45BC-BEF1-BAD2442CD48F}"/>
              </a:ext>
            </a:extLst>
          </p:cNvPr>
          <p:cNvSpPr/>
          <p:nvPr/>
        </p:nvSpPr>
        <p:spPr>
          <a:xfrm>
            <a:off x="3204000" y="393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2, 1 }</a:t>
            </a:r>
          </a:p>
        </p:txBody>
      </p:sp>
      <p:sp>
        <p:nvSpPr>
          <p:cNvPr id="124" name="Rechteck 123">
            <a:extLst>
              <a:ext uri="{FF2B5EF4-FFF2-40B4-BE49-F238E27FC236}">
                <a16:creationId xmlns:a16="http://schemas.microsoft.com/office/drawing/2014/main" id="{3B624A72-E689-411A-AD05-AA3042CE28ED}"/>
              </a:ext>
            </a:extLst>
          </p:cNvPr>
          <p:cNvSpPr/>
          <p:nvPr/>
        </p:nvSpPr>
        <p:spPr>
          <a:xfrm>
            <a:off x="61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mments[ ]</a:t>
            </a:r>
          </a:p>
        </p:txBody>
      </p:sp>
      <p:sp>
        <p:nvSpPr>
          <p:cNvPr id="125" name="Rechteck 124">
            <a:extLst>
              <a:ext uri="{FF2B5EF4-FFF2-40B4-BE49-F238E27FC236}">
                <a16:creationId xmlns:a16="http://schemas.microsoft.com/office/drawing/2014/main" id="{283E9659-3008-4AEC-B883-DFEF84D6A56D}"/>
              </a:ext>
            </a:extLst>
          </p:cNvPr>
          <p:cNvSpPr/>
          <p:nvPr/>
        </p:nvSpPr>
        <p:spPr>
          <a:xfrm>
            <a:off x="493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615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6156000" y="105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0 or more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615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6156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n array)</a:t>
            </a:r>
          </a:p>
        </p:txBody>
      </p:sp>
      <p:sp>
        <p:nvSpPr>
          <p:cNvPr id="142" name="Rechteck 141">
            <a:extLst>
              <a:ext uri="{FF2B5EF4-FFF2-40B4-BE49-F238E27FC236}">
                <a16:creationId xmlns:a16="http://schemas.microsoft.com/office/drawing/2014/main" id="{11120494-0B11-49FE-AE22-92034F321B36}"/>
              </a:ext>
            </a:extLst>
          </p:cNvPr>
          <p:cNvSpPr/>
          <p:nvPr/>
        </p:nvSpPr>
        <p:spPr>
          <a:xfrm>
            <a:off x="1044000" y="4149000"/>
            <a:ext cx="295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a:t>
            </a:r>
          </a:p>
        </p:txBody>
      </p:sp>
      <p:sp>
        <p:nvSpPr>
          <p:cNvPr id="143" name="Rechteck 142">
            <a:extLst>
              <a:ext uri="{FF2B5EF4-FFF2-40B4-BE49-F238E27FC236}">
                <a16:creationId xmlns:a16="http://schemas.microsoft.com/office/drawing/2014/main" id="{D89D3ED1-6C85-4F5E-A6B4-CCC9A386CA74}"/>
              </a:ext>
            </a:extLst>
          </p:cNvPr>
          <p:cNvSpPr/>
          <p:nvPr/>
        </p:nvSpPr>
        <p:spPr>
          <a:xfrm>
            <a:off x="1476000" y="4365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0 ]</a:t>
            </a:r>
          </a:p>
        </p:txBody>
      </p:sp>
      <p:sp>
        <p:nvSpPr>
          <p:cNvPr id="144" name="Rechteck 143">
            <a:extLst>
              <a:ext uri="{FF2B5EF4-FFF2-40B4-BE49-F238E27FC236}">
                <a16:creationId xmlns:a16="http://schemas.microsoft.com/office/drawing/2014/main" id="{98230F06-7C95-4BAB-895E-DBFF6F73A1DD}"/>
              </a:ext>
            </a:extLst>
          </p:cNvPr>
          <p:cNvSpPr/>
          <p:nvPr/>
        </p:nvSpPr>
        <p:spPr>
          <a:xfrm>
            <a:off x="1476000" y="4581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1 ]</a:t>
            </a:r>
          </a:p>
        </p:txBody>
      </p:sp>
      <p:sp>
        <p:nvSpPr>
          <p:cNvPr id="145" name="Rechteck 144">
            <a:extLst>
              <a:ext uri="{FF2B5EF4-FFF2-40B4-BE49-F238E27FC236}">
                <a16:creationId xmlns:a16="http://schemas.microsoft.com/office/drawing/2014/main" id="{898959E8-C7D8-48FC-9307-1E4373DD8E2E}"/>
              </a:ext>
            </a:extLst>
          </p:cNvPr>
          <p:cNvSpPr/>
          <p:nvPr/>
        </p:nvSpPr>
        <p:spPr>
          <a:xfrm>
            <a:off x="4212000" y="436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Jack M", "Very impressive goals.  Keep playing" }</a:t>
            </a:r>
          </a:p>
        </p:txBody>
      </p:sp>
      <p:sp>
        <p:nvSpPr>
          <p:cNvPr id="146" name="Rechteck 145">
            <a:extLst>
              <a:ext uri="{FF2B5EF4-FFF2-40B4-BE49-F238E27FC236}">
                <a16:creationId xmlns:a16="http://schemas.microsoft.com/office/drawing/2014/main" id="{B45FD963-632D-47C2-B242-F0658D136C57}"/>
              </a:ext>
            </a:extLst>
          </p:cNvPr>
          <p:cNvSpPr/>
          <p:nvPr/>
        </p:nvSpPr>
        <p:spPr>
          <a:xfrm>
            <a:off x="4212000" y="45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1, "Nic N.", "Next time, take your football helmets off !!!" }</a:t>
            </a:r>
          </a:p>
        </p:txBody>
      </p:sp>
      <p:sp>
        <p:nvSpPr>
          <p:cNvPr id="147" name="Rechteck 146">
            <a:extLst>
              <a:ext uri="{FF2B5EF4-FFF2-40B4-BE49-F238E27FC236}">
                <a16:creationId xmlns:a16="http://schemas.microsoft.com/office/drawing/2014/main" id="{1856BA57-3B07-424D-BABD-799205D28A6B}"/>
              </a:ext>
            </a:extLst>
          </p:cNvPr>
          <p:cNvSpPr/>
          <p:nvPr/>
        </p:nvSpPr>
        <p:spPr>
          <a:xfrm>
            <a:off x="183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ne so far"</a:t>
            </a:r>
          </a:p>
        </p:txBody>
      </p:sp>
      <p:sp>
        <p:nvSpPr>
          <p:cNvPr id="47" name="Rechteck 46">
            <a:extLst>
              <a:ext uri="{FF2B5EF4-FFF2-40B4-BE49-F238E27FC236}">
                <a16:creationId xmlns:a16="http://schemas.microsoft.com/office/drawing/2014/main" id="{43A4E8BD-C57B-437A-BEE9-367CC77EBBCF}"/>
              </a:ext>
            </a:extLst>
          </p:cNvPr>
          <p:cNvSpPr/>
          <p:nvPr/>
        </p:nvSpPr>
        <p:spPr>
          <a:xfrm>
            <a:off x="1476000" y="4797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2 ]</a:t>
            </a:r>
          </a:p>
        </p:txBody>
      </p:sp>
      <p:sp>
        <p:nvSpPr>
          <p:cNvPr id="48" name="Rechteck 47">
            <a:extLst>
              <a:ext uri="{FF2B5EF4-FFF2-40B4-BE49-F238E27FC236}">
                <a16:creationId xmlns:a16="http://schemas.microsoft.com/office/drawing/2014/main" id="{C170279A-E43A-4AF1-9DEF-AA95193F8B73}"/>
              </a:ext>
            </a:extLst>
          </p:cNvPr>
          <p:cNvSpPr/>
          <p:nvPr/>
        </p:nvSpPr>
        <p:spPr>
          <a:xfrm>
            <a:off x="4212000" y="47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Kevin K.", "Very enviable!" }</a:t>
            </a:r>
          </a:p>
        </p:txBody>
      </p:sp>
    </p:spTree>
    <p:extLst>
      <p:ext uri="{BB962C8B-B14F-4D97-AF65-F5344CB8AC3E}">
        <p14:creationId xmlns:p14="http://schemas.microsoft.com/office/powerpoint/2010/main" val="32074505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Without Assignment Operator</a:t>
            </a:r>
          </a:p>
        </p:txBody>
      </p:sp>
      <p:sp>
        <p:nvSpPr>
          <p:cNvPr id="4" name="Textplatzhalter 3"/>
          <p:cNvSpPr>
            <a:spLocks noGrp="1"/>
          </p:cNvSpPr>
          <p:nvPr>
            <p:ph type="body" sz="quarter" idx="16"/>
          </p:nvPr>
        </p:nvSpPr>
        <p:spPr/>
        <p:txBody>
          <a:bodyPr/>
          <a:lstStyle/>
          <a:p>
            <a:endParaRPr lang="en-US"/>
          </a:p>
        </p:txBody>
      </p:sp>
      <p:sp>
        <p:nvSpPr>
          <p:cNvPr id="3" name="Rechteck 2">
            <a:extLst>
              <a:ext uri="{FF2B5EF4-FFF2-40B4-BE49-F238E27FC236}">
                <a16:creationId xmlns:a16="http://schemas.microsoft.com/office/drawing/2014/main" id="{CEF5CE92-8BA8-44AD-8D55-DDFD9B209527}"/>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76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6" name="Rechteck 5">
            <a:extLst>
              <a:ext uri="{FF2B5EF4-FFF2-40B4-BE49-F238E27FC236}">
                <a16:creationId xmlns:a16="http://schemas.microsoft.com/office/drawing/2014/main" id="{2D455C08-E792-4383-AA04-EE43A0FB6A4C}"/>
              </a:ext>
            </a:extLst>
          </p:cNvPr>
          <p:cNvSpPr/>
          <p:nvPr/>
        </p:nvSpPr>
        <p:spPr>
          <a:xfrm>
            <a:off x="4644000" y="119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7" name="Rechteck 6">
            <a:extLst>
              <a:ext uri="{FF2B5EF4-FFF2-40B4-BE49-F238E27FC236}">
                <a16:creationId xmlns:a16="http://schemas.microsoft.com/office/drawing/2014/main" id="{9041A9D0-892D-4109-B651-2A7610DBCF3A}"/>
              </a:ext>
            </a:extLst>
          </p:cNvPr>
          <p:cNvSpPr/>
          <p:nvPr/>
        </p:nvSpPr>
        <p:spPr>
          <a:xfrm>
            <a:off x="5868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37" name="Rechteck 236">
            <a:extLst>
              <a:ext uri="{FF2B5EF4-FFF2-40B4-BE49-F238E27FC236}">
                <a16:creationId xmlns:a16="http://schemas.microsoft.com/office/drawing/2014/main" id="{7DDBDDC0-E811-4ED9-802B-F9142591D967}"/>
              </a:ext>
            </a:extLst>
          </p:cNvPr>
          <p:cNvSpPr/>
          <p:nvPr/>
        </p:nvSpPr>
        <p:spPr>
          <a:xfrm>
            <a:off x="4860000" y="1413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38" name="Rechteck 237">
            <a:extLst>
              <a:ext uri="{FF2B5EF4-FFF2-40B4-BE49-F238E27FC236}">
                <a16:creationId xmlns:a16="http://schemas.microsoft.com/office/drawing/2014/main" id="{11DA19B2-2B65-4CEF-BA27-34CD2BB99275}"/>
              </a:ext>
            </a:extLst>
          </p:cNvPr>
          <p:cNvSpPr/>
          <p:nvPr/>
        </p:nvSpPr>
        <p:spPr>
          <a:xfrm>
            <a:off x="5076000" y="162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39" name="Rechteck 238">
            <a:extLst>
              <a:ext uri="{FF2B5EF4-FFF2-40B4-BE49-F238E27FC236}">
                <a16:creationId xmlns:a16="http://schemas.microsoft.com/office/drawing/2014/main" id="{B565EA7D-9076-4BEA-BE13-6C306D038DE8}"/>
              </a:ext>
            </a:extLst>
          </p:cNvPr>
          <p:cNvSpPr/>
          <p:nvPr/>
        </p:nvSpPr>
        <p:spPr>
          <a:xfrm>
            <a:off x="5076000" y="184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40" name="Rechteck 239">
            <a:extLst>
              <a:ext uri="{FF2B5EF4-FFF2-40B4-BE49-F238E27FC236}">
                <a16:creationId xmlns:a16="http://schemas.microsoft.com/office/drawing/2014/main" id="{8177039A-0A1C-43F1-A0B4-19B4030735DC}"/>
              </a:ext>
            </a:extLst>
          </p:cNvPr>
          <p:cNvSpPr/>
          <p:nvPr/>
        </p:nvSpPr>
        <p:spPr>
          <a:xfrm>
            <a:off x="5076000" y="256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41" name="Rechteck 240">
            <a:extLst>
              <a:ext uri="{FF2B5EF4-FFF2-40B4-BE49-F238E27FC236}">
                <a16:creationId xmlns:a16="http://schemas.microsoft.com/office/drawing/2014/main" id="{BC5D22FE-3FDE-4372-8B3B-026EDCE95130}"/>
              </a:ext>
            </a:extLst>
          </p:cNvPr>
          <p:cNvSpPr/>
          <p:nvPr/>
        </p:nvSpPr>
        <p:spPr>
          <a:xfrm>
            <a:off x="5508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42" name="Rechteck 241">
            <a:extLst>
              <a:ext uri="{FF2B5EF4-FFF2-40B4-BE49-F238E27FC236}">
                <a16:creationId xmlns:a16="http://schemas.microsoft.com/office/drawing/2014/main" id="{966EB1AD-9D1C-49B4-A919-4AC2B0D0C915}"/>
              </a:ext>
            </a:extLst>
          </p:cNvPr>
          <p:cNvSpPr/>
          <p:nvPr/>
        </p:nvSpPr>
        <p:spPr>
          <a:xfrm>
            <a:off x="5076000" y="234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3" name="Rechteck 242">
            <a:extLst>
              <a:ext uri="{FF2B5EF4-FFF2-40B4-BE49-F238E27FC236}">
                <a16:creationId xmlns:a16="http://schemas.microsoft.com/office/drawing/2014/main" id="{1273D06F-C4C3-4364-813D-3F229A5A3146}"/>
              </a:ext>
            </a:extLst>
          </p:cNvPr>
          <p:cNvSpPr/>
          <p:nvPr/>
        </p:nvSpPr>
        <p:spPr>
          <a:xfrm>
            <a:off x="4860000" y="278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44" name="Rechteck 243">
            <a:extLst>
              <a:ext uri="{FF2B5EF4-FFF2-40B4-BE49-F238E27FC236}">
                <a16:creationId xmlns:a16="http://schemas.microsoft.com/office/drawing/2014/main" id="{8391E7FB-EFE9-4E33-918C-CD7660A1D02F}"/>
              </a:ext>
            </a:extLst>
          </p:cNvPr>
          <p:cNvSpPr/>
          <p:nvPr/>
        </p:nvSpPr>
        <p:spPr>
          <a:xfrm>
            <a:off x="5076000" y="2060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5" name="Rechteck 244">
            <a:extLst>
              <a:ext uri="{FF2B5EF4-FFF2-40B4-BE49-F238E27FC236}">
                <a16:creationId xmlns:a16="http://schemas.microsoft.com/office/drawing/2014/main" id="{19793154-044B-405D-8964-E2164C05F758}"/>
              </a:ext>
            </a:extLst>
          </p:cNvPr>
          <p:cNvSpPr/>
          <p:nvPr/>
        </p:nvSpPr>
        <p:spPr>
          <a:xfrm>
            <a:off x="5076000" y="220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6" name="Rechteck 245">
            <a:extLst>
              <a:ext uri="{FF2B5EF4-FFF2-40B4-BE49-F238E27FC236}">
                <a16:creationId xmlns:a16="http://schemas.microsoft.com/office/drawing/2014/main" id="{390C38A8-6A57-4459-A5B4-36A5C1405A46}"/>
              </a:ext>
            </a:extLst>
          </p:cNvPr>
          <p:cNvSpPr/>
          <p:nvPr/>
        </p:nvSpPr>
        <p:spPr>
          <a:xfrm>
            <a:off x="6444000" y="27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247" name="Rechteck 246">
            <a:extLst>
              <a:ext uri="{FF2B5EF4-FFF2-40B4-BE49-F238E27FC236}">
                <a16:creationId xmlns:a16="http://schemas.microsoft.com/office/drawing/2014/main" id="{B898859C-BE68-4577-9A4F-B2517B20E57D}"/>
              </a:ext>
            </a:extLst>
          </p:cNvPr>
          <p:cNvSpPr/>
          <p:nvPr/>
        </p:nvSpPr>
        <p:spPr>
          <a:xfrm>
            <a:off x="6660000" y="162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248" name="Rechteck 247">
            <a:extLst>
              <a:ext uri="{FF2B5EF4-FFF2-40B4-BE49-F238E27FC236}">
                <a16:creationId xmlns:a16="http://schemas.microsoft.com/office/drawing/2014/main" id="{F047020B-9877-4720-A6F3-7F08C3BECB46}"/>
              </a:ext>
            </a:extLst>
          </p:cNvPr>
          <p:cNvSpPr/>
          <p:nvPr/>
        </p:nvSpPr>
        <p:spPr>
          <a:xfrm>
            <a:off x="6660000" y="184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49" name="Rechteck 248">
            <a:extLst>
              <a:ext uri="{FF2B5EF4-FFF2-40B4-BE49-F238E27FC236}">
                <a16:creationId xmlns:a16="http://schemas.microsoft.com/office/drawing/2014/main" id="{514766FB-C9C2-4DEF-AA22-4BBBD7CBF36A}"/>
              </a:ext>
            </a:extLst>
          </p:cNvPr>
          <p:cNvSpPr/>
          <p:nvPr/>
        </p:nvSpPr>
        <p:spPr>
          <a:xfrm>
            <a:off x="6660000" y="256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50" name="Rechteck 249">
            <a:extLst>
              <a:ext uri="{FF2B5EF4-FFF2-40B4-BE49-F238E27FC236}">
                <a16:creationId xmlns:a16="http://schemas.microsoft.com/office/drawing/2014/main" id="{C1697C73-C6E3-4178-B4F5-C867B7C7E7EB}"/>
              </a:ext>
            </a:extLst>
          </p:cNvPr>
          <p:cNvSpPr/>
          <p:nvPr/>
        </p:nvSpPr>
        <p:spPr>
          <a:xfrm>
            <a:off x="7092000" y="2061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51" name="Rechteck 250">
            <a:extLst>
              <a:ext uri="{FF2B5EF4-FFF2-40B4-BE49-F238E27FC236}">
                <a16:creationId xmlns:a16="http://schemas.microsoft.com/office/drawing/2014/main" id="{1A6F5CFF-9A74-47D5-8F02-6D9B0020BC1A}"/>
              </a:ext>
            </a:extLst>
          </p:cNvPr>
          <p:cNvSpPr/>
          <p:nvPr/>
        </p:nvSpPr>
        <p:spPr>
          <a:xfrm>
            <a:off x="5508000" y="2277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52" name="Rechteck 251">
            <a:extLst>
              <a:ext uri="{FF2B5EF4-FFF2-40B4-BE49-F238E27FC236}">
                <a16:creationId xmlns:a16="http://schemas.microsoft.com/office/drawing/2014/main" id="{14D121D9-C157-4025-A369-3355D51CCA66}"/>
              </a:ext>
            </a:extLst>
          </p:cNvPr>
          <p:cNvSpPr/>
          <p:nvPr/>
        </p:nvSpPr>
        <p:spPr>
          <a:xfrm>
            <a:off x="7740000" y="2277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53" name="Rechteck 252">
            <a:extLst>
              <a:ext uri="{FF2B5EF4-FFF2-40B4-BE49-F238E27FC236}">
                <a16:creationId xmlns:a16="http://schemas.microsoft.com/office/drawing/2014/main" id="{EE8DF69E-38F1-4036-83CF-5E3EC2382D9A}"/>
              </a:ext>
            </a:extLst>
          </p:cNvPr>
          <p:cNvSpPr/>
          <p:nvPr/>
        </p:nvSpPr>
        <p:spPr>
          <a:xfrm>
            <a:off x="6084000" y="141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16" name="Rechteck 115">
            <a:extLst>
              <a:ext uri="{FF2B5EF4-FFF2-40B4-BE49-F238E27FC236}">
                <a16:creationId xmlns:a16="http://schemas.microsoft.com/office/drawing/2014/main" id="{A77E9F95-5BF6-4411-A49F-0526A6627AF4}"/>
              </a:ext>
            </a:extLst>
          </p:cNvPr>
          <p:cNvSpPr/>
          <p:nvPr/>
        </p:nvSpPr>
        <p:spPr>
          <a:xfrm>
            <a:off x="396000" y="119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17" name="Rechteck 116">
            <a:extLst>
              <a:ext uri="{FF2B5EF4-FFF2-40B4-BE49-F238E27FC236}">
                <a16:creationId xmlns:a16="http://schemas.microsoft.com/office/drawing/2014/main" id="{06B49E5B-F33B-477F-9D3C-1E761B044E50}"/>
              </a:ext>
            </a:extLst>
          </p:cNvPr>
          <p:cNvSpPr/>
          <p:nvPr/>
        </p:nvSpPr>
        <p:spPr>
          <a:xfrm>
            <a:off x="1620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54" name="Pfeil: nach rechts 253">
            <a:extLst>
              <a:ext uri="{FF2B5EF4-FFF2-40B4-BE49-F238E27FC236}">
                <a16:creationId xmlns:a16="http://schemas.microsoft.com/office/drawing/2014/main" id="{E1E43F24-D72D-4185-BA63-4F6EB20FDD16}"/>
              </a:ext>
            </a:extLst>
          </p:cNvPr>
          <p:cNvSpPr/>
          <p:nvPr/>
        </p:nvSpPr>
        <p:spPr>
          <a:xfrm flipH="1">
            <a:off x="3924000" y="1125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724FF5C4-77C0-4179-B577-FB51CD5D7DBE}"/>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  </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139" name="Rechteck 138">
            <a:extLst>
              <a:ext uri="{FF2B5EF4-FFF2-40B4-BE49-F238E27FC236}">
                <a16:creationId xmlns:a16="http://schemas.microsoft.com/office/drawing/2014/main" id="{59F09C32-8569-41D1-A093-3CEB9E278435}"/>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40" name="Rechteck 139">
            <a:extLst>
              <a:ext uri="{FF2B5EF4-FFF2-40B4-BE49-F238E27FC236}">
                <a16:creationId xmlns:a16="http://schemas.microsoft.com/office/drawing/2014/main" id="{662F4AAE-059B-4B0B-A110-654E5B091521}"/>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41" name="Rechteck 140">
            <a:extLst>
              <a:ext uri="{FF2B5EF4-FFF2-40B4-BE49-F238E27FC236}">
                <a16:creationId xmlns:a16="http://schemas.microsoft.com/office/drawing/2014/main" id="{4243058E-00E2-4DAA-8276-8256CE1C8DEB}"/>
              </a:ext>
            </a:extLst>
          </p:cNvPr>
          <p:cNvSpPr/>
          <p:nvPr/>
        </p:nvSpPr>
        <p:spPr>
          <a:xfrm>
            <a:off x="4860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2" name="Rechteck 141">
            <a:extLst>
              <a:ext uri="{FF2B5EF4-FFF2-40B4-BE49-F238E27FC236}">
                <a16:creationId xmlns:a16="http://schemas.microsoft.com/office/drawing/2014/main" id="{971477E7-6A34-42CE-9983-4B51ABD13E03}"/>
              </a:ext>
            </a:extLst>
          </p:cNvPr>
          <p:cNvSpPr/>
          <p:nvPr/>
        </p:nvSpPr>
        <p:spPr>
          <a:xfrm>
            <a:off x="5076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3" name="Rechteck 142">
            <a:extLst>
              <a:ext uri="{FF2B5EF4-FFF2-40B4-BE49-F238E27FC236}">
                <a16:creationId xmlns:a16="http://schemas.microsoft.com/office/drawing/2014/main" id="{31DFD461-830E-4228-9601-64E50DD5CC70}"/>
              </a:ext>
            </a:extLst>
          </p:cNvPr>
          <p:cNvSpPr/>
          <p:nvPr/>
        </p:nvSpPr>
        <p:spPr>
          <a:xfrm>
            <a:off x="5076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4" name="Rechteck 143">
            <a:extLst>
              <a:ext uri="{FF2B5EF4-FFF2-40B4-BE49-F238E27FC236}">
                <a16:creationId xmlns:a16="http://schemas.microsoft.com/office/drawing/2014/main" id="{CC87DD60-61E1-48B4-8AFB-37F241E37FC0}"/>
              </a:ext>
            </a:extLst>
          </p:cNvPr>
          <p:cNvSpPr/>
          <p:nvPr/>
        </p:nvSpPr>
        <p:spPr>
          <a:xfrm>
            <a:off x="5076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5" name="Rechteck 144">
            <a:extLst>
              <a:ext uri="{FF2B5EF4-FFF2-40B4-BE49-F238E27FC236}">
                <a16:creationId xmlns:a16="http://schemas.microsoft.com/office/drawing/2014/main" id="{E5423E27-217A-4595-88A6-6E357103681B}"/>
              </a:ext>
            </a:extLst>
          </p:cNvPr>
          <p:cNvSpPr/>
          <p:nvPr/>
        </p:nvSpPr>
        <p:spPr>
          <a:xfrm>
            <a:off x="550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6" name="Rechteck 145">
            <a:extLst>
              <a:ext uri="{FF2B5EF4-FFF2-40B4-BE49-F238E27FC236}">
                <a16:creationId xmlns:a16="http://schemas.microsoft.com/office/drawing/2014/main" id="{E151CF57-771F-499A-8DB6-0F86010B7790}"/>
              </a:ext>
            </a:extLst>
          </p:cNvPr>
          <p:cNvSpPr/>
          <p:nvPr/>
        </p:nvSpPr>
        <p:spPr>
          <a:xfrm>
            <a:off x="5076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7" name="Rechteck 146">
            <a:extLst>
              <a:ext uri="{FF2B5EF4-FFF2-40B4-BE49-F238E27FC236}">
                <a16:creationId xmlns:a16="http://schemas.microsoft.com/office/drawing/2014/main" id="{04F0708D-FBC1-46AC-B23C-F8F39B3ED458}"/>
              </a:ext>
            </a:extLst>
          </p:cNvPr>
          <p:cNvSpPr/>
          <p:nvPr/>
        </p:nvSpPr>
        <p:spPr>
          <a:xfrm>
            <a:off x="4860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48" name="Rechteck 147">
            <a:extLst>
              <a:ext uri="{FF2B5EF4-FFF2-40B4-BE49-F238E27FC236}">
                <a16:creationId xmlns:a16="http://schemas.microsoft.com/office/drawing/2014/main" id="{31EF42D3-972E-4EDB-A149-55DAE92404C8}"/>
              </a:ext>
            </a:extLst>
          </p:cNvPr>
          <p:cNvSpPr/>
          <p:nvPr/>
        </p:nvSpPr>
        <p:spPr>
          <a:xfrm>
            <a:off x="5076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9" name="Rechteck 148">
            <a:extLst>
              <a:ext uri="{FF2B5EF4-FFF2-40B4-BE49-F238E27FC236}">
                <a16:creationId xmlns:a16="http://schemas.microsoft.com/office/drawing/2014/main" id="{AE2310A1-B950-407F-AE77-7162F70BED73}"/>
              </a:ext>
            </a:extLst>
          </p:cNvPr>
          <p:cNvSpPr/>
          <p:nvPr/>
        </p:nvSpPr>
        <p:spPr>
          <a:xfrm>
            <a:off x="5076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50" name="Rechteck 149">
            <a:extLst>
              <a:ext uri="{FF2B5EF4-FFF2-40B4-BE49-F238E27FC236}">
                <a16:creationId xmlns:a16="http://schemas.microsoft.com/office/drawing/2014/main" id="{D2B0DE3B-1B91-4EEE-B199-C9EBF6327D96}"/>
              </a:ext>
            </a:extLst>
          </p:cNvPr>
          <p:cNvSpPr/>
          <p:nvPr/>
        </p:nvSpPr>
        <p:spPr>
          <a:xfrm>
            <a:off x="6444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51" name="Rechteck 150">
            <a:extLst>
              <a:ext uri="{FF2B5EF4-FFF2-40B4-BE49-F238E27FC236}">
                <a16:creationId xmlns:a16="http://schemas.microsoft.com/office/drawing/2014/main" id="{72EB3392-9D64-483E-89AA-4BD09328C38E}"/>
              </a:ext>
            </a:extLst>
          </p:cNvPr>
          <p:cNvSpPr/>
          <p:nvPr/>
        </p:nvSpPr>
        <p:spPr>
          <a:xfrm>
            <a:off x="6660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52" name="Rechteck 151">
            <a:extLst>
              <a:ext uri="{FF2B5EF4-FFF2-40B4-BE49-F238E27FC236}">
                <a16:creationId xmlns:a16="http://schemas.microsoft.com/office/drawing/2014/main" id="{BDC165C6-E40B-4F0A-BCFA-49735D0AA0B6}"/>
              </a:ext>
            </a:extLst>
          </p:cNvPr>
          <p:cNvSpPr/>
          <p:nvPr/>
        </p:nvSpPr>
        <p:spPr>
          <a:xfrm>
            <a:off x="6660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3" name="Rechteck 152">
            <a:extLst>
              <a:ext uri="{FF2B5EF4-FFF2-40B4-BE49-F238E27FC236}">
                <a16:creationId xmlns:a16="http://schemas.microsoft.com/office/drawing/2014/main" id="{74E937C6-5ADB-43CA-8C46-4EC8E34C09B6}"/>
              </a:ext>
            </a:extLst>
          </p:cNvPr>
          <p:cNvSpPr/>
          <p:nvPr/>
        </p:nvSpPr>
        <p:spPr>
          <a:xfrm>
            <a:off x="6660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4" name="Rechteck 153">
            <a:extLst>
              <a:ext uri="{FF2B5EF4-FFF2-40B4-BE49-F238E27FC236}">
                <a16:creationId xmlns:a16="http://schemas.microsoft.com/office/drawing/2014/main" id="{24BDF7C8-DD49-4D05-B548-3CA3094C2B25}"/>
              </a:ext>
            </a:extLst>
          </p:cNvPr>
          <p:cNvSpPr/>
          <p:nvPr/>
        </p:nvSpPr>
        <p:spPr>
          <a:xfrm>
            <a:off x="709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5" name="Rechteck 154">
            <a:extLst>
              <a:ext uri="{FF2B5EF4-FFF2-40B4-BE49-F238E27FC236}">
                <a16:creationId xmlns:a16="http://schemas.microsoft.com/office/drawing/2014/main" id="{DE36B331-012B-4C53-8349-6FF7BA9D1C91}"/>
              </a:ext>
            </a:extLst>
          </p:cNvPr>
          <p:cNvSpPr/>
          <p:nvPr/>
        </p:nvSpPr>
        <p:spPr>
          <a:xfrm>
            <a:off x="550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6" name="Rechteck 155">
            <a:extLst>
              <a:ext uri="{FF2B5EF4-FFF2-40B4-BE49-F238E27FC236}">
                <a16:creationId xmlns:a16="http://schemas.microsoft.com/office/drawing/2014/main" id="{B570230A-BFE0-44CF-A734-E70D8130E1CF}"/>
              </a:ext>
            </a:extLst>
          </p:cNvPr>
          <p:cNvSpPr/>
          <p:nvPr/>
        </p:nvSpPr>
        <p:spPr>
          <a:xfrm>
            <a:off x="774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57" name="Rechteck 156">
            <a:extLst>
              <a:ext uri="{FF2B5EF4-FFF2-40B4-BE49-F238E27FC236}">
                <a16:creationId xmlns:a16="http://schemas.microsoft.com/office/drawing/2014/main" id="{EAD13157-3F07-4A66-8BF8-CD2170060361}"/>
              </a:ext>
            </a:extLst>
          </p:cNvPr>
          <p:cNvSpPr/>
          <p:nvPr/>
        </p:nvSpPr>
        <p:spPr>
          <a:xfrm>
            <a:off x="6084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60" name="Pfeil: nach rechts 159">
            <a:extLst>
              <a:ext uri="{FF2B5EF4-FFF2-40B4-BE49-F238E27FC236}">
                <a16:creationId xmlns:a16="http://schemas.microsoft.com/office/drawing/2014/main" id="{E3D84D90-E2B6-430F-847E-F1BD4CC87B69}"/>
              </a:ext>
            </a:extLst>
          </p:cNvPr>
          <p:cNvSpPr/>
          <p:nvPr/>
        </p:nvSpPr>
        <p:spPr>
          <a:xfrm flipH="1">
            <a:off x="3924000" y="357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1" name="Rechteck 160">
            <a:extLst>
              <a:ext uri="{FF2B5EF4-FFF2-40B4-BE49-F238E27FC236}">
                <a16:creationId xmlns:a16="http://schemas.microsoft.com/office/drawing/2014/main" id="{BC8F9CDD-CEF6-4B72-839D-47E64D7FF6F7}"/>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2" name="Rechteck 161">
            <a:extLst>
              <a:ext uri="{FF2B5EF4-FFF2-40B4-BE49-F238E27FC236}">
                <a16:creationId xmlns:a16="http://schemas.microsoft.com/office/drawing/2014/main" id="{AAF40EA0-0CD4-414B-991E-2958DAE1733A}"/>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C0AB6C60-3CBF-4022-ABF7-FF9C3839D63F}"/>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64" name="Rechteck 163">
            <a:extLst>
              <a:ext uri="{FF2B5EF4-FFF2-40B4-BE49-F238E27FC236}">
                <a16:creationId xmlns:a16="http://schemas.microsoft.com/office/drawing/2014/main" id="{A837F42F-3F7A-4574-BFF0-5F11AFCF237D}"/>
              </a:ext>
            </a:extLst>
          </p:cNvPr>
          <p:cNvSpPr/>
          <p:nvPr/>
        </p:nvSpPr>
        <p:spPr>
          <a:xfrm>
            <a:off x="828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65" name="Rechteck 164">
            <a:extLst>
              <a:ext uri="{FF2B5EF4-FFF2-40B4-BE49-F238E27FC236}">
                <a16:creationId xmlns:a16="http://schemas.microsoft.com/office/drawing/2014/main" id="{A635D243-025B-4208-9128-E4567A5BB0A1}"/>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66" name="Rechteck 165">
            <a:extLst>
              <a:ext uri="{FF2B5EF4-FFF2-40B4-BE49-F238E27FC236}">
                <a16:creationId xmlns:a16="http://schemas.microsoft.com/office/drawing/2014/main" id="{F81EFA89-5BEB-4B0B-A907-ECD55A8DF1BB}"/>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67" name="Rechteck 166">
            <a:extLst>
              <a:ext uri="{FF2B5EF4-FFF2-40B4-BE49-F238E27FC236}">
                <a16:creationId xmlns:a16="http://schemas.microsoft.com/office/drawing/2014/main" id="{3DF0F587-8C15-4CE3-9CA4-F8AFEB92EE49}"/>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68" name="Rechteck 167">
            <a:extLst>
              <a:ext uri="{FF2B5EF4-FFF2-40B4-BE49-F238E27FC236}">
                <a16:creationId xmlns:a16="http://schemas.microsoft.com/office/drawing/2014/main" id="{8B22F265-096F-4BDD-9F63-0FC93A0BDEAF}"/>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0" name="Rechteck 169">
            <a:extLst>
              <a:ext uri="{FF2B5EF4-FFF2-40B4-BE49-F238E27FC236}">
                <a16:creationId xmlns:a16="http://schemas.microsoft.com/office/drawing/2014/main" id="{9C15A68F-032F-443D-BDBA-9BCF13896A0B}"/>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72" name="Rechteck 171">
            <a:extLst>
              <a:ext uri="{FF2B5EF4-FFF2-40B4-BE49-F238E27FC236}">
                <a16:creationId xmlns:a16="http://schemas.microsoft.com/office/drawing/2014/main" id="{06E5A339-CBF6-4098-B8F5-9FF3EA07B6AD}"/>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4" name="Rechteck 173">
            <a:extLst>
              <a:ext uri="{FF2B5EF4-FFF2-40B4-BE49-F238E27FC236}">
                <a16:creationId xmlns:a16="http://schemas.microsoft.com/office/drawing/2014/main" id="{FA4EBA3A-4658-465C-BB3B-9639FC904AB2}"/>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6" name="Rechteck 175">
            <a:extLst>
              <a:ext uri="{FF2B5EF4-FFF2-40B4-BE49-F238E27FC236}">
                <a16:creationId xmlns:a16="http://schemas.microsoft.com/office/drawing/2014/main" id="{2967B82A-E925-4238-9ABE-A3792F60DDB3}"/>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78" name="Rechteck 177">
            <a:extLst>
              <a:ext uri="{FF2B5EF4-FFF2-40B4-BE49-F238E27FC236}">
                <a16:creationId xmlns:a16="http://schemas.microsoft.com/office/drawing/2014/main" id="{8F2DC8D9-3454-45D7-8166-CE0CFFFF6B0D}"/>
              </a:ext>
            </a:extLst>
          </p:cNvPr>
          <p:cNvSpPr/>
          <p:nvPr/>
        </p:nvSpPr>
        <p:spPr>
          <a:xfrm>
            <a:off x="2412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80" name="Rechteck 179">
            <a:extLst>
              <a:ext uri="{FF2B5EF4-FFF2-40B4-BE49-F238E27FC236}">
                <a16:creationId xmlns:a16="http://schemas.microsoft.com/office/drawing/2014/main" id="{81F6AAD8-357C-4388-BABC-E9AD7181705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82" name="Rechteck 181">
            <a:extLst>
              <a:ext uri="{FF2B5EF4-FFF2-40B4-BE49-F238E27FC236}">
                <a16:creationId xmlns:a16="http://schemas.microsoft.com/office/drawing/2014/main" id="{C44E14C4-D4FA-4DB8-BDAC-B346A04D7D8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84" name="Rechteck 183">
            <a:extLst>
              <a:ext uri="{FF2B5EF4-FFF2-40B4-BE49-F238E27FC236}">
                <a16:creationId xmlns:a16="http://schemas.microsoft.com/office/drawing/2014/main" id="{1F093AD1-FA8E-4EFA-83AA-C3881A38BF91}"/>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86" name="Rechteck 185">
            <a:extLst>
              <a:ext uri="{FF2B5EF4-FFF2-40B4-BE49-F238E27FC236}">
                <a16:creationId xmlns:a16="http://schemas.microsoft.com/office/drawing/2014/main" id="{624334C4-60AF-4A40-9E49-42BAFD6162A0}"/>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188" name="Rechteck 187">
            <a:extLst>
              <a:ext uri="{FF2B5EF4-FFF2-40B4-BE49-F238E27FC236}">
                <a16:creationId xmlns:a16="http://schemas.microsoft.com/office/drawing/2014/main" id="{84212087-9718-4126-89A7-3F8C6E9326ED}"/>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90" name="Rechteck 189">
            <a:extLst>
              <a:ext uri="{FF2B5EF4-FFF2-40B4-BE49-F238E27FC236}">
                <a16:creationId xmlns:a16="http://schemas.microsoft.com/office/drawing/2014/main" id="{AA1AB500-F813-4212-B9BB-ABE56D16CD8E}"/>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26221540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ND Assignment Operator</a:t>
            </a:r>
          </a:p>
        </p:txBody>
      </p:sp>
      <p:sp>
        <p:nvSpPr>
          <p:cNvPr id="4" name="Textplatzhalter 3"/>
          <p:cNvSpPr>
            <a:spLocks noGrp="1"/>
          </p:cNvSpPr>
          <p:nvPr>
            <p:ph type="body" sz="quarter" idx="16"/>
          </p:nvPr>
        </p:nvSpPr>
        <p:spPr/>
        <p:txBody>
          <a:bodyPr/>
          <a:lstStyle/>
          <a:p>
            <a:endParaRPr lang="en-US"/>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4999"/>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4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3860999"/>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076999"/>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076999"/>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3860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  The football club retains its "F.C. ..." name.</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65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a:p>
            <a:r>
              <a:rPr lang="en-US" sz="1000" dirty="0">
                <a:solidFill>
                  <a:schemeClr val="tx1"/>
                </a:solidFill>
              </a:rPr>
              <a:t>Same applies to the home site </a:t>
            </a:r>
            <a:r>
              <a:rPr lang="en-US" sz="1000" dirty="0">
                <a:solidFill>
                  <a:srgbClr val="FF0000"/>
                </a:solidFill>
              </a:rPr>
              <a:t>Beverly Hills, CA</a:t>
            </a:r>
            <a:r>
              <a:rPr lang="en-US" sz="1000" dirty="0">
                <a:solidFill>
                  <a:schemeClr val="tx1"/>
                </a:solidFill>
              </a:rPr>
              <a:t>.</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254" name="Pfeil: nach rechts 253">
            <a:extLst>
              <a:ext uri="{FF2B5EF4-FFF2-40B4-BE49-F238E27FC236}">
                <a16:creationId xmlns:a16="http://schemas.microsoft.com/office/drawing/2014/main" id="{377FF6EA-EB44-44E9-870F-E8B20DFC90C6}"/>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 name="Rechteck 5">
            <a:extLst>
              <a:ext uri="{FF2B5EF4-FFF2-40B4-BE49-F238E27FC236}">
                <a16:creationId xmlns:a16="http://schemas.microsoft.com/office/drawing/2014/main" id="{4A697C2D-15EB-4C64-95A8-C10A330649D2}"/>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7" name="Rechteck 6">
            <a:extLst>
              <a:ext uri="{FF2B5EF4-FFF2-40B4-BE49-F238E27FC236}">
                <a16:creationId xmlns:a16="http://schemas.microsoft.com/office/drawing/2014/main" id="{02734082-4A08-4827-AE75-C6CA7D453C0A}"/>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Beverly Hills, CA</a:t>
            </a:r>
          </a:p>
        </p:txBody>
      </p:sp>
      <p:sp>
        <p:nvSpPr>
          <p:cNvPr id="237" name="Rechteck 236">
            <a:extLst>
              <a:ext uri="{FF2B5EF4-FFF2-40B4-BE49-F238E27FC236}">
                <a16:creationId xmlns:a16="http://schemas.microsoft.com/office/drawing/2014/main" id="{4A3082A9-E45D-4AC6-994B-C158A27F9543}"/>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238" name="Rechteck 237">
            <a:extLst>
              <a:ext uri="{FF2B5EF4-FFF2-40B4-BE49-F238E27FC236}">
                <a16:creationId xmlns:a16="http://schemas.microsoft.com/office/drawing/2014/main" id="{92DAA797-5588-40FF-8FCD-0EC9A9BA91F4}"/>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239" name="Rechteck 238">
            <a:extLst>
              <a:ext uri="{FF2B5EF4-FFF2-40B4-BE49-F238E27FC236}">
                <a16:creationId xmlns:a16="http://schemas.microsoft.com/office/drawing/2014/main" id="{CCFA676E-D08B-45FA-8968-DE208FF63E99}"/>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240" name="Rechteck 239">
            <a:extLst>
              <a:ext uri="{FF2B5EF4-FFF2-40B4-BE49-F238E27FC236}">
                <a16:creationId xmlns:a16="http://schemas.microsoft.com/office/drawing/2014/main" id="{39FE67A3-933A-45D0-A384-34732EC3A80D}"/>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241" name="Rechteck 240">
            <a:extLst>
              <a:ext uri="{FF2B5EF4-FFF2-40B4-BE49-F238E27FC236}">
                <a16:creationId xmlns:a16="http://schemas.microsoft.com/office/drawing/2014/main" id="{6969026A-1F33-4063-B35F-69359A876FA5}"/>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242" name="Rechteck 241">
            <a:extLst>
              <a:ext uri="{FF2B5EF4-FFF2-40B4-BE49-F238E27FC236}">
                <a16:creationId xmlns:a16="http://schemas.microsoft.com/office/drawing/2014/main" id="{08097422-0363-4563-B85C-B5E984721937}"/>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243" name="Rechteck 242">
            <a:extLst>
              <a:ext uri="{FF2B5EF4-FFF2-40B4-BE49-F238E27FC236}">
                <a16:creationId xmlns:a16="http://schemas.microsoft.com/office/drawing/2014/main" id="{1D0B8B7D-33C3-485B-9749-D157E29A0C05}"/>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244" name="Rechteck 243">
            <a:extLst>
              <a:ext uri="{FF2B5EF4-FFF2-40B4-BE49-F238E27FC236}">
                <a16:creationId xmlns:a16="http://schemas.microsoft.com/office/drawing/2014/main" id="{3C50B8F3-4264-4E91-991C-2E55FF5E97E7}"/>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Tree>
    <p:extLst>
      <p:ext uri="{BB962C8B-B14F-4D97-AF65-F5344CB8AC3E}">
        <p14:creationId xmlns:p14="http://schemas.microsoft.com/office/powerpoint/2010/main" val="2688216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3FA16-FC90-2CF9-A5BB-385F8338D4F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DA5F58D-784E-390B-095D-48B6D49FB6D9}"/>
              </a:ext>
            </a:extLst>
          </p:cNvPr>
          <p:cNvSpPr>
            <a:spLocks noGrp="1"/>
          </p:cNvSpPr>
          <p:nvPr>
            <p:ph type="title"/>
          </p:nvPr>
        </p:nvSpPr>
        <p:spPr/>
        <p:txBody>
          <a:bodyPr/>
          <a:lstStyle/>
          <a:p>
            <a:r>
              <a:rPr lang="en-US" dirty="0"/>
              <a:t>Introduction</a:t>
            </a:r>
            <a:br>
              <a:rPr lang="en-US" dirty="0"/>
            </a:br>
            <a:r>
              <a:rPr lang="en-US" dirty="0"/>
              <a:t>Problem Statement</a:t>
            </a:r>
          </a:p>
        </p:txBody>
      </p:sp>
      <p:sp>
        <p:nvSpPr>
          <p:cNvPr id="50" name="Textfeld 49">
            <a:extLst>
              <a:ext uri="{FF2B5EF4-FFF2-40B4-BE49-F238E27FC236}">
                <a16:creationId xmlns:a16="http://schemas.microsoft.com/office/drawing/2014/main" id="{6719B432-3D49-DC61-DB10-C0ED04439BB4}"/>
              </a:ext>
            </a:extLst>
          </p:cNvPr>
          <p:cNvSpPr txBox="1"/>
          <p:nvPr/>
        </p:nvSpPr>
        <p:spPr>
          <a:xfrm>
            <a:off x="828000" y="881342"/>
            <a:ext cx="6912000" cy="707886"/>
          </a:xfrm>
          <a:prstGeom prst="rect">
            <a:avLst/>
          </a:prstGeom>
          <a:noFill/>
        </p:spPr>
        <p:txBody>
          <a:bodyPr wrap="square">
            <a:spAutoFit/>
          </a:bodyPr>
          <a:lstStyle/>
          <a:p>
            <a:pPr algn="ctr"/>
            <a:r>
              <a:rPr lang="en-US" sz="2000" b="1" i="0" dirty="0">
                <a:solidFill>
                  <a:srgbClr val="3264C8"/>
                </a:solidFill>
                <a:effectLst/>
                <a:latin typeface="+mj-lt"/>
              </a:rPr>
              <a:t>Spreadsheets are essential to business, </a:t>
            </a:r>
            <a:br>
              <a:rPr lang="en-US" sz="2000" b="1" i="0" dirty="0">
                <a:solidFill>
                  <a:srgbClr val="3264C8"/>
                </a:solidFill>
                <a:effectLst/>
                <a:latin typeface="+mj-lt"/>
              </a:rPr>
            </a:br>
            <a:r>
              <a:rPr lang="en-US" sz="2000" b="1" i="0" dirty="0">
                <a:solidFill>
                  <a:srgbClr val="3264C8"/>
                </a:solidFill>
                <a:effectLst/>
                <a:latin typeface="+mj-lt"/>
              </a:rPr>
              <a:t>but are a source of error, risk, and loss</a:t>
            </a:r>
          </a:p>
        </p:txBody>
      </p:sp>
      <p:sp>
        <p:nvSpPr>
          <p:cNvPr id="10" name="Rechteck 15">
            <a:extLst>
              <a:ext uri="{FF2B5EF4-FFF2-40B4-BE49-F238E27FC236}">
                <a16:creationId xmlns:a16="http://schemas.microsoft.com/office/drawing/2014/main" id="{843C5AC7-9B75-7643-AA21-E7204B97654B}"/>
              </a:ext>
            </a:extLst>
          </p:cNvPr>
          <p:cNvSpPr/>
          <p:nvPr/>
        </p:nvSpPr>
        <p:spPr>
          <a:xfrm>
            <a:off x="1108096" y="2029885"/>
            <a:ext cx="1620000" cy="91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050" b="1" dirty="0">
                <a:solidFill>
                  <a:schemeClr val="tx1"/>
                </a:solidFill>
              </a:rPr>
              <a:t> </a:t>
            </a:r>
            <a:r>
              <a:rPr lang="en-US" sz="1200" b="1" i="1" dirty="0">
                <a:solidFill>
                  <a:schemeClr val="tx1"/>
                </a:solidFill>
              </a:rPr>
              <a:t>Essential</a:t>
            </a:r>
            <a:endParaRPr lang="en-US" sz="1200" b="1" dirty="0">
              <a:solidFill>
                <a:schemeClr val="tx1"/>
              </a:solidFill>
            </a:endParaRPr>
          </a:p>
        </p:txBody>
      </p:sp>
      <p:sp>
        <p:nvSpPr>
          <p:cNvPr id="11" name="Rechteck 16">
            <a:extLst>
              <a:ext uri="{FF2B5EF4-FFF2-40B4-BE49-F238E27FC236}">
                <a16:creationId xmlns:a16="http://schemas.microsoft.com/office/drawing/2014/main" id="{EE851C1A-D279-9D48-820C-C1222D3C7928}"/>
              </a:ext>
            </a:extLst>
          </p:cNvPr>
          <p:cNvSpPr/>
          <p:nvPr/>
        </p:nvSpPr>
        <p:spPr>
          <a:xfrm>
            <a:off x="1108096" y="3331784"/>
            <a:ext cx="1620000" cy="96610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200" b="1" i="1" dirty="0">
                <a:solidFill>
                  <a:schemeClr val="tx1"/>
                </a:solidFill>
              </a:rPr>
              <a:t>Error Prone</a:t>
            </a:r>
            <a:endParaRPr lang="en-US" sz="1200" b="1" dirty="0">
              <a:solidFill>
                <a:schemeClr val="tx1"/>
              </a:solidFill>
            </a:endParaRPr>
          </a:p>
        </p:txBody>
      </p:sp>
      <p:sp>
        <p:nvSpPr>
          <p:cNvPr id="14" name="Rechteck 17">
            <a:extLst>
              <a:ext uri="{FF2B5EF4-FFF2-40B4-BE49-F238E27FC236}">
                <a16:creationId xmlns:a16="http://schemas.microsoft.com/office/drawing/2014/main" id="{22D2C9CB-424A-DB4E-B743-25BA01F8309F}"/>
              </a:ext>
            </a:extLst>
          </p:cNvPr>
          <p:cNvSpPr/>
          <p:nvPr/>
        </p:nvSpPr>
        <p:spPr>
          <a:xfrm>
            <a:off x="1108096" y="4621885"/>
            <a:ext cx="1620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200" b="1" i="1" dirty="0">
                <a:solidFill>
                  <a:schemeClr val="tx1"/>
                </a:solidFill>
              </a:rPr>
              <a:t>Errors are costly</a:t>
            </a:r>
            <a:endParaRPr lang="en-US" sz="1200" b="1" dirty="0">
              <a:solidFill>
                <a:schemeClr val="tx1"/>
              </a:solidFill>
            </a:endParaRPr>
          </a:p>
        </p:txBody>
      </p:sp>
      <p:sp>
        <p:nvSpPr>
          <p:cNvPr id="21" name="TextBox 3">
            <a:extLst>
              <a:ext uri="{FF2B5EF4-FFF2-40B4-BE49-F238E27FC236}">
                <a16:creationId xmlns:a16="http://schemas.microsoft.com/office/drawing/2014/main" id="{A76F511B-A827-1D43-93FD-1286B48412C1}"/>
              </a:ext>
            </a:extLst>
          </p:cNvPr>
          <p:cNvSpPr txBox="1"/>
          <p:nvPr/>
        </p:nvSpPr>
        <p:spPr>
          <a:xfrm>
            <a:off x="3276000" y="2133000"/>
            <a:ext cx="3952096" cy="646331"/>
          </a:xfrm>
          <a:prstGeom prst="rect">
            <a:avLst/>
          </a:prstGeom>
          <a:noFill/>
        </p:spPr>
        <p:txBody>
          <a:bodyPr wrap="square" rtlCol="0">
            <a:spAutoFit/>
          </a:bodyPr>
          <a:lstStyle/>
          <a:p>
            <a:r>
              <a:rPr lang="en-US" sz="1200" b="1" i="1" dirty="0">
                <a:solidFill>
                  <a:schemeClr val="tx1">
                    <a:lumMod val="75000"/>
                    <a:lumOff val="25000"/>
                  </a:schemeClr>
                </a:solidFill>
              </a:rPr>
              <a:t>Excel is the most common tool used in business and finance.  </a:t>
            </a:r>
            <a:r>
              <a:rPr lang="en-US" sz="1200" dirty="0">
                <a:solidFill>
                  <a:schemeClr val="tx1">
                    <a:lumMod val="75000"/>
                    <a:lumOff val="25000"/>
                  </a:schemeClr>
                </a:solidFill>
              </a:rPr>
              <a:t>According to of Microsoft, there are over </a:t>
            </a:r>
            <a:r>
              <a:rPr lang="en-US" sz="1200" b="1" i="1" dirty="0"/>
              <a:t>750 million Excel users worldwide</a:t>
            </a:r>
            <a:r>
              <a:rPr lang="en-US" sz="1200" dirty="0">
                <a:solidFill>
                  <a:schemeClr val="tx1">
                    <a:lumMod val="75000"/>
                    <a:lumOff val="25000"/>
                  </a:schemeClr>
                </a:solidFill>
              </a:rPr>
              <a:t> [1].</a:t>
            </a:r>
          </a:p>
        </p:txBody>
      </p:sp>
      <p:sp>
        <p:nvSpPr>
          <p:cNvPr id="22" name="TextBox 3">
            <a:extLst>
              <a:ext uri="{FF2B5EF4-FFF2-40B4-BE49-F238E27FC236}">
                <a16:creationId xmlns:a16="http://schemas.microsoft.com/office/drawing/2014/main" id="{5E4D2DE8-12C4-7F46-8DA1-19B2DB4D25CC}"/>
              </a:ext>
            </a:extLst>
          </p:cNvPr>
          <p:cNvSpPr txBox="1"/>
          <p:nvPr/>
        </p:nvSpPr>
        <p:spPr>
          <a:xfrm>
            <a:off x="3276000" y="3461719"/>
            <a:ext cx="3952096" cy="646331"/>
          </a:xfrm>
          <a:prstGeom prst="rect">
            <a:avLst/>
          </a:prstGeom>
          <a:noFill/>
        </p:spPr>
        <p:txBody>
          <a:bodyPr wrap="square" rtlCol="0">
            <a:spAutoFit/>
          </a:bodyPr>
          <a:lstStyle/>
          <a:p>
            <a:r>
              <a:rPr lang="en-US" sz="1200" dirty="0">
                <a:solidFill>
                  <a:schemeClr val="tx1">
                    <a:lumMod val="75000"/>
                    <a:lumOff val="25000"/>
                  </a:schemeClr>
                </a:solidFill>
              </a:rPr>
              <a:t>Studies show that </a:t>
            </a:r>
            <a:r>
              <a:rPr lang="en-US" sz="1200" b="1" i="1" dirty="0">
                <a:solidFill>
                  <a:schemeClr val="tx1">
                    <a:lumMod val="75000"/>
                    <a:lumOff val="25000"/>
                  </a:schemeClr>
                </a:solidFill>
              </a:rPr>
              <a:t>88% of corporate spreadsheets contain at least one - but most commonly multiple - material errors </a:t>
            </a:r>
            <a:r>
              <a:rPr lang="en-US" sz="1200" dirty="0">
                <a:solidFill>
                  <a:schemeClr val="tx1">
                    <a:lumMod val="75000"/>
                    <a:lumOff val="25000"/>
                  </a:schemeClr>
                </a:solidFill>
              </a:rPr>
              <a:t>[2, 3, 4, 5].</a:t>
            </a:r>
          </a:p>
        </p:txBody>
      </p:sp>
      <p:sp>
        <p:nvSpPr>
          <p:cNvPr id="23" name="TextBox 3">
            <a:extLst>
              <a:ext uri="{FF2B5EF4-FFF2-40B4-BE49-F238E27FC236}">
                <a16:creationId xmlns:a16="http://schemas.microsoft.com/office/drawing/2014/main" id="{C25F090E-8063-E24E-BBA8-4AF68DE8246F}"/>
              </a:ext>
            </a:extLst>
          </p:cNvPr>
          <p:cNvSpPr txBox="1"/>
          <p:nvPr/>
        </p:nvSpPr>
        <p:spPr>
          <a:xfrm>
            <a:off x="3276000" y="4797000"/>
            <a:ext cx="3952096" cy="646331"/>
          </a:xfrm>
          <a:prstGeom prst="rect">
            <a:avLst/>
          </a:prstGeom>
          <a:noFill/>
        </p:spPr>
        <p:txBody>
          <a:bodyPr wrap="square" rtlCol="0">
            <a:spAutoFit/>
          </a:bodyPr>
          <a:lstStyle/>
          <a:p>
            <a:r>
              <a:rPr lang="en-US" sz="1200" b="1" i="1" dirty="0">
                <a:solidFill>
                  <a:schemeClr val="tx1">
                    <a:lumMod val="75000"/>
                    <a:lumOff val="25000"/>
                  </a:schemeClr>
                </a:solidFill>
              </a:rPr>
              <a:t>$2.6 Billion:  </a:t>
            </a:r>
            <a:r>
              <a:rPr lang="en-US" sz="1200" dirty="0">
                <a:solidFill>
                  <a:schemeClr val="tx1">
                    <a:lumMod val="75000"/>
                    <a:lumOff val="25000"/>
                  </a:schemeClr>
                </a:solidFill>
              </a:rPr>
              <a:t>Fidelity Magellan Fund (minus sign error) </a:t>
            </a:r>
          </a:p>
          <a:p>
            <a:r>
              <a:rPr lang="en-US" sz="1200" b="1" i="1" dirty="0">
                <a:solidFill>
                  <a:schemeClr val="tx1">
                    <a:lumMod val="75000"/>
                    <a:lumOff val="25000"/>
                  </a:schemeClr>
                </a:solidFill>
              </a:rPr>
              <a:t>$1.1 Billion:  </a:t>
            </a:r>
            <a:r>
              <a:rPr lang="en-US" sz="1200" dirty="0">
                <a:solidFill>
                  <a:schemeClr val="tx1">
                    <a:lumMod val="75000"/>
                    <a:lumOff val="25000"/>
                  </a:schemeClr>
                </a:solidFill>
              </a:rPr>
              <a:t>Fannie Mae  (“honest mistake”)</a:t>
            </a:r>
          </a:p>
          <a:p>
            <a:r>
              <a:rPr lang="en-US" sz="1200" b="1" i="1" dirty="0">
                <a:solidFill>
                  <a:schemeClr val="tx1">
                    <a:lumMod val="75000"/>
                    <a:lumOff val="25000"/>
                  </a:schemeClr>
                </a:solidFill>
              </a:rPr>
              <a:t>$6.2 Billion: </a:t>
            </a:r>
            <a:r>
              <a:rPr lang="en-US" sz="1200" dirty="0">
                <a:solidFill>
                  <a:schemeClr val="tx1">
                    <a:lumMod val="75000"/>
                    <a:lumOff val="25000"/>
                  </a:schemeClr>
                </a:solidFill>
              </a:rPr>
              <a:t>JPMorgan Chase:  (copy-paste errors)</a:t>
            </a:r>
          </a:p>
        </p:txBody>
      </p:sp>
    </p:spTree>
    <p:extLst>
      <p:ext uri="{BB962C8B-B14F-4D97-AF65-F5344CB8AC3E}">
        <p14:creationId xmlns:p14="http://schemas.microsoft.com/office/powerpoint/2010/main" val="28730473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OR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407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9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6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51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54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8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51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53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8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9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6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51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53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53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407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nce this is a </a:t>
            </a:r>
            <a:r>
              <a:rPr lang="en-US" sz="1000" b="1" dirty="0">
                <a:solidFill>
                  <a:schemeClr val="tx1"/>
                </a:solidFill>
              </a:rPr>
              <a:t>copy </a:t>
            </a:r>
            <a:r>
              <a:rPr lang="en-US" sz="1000" dirty="0">
                <a:solidFill>
                  <a:schemeClr val="tx1"/>
                </a:solidFill>
              </a:rPr>
              <a:t>transaction, no changes have been made</a:t>
            </a:r>
          </a:p>
          <a:p>
            <a:r>
              <a:rPr lang="en-US" sz="1000" dirty="0">
                <a:solidFill>
                  <a:schemeClr val="tx1"/>
                </a:solidFill>
              </a:rPr>
              <a:t>in the source variable.</a:t>
            </a:r>
          </a:p>
        </p:txBody>
      </p:sp>
      <p:sp>
        <p:nvSpPr>
          <p:cNvPr id="38" name="Rechteck 37">
            <a:extLst>
              <a:ext uri="{FF2B5EF4-FFF2-40B4-BE49-F238E27FC236}">
                <a16:creationId xmlns:a16="http://schemas.microsoft.com/office/drawing/2014/main" id="{72EAD6F8-1624-41BD-8EAF-17886BDEA6B8}"/>
              </a:ext>
            </a:extLst>
          </p:cNvPr>
          <p:cNvSpPr/>
          <p:nvPr/>
        </p:nvSpPr>
        <p:spPr>
          <a:xfrm>
            <a:off x="118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39" name="Rechteck 38">
            <a:extLst>
              <a:ext uri="{FF2B5EF4-FFF2-40B4-BE49-F238E27FC236}">
                <a16:creationId xmlns:a16="http://schemas.microsoft.com/office/drawing/2014/main" id="{9898CCC8-75DB-43BE-84DA-56CAD9A5D602}"/>
              </a:ext>
            </a:extLst>
          </p:cNvPr>
          <p:cNvSpPr/>
          <p:nvPr/>
        </p:nvSpPr>
        <p:spPr>
          <a:xfrm>
            <a:off x="277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40" name="Rechteck 39">
            <a:extLst>
              <a:ext uri="{FF2B5EF4-FFF2-40B4-BE49-F238E27FC236}">
                <a16:creationId xmlns:a16="http://schemas.microsoft.com/office/drawing/2014/main" id="{BC12B43E-A72B-418F-96BD-3DD9A29D5EB8}"/>
              </a:ext>
            </a:extLst>
          </p:cNvPr>
          <p:cNvSpPr/>
          <p:nvPr/>
        </p:nvSpPr>
        <p:spPr>
          <a:xfrm>
            <a:off x="118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41" name="Rechteck 40">
            <a:extLst>
              <a:ext uri="{FF2B5EF4-FFF2-40B4-BE49-F238E27FC236}">
                <a16:creationId xmlns:a16="http://schemas.microsoft.com/office/drawing/2014/main" id="{BAAF167B-E87A-461C-93F2-1C34D3845CF3}"/>
              </a:ext>
            </a:extLst>
          </p:cNvPr>
          <p:cNvSpPr/>
          <p:nvPr/>
        </p:nvSpPr>
        <p:spPr>
          <a:xfrm>
            <a:off x="342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6" name="Pfeil: nach rechts 5">
            <a:extLst>
              <a:ext uri="{FF2B5EF4-FFF2-40B4-BE49-F238E27FC236}">
                <a16:creationId xmlns:a16="http://schemas.microsoft.com/office/drawing/2014/main" id="{46EEC013-9DB9-42E2-9B10-452C2A2D2B18}"/>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 name="Rechteck 6">
            <a:extLst>
              <a:ext uri="{FF2B5EF4-FFF2-40B4-BE49-F238E27FC236}">
                <a16:creationId xmlns:a16="http://schemas.microsoft.com/office/drawing/2014/main" id="{809EE9A5-BD86-4C70-840A-0344C9CA6F48}"/>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237" name="Rechteck 236">
            <a:extLst>
              <a:ext uri="{FF2B5EF4-FFF2-40B4-BE49-F238E27FC236}">
                <a16:creationId xmlns:a16="http://schemas.microsoft.com/office/drawing/2014/main" id="{50D3991C-8CA8-4D6A-9557-A3583CA3A634}"/>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87" name="Rechteck 86">
            <a:extLst>
              <a:ext uri="{FF2B5EF4-FFF2-40B4-BE49-F238E27FC236}">
                <a16:creationId xmlns:a16="http://schemas.microsoft.com/office/drawing/2014/main" id="{A0201389-B846-410F-9F00-81403D30BECC}"/>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88" name="Rechteck 87">
            <a:extLst>
              <a:ext uri="{FF2B5EF4-FFF2-40B4-BE49-F238E27FC236}">
                <a16:creationId xmlns:a16="http://schemas.microsoft.com/office/drawing/2014/main" id="{919D1448-97B8-490C-9D77-CA615A0B82EB}"/>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Tree>
    <p:extLst>
      <p:ext uri="{BB962C8B-B14F-4D97-AF65-F5344CB8AC3E}">
        <p14:creationId xmlns:p14="http://schemas.microsoft.com/office/powerpoint/2010/main" val="28592358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DD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35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357000"/>
            <a:ext cx="1224136" cy="180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bg1">
                    <a:lumMod val="75000"/>
                  </a:schemeClr>
                </a:solidFill>
              </a:rPr>
              <a:t>soccer </a:t>
            </a:r>
            <a:r>
              <a:rPr lang="en-US" sz="1000" dirty="0">
                <a:solidFill>
                  <a:schemeClr val="bg1">
                    <a:lumMod val="75000"/>
                  </a:schemeClr>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57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 without</a:t>
            </a:r>
          </a:p>
          <a:p>
            <a:r>
              <a:rPr lang="en-US" sz="1000" dirty="0">
                <a:solidFill>
                  <a:schemeClr val="tx1"/>
                </a:solidFill>
              </a:rPr>
              <a:t>the "^" suffix at the end.  In this case, the source variable</a:t>
            </a:r>
          </a:p>
          <a:p>
            <a:r>
              <a:rPr lang="en-US" sz="1000" dirty="0">
                <a:solidFill>
                  <a:schemeClr val="tx1"/>
                </a:solidFill>
              </a:rPr>
              <a:t>will be deleted entirely.</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79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 with his data </a:t>
            </a:r>
            <a:r>
              <a:rPr lang="en-US" sz="1000" dirty="0">
                <a:solidFill>
                  <a:schemeClr val="tx1"/>
                </a:solidFill>
              </a:rPr>
              <a:t>is added as a 12</a:t>
            </a:r>
            <a:r>
              <a:rPr lang="en-US" sz="1000" baseline="30000" dirty="0">
                <a:solidFill>
                  <a:schemeClr val="tx1"/>
                </a:solidFill>
              </a:rPr>
              <a:t>th</a:t>
            </a:r>
            <a:r>
              <a:rPr lang="en-US" sz="1000" dirty="0">
                <a:solidFill>
                  <a:schemeClr val="tx1"/>
                </a:solidFill>
              </a:rPr>
              <a:t> member [...11...] </a:t>
            </a:r>
          </a:p>
          <a:p>
            <a:r>
              <a:rPr lang="en-US" sz="1000" dirty="0">
                <a:solidFill>
                  <a:schemeClr val="tx1"/>
                </a:solidFill>
              </a:rPr>
              <a:t>to the team.  No existing data is overwritten.</a:t>
            </a:r>
          </a:p>
          <a:p>
            <a:r>
              <a:rPr lang="en-US" sz="1000" dirty="0">
                <a:solidFill>
                  <a:schemeClr val="tx1"/>
                </a:solidFill>
              </a:rPr>
              <a:t>Among the structure members, only the home base has been added.</a:t>
            </a:r>
          </a:p>
          <a:p>
            <a:r>
              <a:rPr lang="en-US" sz="1000" dirty="0">
                <a:solidFill>
                  <a:schemeClr val="tx1"/>
                </a:solidFill>
              </a:rPr>
              <a:t>Already existing data like the team name and trainer name</a:t>
            </a:r>
          </a:p>
          <a:p>
            <a:r>
              <a:rPr lang="en-US" sz="1000" dirty="0">
                <a:solidFill>
                  <a:schemeClr val="tx1"/>
                </a:solidFill>
              </a:rPr>
              <a:t>are not overwritten.</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06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Y. </a:t>
            </a:r>
            <a:r>
              <a:rPr lang="en-US" sz="1000" dirty="0" err="1">
                <a:solidFill>
                  <a:srgbClr val="FF0000"/>
                </a:solidFill>
              </a:rPr>
              <a:t>Yvesson</a:t>
            </a:r>
            <a:r>
              <a:rPr lang="en-US" sz="1000" dirty="0">
                <a:solidFill>
                  <a:srgbClr val="FF0000"/>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83" name="Rechteck 82">
            <a:extLst>
              <a:ext uri="{FF2B5EF4-FFF2-40B4-BE49-F238E27FC236}">
                <a16:creationId xmlns:a16="http://schemas.microsoft.com/office/drawing/2014/main" id="{23518389-1B4E-4821-B44D-83695D30A35B}"/>
              </a:ext>
            </a:extLst>
          </p:cNvPr>
          <p:cNvSpPr/>
          <p:nvPr/>
        </p:nvSpPr>
        <p:spPr>
          <a:xfrm>
            <a:off x="612000" y="3789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84" name="Rechteck 83">
            <a:extLst>
              <a:ext uri="{FF2B5EF4-FFF2-40B4-BE49-F238E27FC236}">
                <a16:creationId xmlns:a16="http://schemas.microsoft.com/office/drawing/2014/main" id="{623CA3CB-0D0B-4228-8240-77A3C05E138D}"/>
              </a:ext>
            </a:extLst>
          </p:cNvPr>
          <p:cNvSpPr/>
          <p:nvPr/>
        </p:nvSpPr>
        <p:spPr>
          <a:xfrm>
            <a:off x="828000" y="4005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85" name="Rechteck 84">
            <a:extLst>
              <a:ext uri="{FF2B5EF4-FFF2-40B4-BE49-F238E27FC236}">
                <a16:creationId xmlns:a16="http://schemas.microsoft.com/office/drawing/2014/main" id="{0194A367-6712-4801-9753-81326DE6169B}"/>
              </a:ext>
            </a:extLst>
          </p:cNvPr>
          <p:cNvSpPr/>
          <p:nvPr/>
        </p:nvSpPr>
        <p:spPr>
          <a:xfrm>
            <a:off x="828000" y="422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86" name="Rechteck 85">
            <a:extLst>
              <a:ext uri="{FF2B5EF4-FFF2-40B4-BE49-F238E27FC236}">
                <a16:creationId xmlns:a16="http://schemas.microsoft.com/office/drawing/2014/main" id="{42974AE3-2278-4A31-B797-C8653B93CC88}"/>
              </a:ext>
            </a:extLst>
          </p:cNvPr>
          <p:cNvSpPr/>
          <p:nvPr/>
        </p:nvSpPr>
        <p:spPr>
          <a:xfrm>
            <a:off x="828000" y="494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87" name="Rechteck 86">
            <a:extLst>
              <a:ext uri="{FF2B5EF4-FFF2-40B4-BE49-F238E27FC236}">
                <a16:creationId xmlns:a16="http://schemas.microsoft.com/office/drawing/2014/main" id="{E57521EA-0E4C-4C10-9649-F88F06C20345}"/>
              </a:ext>
            </a:extLst>
          </p:cNvPr>
          <p:cNvSpPr/>
          <p:nvPr/>
        </p:nvSpPr>
        <p:spPr>
          <a:xfrm>
            <a:off x="1260000" y="4437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88" name="Rechteck 87">
            <a:extLst>
              <a:ext uri="{FF2B5EF4-FFF2-40B4-BE49-F238E27FC236}">
                <a16:creationId xmlns:a16="http://schemas.microsoft.com/office/drawing/2014/main" id="{4F9582C3-37D9-40AB-8E6C-E274BA576EC6}"/>
              </a:ext>
            </a:extLst>
          </p:cNvPr>
          <p:cNvSpPr/>
          <p:nvPr/>
        </p:nvSpPr>
        <p:spPr>
          <a:xfrm>
            <a:off x="828000" y="4725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89" name="Rechteck 88">
            <a:extLst>
              <a:ext uri="{FF2B5EF4-FFF2-40B4-BE49-F238E27FC236}">
                <a16:creationId xmlns:a16="http://schemas.microsoft.com/office/drawing/2014/main" id="{FB7E20A0-1323-4417-9B72-548CB7245B0C}"/>
              </a:ext>
            </a:extLst>
          </p:cNvPr>
          <p:cNvSpPr/>
          <p:nvPr/>
        </p:nvSpPr>
        <p:spPr>
          <a:xfrm>
            <a:off x="612000" y="5805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90" name="Rechteck 89">
            <a:extLst>
              <a:ext uri="{FF2B5EF4-FFF2-40B4-BE49-F238E27FC236}">
                <a16:creationId xmlns:a16="http://schemas.microsoft.com/office/drawing/2014/main" id="{66FDE971-50DD-466D-8FB6-B3F3BB7CC4B3}"/>
              </a:ext>
            </a:extLst>
          </p:cNvPr>
          <p:cNvSpPr/>
          <p:nvPr/>
        </p:nvSpPr>
        <p:spPr>
          <a:xfrm>
            <a:off x="828000" y="4437227"/>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1" name="Rechteck 90">
            <a:extLst>
              <a:ext uri="{FF2B5EF4-FFF2-40B4-BE49-F238E27FC236}">
                <a16:creationId xmlns:a16="http://schemas.microsoft.com/office/drawing/2014/main" id="{502E549E-62C8-4BD2-8AD2-8D9C3546C82A}"/>
              </a:ext>
            </a:extLst>
          </p:cNvPr>
          <p:cNvSpPr/>
          <p:nvPr/>
        </p:nvSpPr>
        <p:spPr>
          <a:xfrm>
            <a:off x="828000" y="4581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2" name="Rechteck 91">
            <a:extLst>
              <a:ext uri="{FF2B5EF4-FFF2-40B4-BE49-F238E27FC236}">
                <a16:creationId xmlns:a16="http://schemas.microsoft.com/office/drawing/2014/main" id="{BAA4EFB0-7FCF-4536-BDD4-51241CFF25B0}"/>
              </a:ext>
            </a:extLst>
          </p:cNvPr>
          <p:cNvSpPr/>
          <p:nvPr/>
        </p:nvSpPr>
        <p:spPr>
          <a:xfrm>
            <a:off x="2196000" y="5805251"/>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93" name="Rechteck 92">
            <a:extLst>
              <a:ext uri="{FF2B5EF4-FFF2-40B4-BE49-F238E27FC236}">
                <a16:creationId xmlns:a16="http://schemas.microsoft.com/office/drawing/2014/main" id="{02A8C5BE-D6A3-4354-BE62-9C1AD5394AA2}"/>
              </a:ext>
            </a:extLst>
          </p:cNvPr>
          <p:cNvSpPr/>
          <p:nvPr/>
        </p:nvSpPr>
        <p:spPr>
          <a:xfrm>
            <a:off x="2412000" y="4005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94" name="Rechteck 93">
            <a:extLst>
              <a:ext uri="{FF2B5EF4-FFF2-40B4-BE49-F238E27FC236}">
                <a16:creationId xmlns:a16="http://schemas.microsoft.com/office/drawing/2014/main" id="{1578314F-91CA-47C0-904E-89DEADBCF6A0}"/>
              </a:ext>
            </a:extLst>
          </p:cNvPr>
          <p:cNvSpPr/>
          <p:nvPr/>
        </p:nvSpPr>
        <p:spPr>
          <a:xfrm>
            <a:off x="2412000" y="422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95" name="Rechteck 94">
            <a:extLst>
              <a:ext uri="{FF2B5EF4-FFF2-40B4-BE49-F238E27FC236}">
                <a16:creationId xmlns:a16="http://schemas.microsoft.com/office/drawing/2014/main" id="{1A09B0FD-4BC4-48F1-961E-AED856EB41CC}"/>
              </a:ext>
            </a:extLst>
          </p:cNvPr>
          <p:cNvSpPr/>
          <p:nvPr/>
        </p:nvSpPr>
        <p:spPr>
          <a:xfrm>
            <a:off x="2412000" y="494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96" name="Rechteck 95">
            <a:extLst>
              <a:ext uri="{FF2B5EF4-FFF2-40B4-BE49-F238E27FC236}">
                <a16:creationId xmlns:a16="http://schemas.microsoft.com/office/drawing/2014/main" id="{6E955FB6-3A05-4E1E-B28A-4F34B40D5E20}"/>
              </a:ext>
            </a:extLst>
          </p:cNvPr>
          <p:cNvSpPr/>
          <p:nvPr/>
        </p:nvSpPr>
        <p:spPr>
          <a:xfrm>
            <a:off x="2844000" y="4437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7" name="Rechteck 96">
            <a:extLst>
              <a:ext uri="{FF2B5EF4-FFF2-40B4-BE49-F238E27FC236}">
                <a16:creationId xmlns:a16="http://schemas.microsoft.com/office/drawing/2014/main" id="{95F8E37D-628D-4CF3-9B70-E370493FCFA8}"/>
              </a:ext>
            </a:extLst>
          </p:cNvPr>
          <p:cNvSpPr/>
          <p:nvPr/>
        </p:nvSpPr>
        <p:spPr>
          <a:xfrm>
            <a:off x="1260000" y="4653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98" name="Rechteck 97">
            <a:extLst>
              <a:ext uri="{FF2B5EF4-FFF2-40B4-BE49-F238E27FC236}">
                <a16:creationId xmlns:a16="http://schemas.microsoft.com/office/drawing/2014/main" id="{06EF1578-0572-4263-9882-9A3B6444FFAD}"/>
              </a:ext>
            </a:extLst>
          </p:cNvPr>
          <p:cNvSpPr/>
          <p:nvPr/>
        </p:nvSpPr>
        <p:spPr>
          <a:xfrm>
            <a:off x="3492000" y="4653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99" name="Rechteck 98">
            <a:extLst>
              <a:ext uri="{FF2B5EF4-FFF2-40B4-BE49-F238E27FC236}">
                <a16:creationId xmlns:a16="http://schemas.microsoft.com/office/drawing/2014/main" id="{8F85E22C-A35F-4C86-AA53-CF1D916D1EA9}"/>
              </a:ext>
            </a:extLst>
          </p:cNvPr>
          <p:cNvSpPr/>
          <p:nvPr/>
        </p:nvSpPr>
        <p:spPr>
          <a:xfrm>
            <a:off x="1836000" y="3789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0" name="Rechteck 99">
            <a:extLst>
              <a:ext uri="{FF2B5EF4-FFF2-40B4-BE49-F238E27FC236}">
                <a16:creationId xmlns:a16="http://schemas.microsoft.com/office/drawing/2014/main" id="{FC245806-B67B-41A7-856B-98221E7B1085}"/>
              </a:ext>
            </a:extLst>
          </p:cNvPr>
          <p:cNvSpPr/>
          <p:nvPr/>
        </p:nvSpPr>
        <p:spPr>
          <a:xfrm>
            <a:off x="1260000" y="5373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role ]</a:t>
            </a:r>
          </a:p>
        </p:txBody>
      </p:sp>
      <p:sp>
        <p:nvSpPr>
          <p:cNvPr id="101" name="Rechteck 100">
            <a:extLst>
              <a:ext uri="{FF2B5EF4-FFF2-40B4-BE49-F238E27FC236}">
                <a16:creationId xmlns:a16="http://schemas.microsoft.com/office/drawing/2014/main" id="{5EA881E4-0A7F-4C1C-8B05-21A9D20E14BE}"/>
              </a:ext>
            </a:extLst>
          </p:cNvPr>
          <p:cNvSpPr/>
          <p:nvPr/>
        </p:nvSpPr>
        <p:spPr>
          <a:xfrm>
            <a:off x="2844000" y="5373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102" name="Rechteck 101">
            <a:extLst>
              <a:ext uri="{FF2B5EF4-FFF2-40B4-BE49-F238E27FC236}">
                <a16:creationId xmlns:a16="http://schemas.microsoft.com/office/drawing/2014/main" id="{AD5B0692-F038-45D4-A591-709189379D3B}"/>
              </a:ext>
            </a:extLst>
          </p:cNvPr>
          <p:cNvSpPr/>
          <p:nvPr/>
        </p:nvSpPr>
        <p:spPr>
          <a:xfrm>
            <a:off x="1260000" y="5589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goals achieved ]</a:t>
            </a:r>
          </a:p>
        </p:txBody>
      </p:sp>
      <p:sp>
        <p:nvSpPr>
          <p:cNvPr id="103" name="Rechteck 102">
            <a:extLst>
              <a:ext uri="{FF2B5EF4-FFF2-40B4-BE49-F238E27FC236}">
                <a16:creationId xmlns:a16="http://schemas.microsoft.com/office/drawing/2014/main" id="{50D985B2-5E4D-4239-A742-FE25D7EE14D4}"/>
              </a:ext>
            </a:extLst>
          </p:cNvPr>
          <p:cNvSpPr/>
          <p:nvPr/>
        </p:nvSpPr>
        <p:spPr>
          <a:xfrm>
            <a:off x="3492000" y="5589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04" name="Rechteck 103">
            <a:extLst>
              <a:ext uri="{FF2B5EF4-FFF2-40B4-BE49-F238E27FC236}">
                <a16:creationId xmlns:a16="http://schemas.microsoft.com/office/drawing/2014/main" id="{B48E06D4-FD5D-4869-834B-E2F47E14CF2B}"/>
              </a:ext>
            </a:extLst>
          </p:cNvPr>
          <p:cNvSpPr/>
          <p:nvPr/>
        </p:nvSpPr>
        <p:spPr>
          <a:xfrm>
            <a:off x="828000" y="5157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1 ]</a:t>
            </a:r>
          </a:p>
        </p:txBody>
      </p:sp>
      <p:sp>
        <p:nvSpPr>
          <p:cNvPr id="105" name="Rechteck 104">
            <a:extLst>
              <a:ext uri="{FF2B5EF4-FFF2-40B4-BE49-F238E27FC236}">
                <a16:creationId xmlns:a16="http://schemas.microsoft.com/office/drawing/2014/main" id="{2FC267B5-6023-4509-893C-CBB8864D8EDF}"/>
              </a:ext>
            </a:extLst>
          </p:cNvPr>
          <p:cNvSpPr/>
          <p:nvPr/>
        </p:nvSpPr>
        <p:spPr>
          <a:xfrm>
            <a:off x="2412000" y="5157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06" name="Rechteck 105">
            <a:extLst>
              <a:ext uri="{FF2B5EF4-FFF2-40B4-BE49-F238E27FC236}">
                <a16:creationId xmlns:a16="http://schemas.microsoft.com/office/drawing/2014/main" id="{332DB434-0A36-4C08-AC33-5268E5B752AD}"/>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107" name="Rechteck 106">
            <a:extLst>
              <a:ext uri="{FF2B5EF4-FFF2-40B4-BE49-F238E27FC236}">
                <a16:creationId xmlns:a16="http://schemas.microsoft.com/office/drawing/2014/main" id="{544F88C6-975A-45A1-926A-2C352898C027}"/>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108" name="Rechteck 107">
            <a:extLst>
              <a:ext uri="{FF2B5EF4-FFF2-40B4-BE49-F238E27FC236}">
                <a16:creationId xmlns:a16="http://schemas.microsoft.com/office/drawing/2014/main" id="{692BA97F-87C8-444E-BE91-4692D7D6371A}"/>
              </a:ext>
            </a:extLst>
          </p:cNvPr>
          <p:cNvSpPr/>
          <p:nvPr/>
        </p:nvSpPr>
        <p:spPr>
          <a:xfrm>
            <a:off x="612000" y="3573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109" name="Rechteck 108">
            <a:extLst>
              <a:ext uri="{FF2B5EF4-FFF2-40B4-BE49-F238E27FC236}">
                <a16:creationId xmlns:a16="http://schemas.microsoft.com/office/drawing/2014/main" id="{AE709798-37FB-4A96-9D12-2B05DB8A6FD9}"/>
              </a:ext>
            </a:extLst>
          </p:cNvPr>
          <p:cNvSpPr/>
          <p:nvPr/>
        </p:nvSpPr>
        <p:spPr>
          <a:xfrm>
            <a:off x="1836000" y="3573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
        <p:nvSpPr>
          <p:cNvPr id="7" name="Rechteck 6">
            <a:extLst>
              <a:ext uri="{FF2B5EF4-FFF2-40B4-BE49-F238E27FC236}">
                <a16:creationId xmlns:a16="http://schemas.microsoft.com/office/drawing/2014/main" id="{5F55940E-B691-48D4-859C-951A105A9BFF}"/>
              </a:ext>
            </a:extLst>
          </p:cNvPr>
          <p:cNvSpPr/>
          <p:nvPr/>
        </p:nvSpPr>
        <p:spPr>
          <a:xfrm>
            <a:off x="396000" y="2997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lt;= soccer club[];</a:t>
            </a:r>
          </a:p>
        </p:txBody>
      </p:sp>
      <p:sp>
        <p:nvSpPr>
          <p:cNvPr id="237" name="Pfeil: nach rechts 236">
            <a:extLst>
              <a:ext uri="{FF2B5EF4-FFF2-40B4-BE49-F238E27FC236}">
                <a16:creationId xmlns:a16="http://schemas.microsoft.com/office/drawing/2014/main" id="{3CD111CF-04F6-42CD-A1C2-B02A5D307DB2}"/>
              </a:ext>
            </a:extLst>
          </p:cNvPr>
          <p:cNvSpPr/>
          <p:nvPr/>
        </p:nvSpPr>
        <p:spPr>
          <a:xfrm rot="16200000" flipH="1">
            <a:off x="3708000" y="2277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Tree>
    <p:extLst>
      <p:ext uri="{BB962C8B-B14F-4D97-AF65-F5344CB8AC3E}">
        <p14:creationId xmlns:p14="http://schemas.microsoft.com/office/powerpoint/2010/main" val="40262129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Example 1 and 2</a:t>
            </a:r>
          </a:p>
        </p:txBody>
      </p:sp>
      <p:sp>
        <p:nvSpPr>
          <p:cNvPr id="4" name="Textplatzhalter 3"/>
          <p:cNvSpPr>
            <a:spLocks noGrp="1"/>
          </p:cNvSpPr>
          <p:nvPr>
            <p:ph type="body" sz="quarter" idx="16"/>
          </p:nvPr>
        </p:nvSpPr>
        <p:spPr/>
        <p:txBody>
          <a:bodyPr/>
          <a:lstStyle/>
          <a:p>
            <a:endParaRPr lang="en-US" dirty="0"/>
          </a:p>
        </p:txBody>
      </p:sp>
      <p:sp>
        <p:nvSpPr>
          <p:cNvPr id="119" name="Rechteck 118"/>
          <p:cNvSpPr/>
          <p:nvPr/>
        </p:nvSpPr>
        <p:spPr>
          <a:xfrm>
            <a:off x="180000" y="1197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 Hello;</a:t>
            </a:r>
          </a:p>
        </p:txBody>
      </p:sp>
      <p:sp>
        <p:nvSpPr>
          <p:cNvPr id="120" name="Rechteck 119"/>
          <p:cNvSpPr/>
          <p:nvPr/>
        </p:nvSpPr>
        <p:spPr>
          <a:xfrm>
            <a:off x="1332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1" name="Rechteck 120"/>
          <p:cNvSpPr/>
          <p:nvPr/>
        </p:nvSpPr>
        <p:spPr>
          <a:xfrm>
            <a:off x="1332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2" name="Rechteck 121"/>
          <p:cNvSpPr/>
          <p:nvPr/>
        </p:nvSpPr>
        <p:spPr>
          <a:xfrm>
            <a:off x="1980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23" name="Rechteck 122"/>
          <p:cNvSpPr/>
          <p:nvPr/>
        </p:nvSpPr>
        <p:spPr>
          <a:xfrm>
            <a:off x="1980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 </a:t>
            </a:r>
            <a:r>
              <a:rPr lang="en-US" sz="1000" dirty="0">
                <a:solidFill>
                  <a:schemeClr val="tx1"/>
                </a:solidFill>
                <a:sym typeface="Wingdings" panose="05000000000000000000" pitchFamily="2" charset="2"/>
              </a:rPr>
              <a:t> Hi  He</a:t>
            </a:r>
            <a:endParaRPr lang="en-US" sz="1000" dirty="0">
              <a:solidFill>
                <a:schemeClr val="tx1"/>
              </a:solidFill>
            </a:endParaRPr>
          </a:p>
        </p:txBody>
      </p:sp>
      <p:sp>
        <p:nvSpPr>
          <p:cNvPr id="124" name="Rechteck 123"/>
          <p:cNvSpPr/>
          <p:nvPr/>
        </p:nvSpPr>
        <p:spPr>
          <a:xfrm>
            <a:off x="1332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5" name="Rechteck 124"/>
          <p:cNvSpPr/>
          <p:nvPr/>
        </p:nvSpPr>
        <p:spPr>
          <a:xfrm>
            <a:off x="1980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32" name="Rechteck 131"/>
          <p:cNvSpPr/>
          <p:nvPr/>
        </p:nvSpPr>
        <p:spPr>
          <a:xfrm>
            <a:off x="1332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3" name="Rechteck 132"/>
          <p:cNvSpPr/>
          <p:nvPr/>
        </p:nvSpPr>
        <p:spPr>
          <a:xfrm>
            <a:off x="1980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72" name="Rechteck 171"/>
          <p:cNvSpPr/>
          <p:nvPr/>
        </p:nvSpPr>
        <p:spPr>
          <a:xfrm>
            <a:off x="1332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73" name="Rechteck 172"/>
          <p:cNvSpPr/>
          <p:nvPr/>
        </p:nvSpPr>
        <p:spPr>
          <a:xfrm>
            <a:off x="1332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76" name="Rechteck 175"/>
          <p:cNvSpPr/>
          <p:nvPr/>
        </p:nvSpPr>
        <p:spPr>
          <a:xfrm>
            <a:off x="1332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77" name="Rechteck 176"/>
          <p:cNvSpPr/>
          <p:nvPr/>
        </p:nvSpPr>
        <p:spPr>
          <a:xfrm>
            <a:off x="1980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79" name="Rechteck 178"/>
          <p:cNvSpPr/>
          <p:nvPr/>
        </p:nvSpPr>
        <p:spPr>
          <a:xfrm>
            <a:off x="180000" y="2565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 ];</a:t>
            </a:r>
          </a:p>
        </p:txBody>
      </p:sp>
      <p:sp>
        <p:nvSpPr>
          <p:cNvPr id="180" name="Rechteck 179"/>
          <p:cNvSpPr/>
          <p:nvPr/>
        </p:nvSpPr>
        <p:spPr>
          <a:xfrm>
            <a:off x="1332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81" name="Rechteck 180"/>
          <p:cNvSpPr/>
          <p:nvPr/>
        </p:nvSpPr>
        <p:spPr>
          <a:xfrm>
            <a:off x="1980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 name="Freihandform 6"/>
          <p:cNvSpPr/>
          <p:nvPr/>
        </p:nvSpPr>
        <p:spPr>
          <a:xfrm>
            <a:off x="605745" y="1436025"/>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8" name="Rechteck 127"/>
          <p:cNvSpPr/>
          <p:nvPr/>
        </p:nvSpPr>
        <p:spPr>
          <a:xfrm>
            <a:off x="1332128" y="393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9" name="Rechteck 128"/>
          <p:cNvSpPr/>
          <p:nvPr/>
        </p:nvSpPr>
        <p:spPr>
          <a:xfrm>
            <a:off x="1332128" y="414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2" name="Rechteck 141"/>
          <p:cNvSpPr/>
          <p:nvPr/>
        </p:nvSpPr>
        <p:spPr>
          <a:xfrm>
            <a:off x="1980200" y="3933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43" name="Rechteck 142"/>
          <p:cNvSpPr/>
          <p:nvPr/>
        </p:nvSpPr>
        <p:spPr>
          <a:xfrm>
            <a:off x="1980200" y="4149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144" name="Rechteck 143"/>
          <p:cNvSpPr/>
          <p:nvPr/>
        </p:nvSpPr>
        <p:spPr>
          <a:xfrm>
            <a:off x="1332128" y="371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5" name="Rechteck 144"/>
          <p:cNvSpPr/>
          <p:nvPr/>
        </p:nvSpPr>
        <p:spPr>
          <a:xfrm>
            <a:off x="1980200" y="371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46" name="Rechteck 145"/>
          <p:cNvSpPr/>
          <p:nvPr/>
        </p:nvSpPr>
        <p:spPr>
          <a:xfrm>
            <a:off x="1332128" y="436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47" name="Rechteck 146"/>
          <p:cNvSpPr/>
          <p:nvPr/>
        </p:nvSpPr>
        <p:spPr>
          <a:xfrm>
            <a:off x="1980200" y="4365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48" name="Rechteck 147"/>
          <p:cNvSpPr/>
          <p:nvPr/>
        </p:nvSpPr>
        <p:spPr>
          <a:xfrm>
            <a:off x="1332128" y="51571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9" name="Rechteck 148"/>
          <p:cNvSpPr/>
          <p:nvPr/>
        </p:nvSpPr>
        <p:spPr>
          <a:xfrm>
            <a:off x="1332128" y="53731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0" name="Rechteck 149"/>
          <p:cNvSpPr/>
          <p:nvPr/>
        </p:nvSpPr>
        <p:spPr>
          <a:xfrm>
            <a:off x="1332128" y="49411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51" name="Rechteck 150"/>
          <p:cNvSpPr/>
          <p:nvPr/>
        </p:nvSpPr>
        <p:spPr>
          <a:xfrm>
            <a:off x="1980200" y="49411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53" name="Rechteck 152"/>
          <p:cNvSpPr/>
          <p:nvPr/>
        </p:nvSpPr>
        <p:spPr>
          <a:xfrm>
            <a:off x="1332128" y="55891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4" name="Rechteck 153"/>
          <p:cNvSpPr/>
          <p:nvPr/>
        </p:nvSpPr>
        <p:spPr>
          <a:xfrm>
            <a:off x="1980200" y="5157104"/>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5" name="Freihandform 154"/>
          <p:cNvSpPr/>
          <p:nvPr/>
        </p:nvSpPr>
        <p:spPr>
          <a:xfrm>
            <a:off x="605745" y="4028129"/>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56" name="Rechteck 155"/>
          <p:cNvSpPr/>
          <p:nvPr/>
        </p:nvSpPr>
        <p:spPr>
          <a:xfrm>
            <a:off x="180000" y="51571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b] =Ho;</a:t>
            </a:r>
          </a:p>
        </p:txBody>
      </p:sp>
      <p:sp>
        <p:nvSpPr>
          <p:cNvPr id="157" name="Rechteck 156"/>
          <p:cNvSpPr/>
          <p:nvPr/>
        </p:nvSpPr>
        <p:spPr>
          <a:xfrm>
            <a:off x="3852080" y="39332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58" name="Rechteck 157"/>
          <p:cNvSpPr/>
          <p:nvPr/>
        </p:nvSpPr>
        <p:spPr>
          <a:xfrm>
            <a:off x="3852080" y="41492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9" name="Rechteck 158"/>
          <p:cNvSpPr/>
          <p:nvPr/>
        </p:nvSpPr>
        <p:spPr>
          <a:xfrm>
            <a:off x="4500152" y="39332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60" name="Rechteck 159"/>
          <p:cNvSpPr/>
          <p:nvPr/>
        </p:nvSpPr>
        <p:spPr>
          <a:xfrm>
            <a:off x="4500152" y="41492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161" name="Rechteck 160"/>
          <p:cNvSpPr/>
          <p:nvPr/>
        </p:nvSpPr>
        <p:spPr>
          <a:xfrm>
            <a:off x="3852080" y="37172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202" name="Rechteck 201"/>
          <p:cNvSpPr/>
          <p:nvPr/>
        </p:nvSpPr>
        <p:spPr>
          <a:xfrm>
            <a:off x="4500152" y="37172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203" name="Rechteck 202"/>
          <p:cNvSpPr/>
          <p:nvPr/>
        </p:nvSpPr>
        <p:spPr>
          <a:xfrm>
            <a:off x="3852080" y="43652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204" name="Rechteck 203"/>
          <p:cNvSpPr/>
          <p:nvPr/>
        </p:nvSpPr>
        <p:spPr>
          <a:xfrm>
            <a:off x="4500152" y="43652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205" name="Freihandform 204"/>
          <p:cNvSpPr/>
          <p:nvPr/>
        </p:nvSpPr>
        <p:spPr>
          <a:xfrm>
            <a:off x="3132000" y="4005232"/>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Rechteck 47">
            <a:extLst>
              <a:ext uri="{FF2B5EF4-FFF2-40B4-BE49-F238E27FC236}">
                <a16:creationId xmlns:a16="http://schemas.microsoft.com/office/drawing/2014/main" id="{4BEB5625-1FC5-415E-A1A3-A0F6645B62AF}"/>
              </a:ext>
            </a:extLst>
          </p:cNvPr>
          <p:cNvSpPr/>
          <p:nvPr/>
        </p:nvSpPr>
        <p:spPr>
          <a:xfrm>
            <a:off x="3851928" y="486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A5A2D356-71E3-4B21-8A24-B941E13B5577}"/>
              </a:ext>
            </a:extLst>
          </p:cNvPr>
          <p:cNvSpPr/>
          <p:nvPr/>
        </p:nvSpPr>
        <p:spPr>
          <a:xfrm>
            <a:off x="3851928" y="508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2C81D414-2BB4-4B9E-B68C-43BF1DC1D658}"/>
              </a:ext>
            </a:extLst>
          </p:cNvPr>
          <p:cNvSpPr/>
          <p:nvPr/>
        </p:nvSpPr>
        <p:spPr>
          <a:xfrm>
            <a:off x="4500000" y="4869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1" name="Rechteck 50">
            <a:extLst>
              <a:ext uri="{FF2B5EF4-FFF2-40B4-BE49-F238E27FC236}">
                <a16:creationId xmlns:a16="http://schemas.microsoft.com/office/drawing/2014/main" id="{AC1FE43A-01CC-4C69-9223-2F189D552A2B}"/>
              </a:ext>
            </a:extLst>
          </p:cNvPr>
          <p:cNvSpPr/>
          <p:nvPr/>
        </p:nvSpPr>
        <p:spPr>
          <a:xfrm>
            <a:off x="4500000" y="5085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52" name="Rechteck 51">
            <a:extLst>
              <a:ext uri="{FF2B5EF4-FFF2-40B4-BE49-F238E27FC236}">
                <a16:creationId xmlns:a16="http://schemas.microsoft.com/office/drawing/2014/main" id="{1BDACFD0-D257-4CB9-937E-EDC0D3822E11}"/>
              </a:ext>
            </a:extLst>
          </p:cNvPr>
          <p:cNvSpPr/>
          <p:nvPr/>
        </p:nvSpPr>
        <p:spPr>
          <a:xfrm>
            <a:off x="3851928" y="465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3" name="Rechteck 52">
            <a:extLst>
              <a:ext uri="{FF2B5EF4-FFF2-40B4-BE49-F238E27FC236}">
                <a16:creationId xmlns:a16="http://schemas.microsoft.com/office/drawing/2014/main" id="{828FFD36-8069-4F5E-BC22-3E2A4A73984F}"/>
              </a:ext>
            </a:extLst>
          </p:cNvPr>
          <p:cNvSpPr/>
          <p:nvPr/>
        </p:nvSpPr>
        <p:spPr>
          <a:xfrm>
            <a:off x="4500000" y="465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54" name="Rechteck 53">
            <a:extLst>
              <a:ext uri="{FF2B5EF4-FFF2-40B4-BE49-F238E27FC236}">
                <a16:creationId xmlns:a16="http://schemas.microsoft.com/office/drawing/2014/main" id="{C685A3C9-1860-4BBF-94C9-9AC0178F5108}"/>
              </a:ext>
            </a:extLst>
          </p:cNvPr>
          <p:cNvSpPr/>
          <p:nvPr/>
        </p:nvSpPr>
        <p:spPr>
          <a:xfrm>
            <a:off x="3851928" y="530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5" name="Rechteck 54">
            <a:extLst>
              <a:ext uri="{FF2B5EF4-FFF2-40B4-BE49-F238E27FC236}">
                <a16:creationId xmlns:a16="http://schemas.microsoft.com/office/drawing/2014/main" id="{A7BB2A1E-830A-476D-96CB-91A64E5B934C}"/>
              </a:ext>
            </a:extLst>
          </p:cNvPr>
          <p:cNvSpPr/>
          <p:nvPr/>
        </p:nvSpPr>
        <p:spPr>
          <a:xfrm>
            <a:off x="4500000" y="5301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56" name="Rechteck 55">
            <a:extLst>
              <a:ext uri="{FF2B5EF4-FFF2-40B4-BE49-F238E27FC236}">
                <a16:creationId xmlns:a16="http://schemas.microsoft.com/office/drawing/2014/main" id="{23E557CA-FAFC-4786-ABE6-C033970F5150}"/>
              </a:ext>
            </a:extLst>
          </p:cNvPr>
          <p:cNvSpPr/>
          <p:nvPr/>
        </p:nvSpPr>
        <p:spPr>
          <a:xfrm>
            <a:off x="180000" y="53729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ref1</a:t>
            </a:r>
            <a:r>
              <a:rPr lang="en-US" sz="1000" dirty="0">
                <a:solidFill>
                  <a:schemeClr val="tx1"/>
                </a:solidFill>
              </a:rPr>
              <a:t>[c] =Ho;</a:t>
            </a:r>
          </a:p>
        </p:txBody>
      </p:sp>
      <p:sp>
        <p:nvSpPr>
          <p:cNvPr id="58" name="Freihandform 204">
            <a:extLst>
              <a:ext uri="{FF2B5EF4-FFF2-40B4-BE49-F238E27FC236}">
                <a16:creationId xmlns:a16="http://schemas.microsoft.com/office/drawing/2014/main" id="{B08A7C39-96CF-4935-8D92-BAB8C196A127}"/>
              </a:ext>
            </a:extLst>
          </p:cNvPr>
          <p:cNvSpPr/>
          <p:nvPr/>
        </p:nvSpPr>
        <p:spPr>
          <a:xfrm flipV="1">
            <a:off x="3132000" y="450900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4225311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Redirecting and Releasing Referenc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7" name="Freihandform 66"/>
          <p:cNvSpPr/>
          <p:nvPr/>
        </p:nvSpPr>
        <p:spPr>
          <a:xfrm>
            <a:off x="821744" y="1436025"/>
            <a:ext cx="2904759"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1042988"/>
                  <a:pt x="2680742" y="917575"/>
                </a:cubicBezTo>
                <a:cubicBezTo>
                  <a:pt x="2277517" y="7921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8" name="Rechteck 77"/>
          <p:cNvSpPr/>
          <p:nvPr/>
        </p:nvSpPr>
        <p:spPr>
          <a:xfrm>
            <a:off x="1836000" y="2061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79" name="Freihandform 78"/>
          <p:cNvSpPr/>
          <p:nvPr/>
        </p:nvSpPr>
        <p:spPr>
          <a:xfrm>
            <a:off x="3348000" y="1485000"/>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echteck 31"/>
          <p:cNvSpPr/>
          <p:nvPr/>
        </p:nvSpPr>
        <p:spPr>
          <a:xfrm>
            <a:off x="1548128" y="41487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33" name="Rechteck 32"/>
          <p:cNvSpPr/>
          <p:nvPr/>
        </p:nvSpPr>
        <p:spPr>
          <a:xfrm>
            <a:off x="1548128" y="43647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34" name="Rechteck 33"/>
          <p:cNvSpPr/>
          <p:nvPr/>
        </p:nvSpPr>
        <p:spPr>
          <a:xfrm>
            <a:off x="2196200" y="41487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35" name="Rechteck 34"/>
          <p:cNvSpPr/>
          <p:nvPr/>
        </p:nvSpPr>
        <p:spPr>
          <a:xfrm>
            <a:off x="2196200" y="43647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36" name="Rechteck 35"/>
          <p:cNvSpPr/>
          <p:nvPr/>
        </p:nvSpPr>
        <p:spPr>
          <a:xfrm>
            <a:off x="1548128" y="3932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37" name="Rechteck 36"/>
          <p:cNvSpPr/>
          <p:nvPr/>
        </p:nvSpPr>
        <p:spPr>
          <a:xfrm>
            <a:off x="2196200" y="3932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38" name="Rechteck 37"/>
          <p:cNvSpPr/>
          <p:nvPr/>
        </p:nvSpPr>
        <p:spPr>
          <a:xfrm>
            <a:off x="1548128" y="45807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9" name="Rechteck 38"/>
          <p:cNvSpPr/>
          <p:nvPr/>
        </p:nvSpPr>
        <p:spPr>
          <a:xfrm>
            <a:off x="2196200" y="45807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40" name="Rechteck 39"/>
          <p:cNvSpPr/>
          <p:nvPr/>
        </p:nvSpPr>
        <p:spPr>
          <a:xfrm>
            <a:off x="1548128" y="5372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1" name="Rechteck 40"/>
          <p:cNvSpPr/>
          <p:nvPr/>
        </p:nvSpPr>
        <p:spPr>
          <a:xfrm>
            <a:off x="1548128" y="5588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42" name="Rechteck 41"/>
          <p:cNvSpPr/>
          <p:nvPr/>
        </p:nvSpPr>
        <p:spPr>
          <a:xfrm>
            <a:off x="1548128" y="515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43" name="Rechteck 42"/>
          <p:cNvSpPr/>
          <p:nvPr/>
        </p:nvSpPr>
        <p:spPr>
          <a:xfrm>
            <a:off x="2196200" y="515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44" name="Rechteck 43"/>
          <p:cNvSpPr/>
          <p:nvPr/>
        </p:nvSpPr>
        <p:spPr>
          <a:xfrm>
            <a:off x="1548128" y="5804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45" name="Rechteck 44"/>
          <p:cNvSpPr/>
          <p:nvPr/>
        </p:nvSpPr>
        <p:spPr>
          <a:xfrm>
            <a:off x="2196200" y="5372808"/>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46" name="Freihandform 45"/>
          <p:cNvSpPr/>
          <p:nvPr/>
        </p:nvSpPr>
        <p:spPr>
          <a:xfrm>
            <a:off x="821745" y="4243833"/>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47" name="Rechteck 46"/>
          <p:cNvSpPr/>
          <p:nvPr/>
        </p:nvSpPr>
        <p:spPr>
          <a:xfrm>
            <a:off x="396000" y="558888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lease( ref1[ ] );</a:t>
            </a:r>
          </a:p>
        </p:txBody>
      </p:sp>
      <p:sp>
        <p:nvSpPr>
          <p:cNvPr id="84" name="Rechteck 83"/>
          <p:cNvSpPr/>
          <p:nvPr/>
        </p:nvSpPr>
        <p:spPr>
          <a:xfrm>
            <a:off x="1836000" y="4868808"/>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chemeClr val="tx1"/>
                </a:solidFill>
                <a:latin typeface="Wingdings" panose="05000000000000000000" pitchFamily="2" charset="2"/>
                <a:sym typeface="Wingdings" panose="05000000000000000000" pitchFamily="2" charset="2"/>
              </a:rPr>
              <a:t></a:t>
            </a:r>
            <a:endParaRPr lang="en-US" sz="2000" dirty="0">
              <a:solidFill>
                <a:schemeClr val="tx1"/>
              </a:solidFill>
              <a:latin typeface="Wingdings" panose="05000000000000000000" pitchFamily="2" charset="2"/>
            </a:endParaRPr>
          </a:p>
        </p:txBody>
      </p:sp>
      <p:sp>
        <p:nvSpPr>
          <p:cNvPr id="86" name="Rechteck 85"/>
          <p:cNvSpPr/>
          <p:nvPr/>
        </p:nvSpPr>
        <p:spPr>
          <a:xfrm>
            <a:off x="4068000" y="5372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7" name="Rechteck 86"/>
          <p:cNvSpPr/>
          <p:nvPr/>
        </p:nvSpPr>
        <p:spPr>
          <a:xfrm>
            <a:off x="4068000" y="5588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8" name="Rechteck 87"/>
          <p:cNvSpPr/>
          <p:nvPr/>
        </p:nvSpPr>
        <p:spPr>
          <a:xfrm>
            <a:off x="4068000" y="5156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89" name="Rechteck 88"/>
          <p:cNvSpPr/>
          <p:nvPr/>
        </p:nvSpPr>
        <p:spPr>
          <a:xfrm>
            <a:off x="4716072" y="5156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90" name="Rechteck 89"/>
          <p:cNvSpPr/>
          <p:nvPr/>
        </p:nvSpPr>
        <p:spPr>
          <a:xfrm>
            <a:off x="4068000" y="5804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 name="Pfeil nach rechts 2"/>
          <p:cNvSpPr/>
          <p:nvPr/>
        </p:nvSpPr>
        <p:spPr>
          <a:xfrm>
            <a:off x="3564000" y="5588904"/>
            <a:ext cx="360000" cy="28800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p:cNvSpPr/>
          <p:nvPr/>
        </p:nvSpPr>
        <p:spPr>
          <a:xfrm>
            <a:off x="4716000" y="5372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oid</a:t>
            </a:r>
          </a:p>
        </p:txBody>
      </p:sp>
      <p:sp>
        <p:nvSpPr>
          <p:cNvPr id="97" name="Rechteck 96"/>
          <p:cNvSpPr/>
          <p:nvPr/>
        </p:nvSpPr>
        <p:spPr>
          <a:xfrm>
            <a:off x="4716000" y="558888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8" name="Rechteck 97"/>
          <p:cNvSpPr/>
          <p:nvPr/>
        </p:nvSpPr>
        <p:spPr>
          <a:xfrm>
            <a:off x="4716000" y="580490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Tree>
    <p:extLst>
      <p:ext uri="{BB962C8B-B14F-4D97-AF65-F5344CB8AC3E}">
        <p14:creationId xmlns:p14="http://schemas.microsoft.com/office/powerpoint/2010/main" val="24935445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9" name="Freihandform 78"/>
          <p:cNvSpPr/>
          <p:nvPr/>
        </p:nvSpPr>
        <p:spPr>
          <a:xfrm>
            <a:off x="3348000" y="1484999"/>
            <a:ext cx="720080" cy="1367787"/>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102"/>
              <a:gd name="connsiteX1" fmla="*/ 326218 w 692458"/>
              <a:gd name="connsiteY1" fmla="*/ 547258 h 648102"/>
              <a:gd name="connsiteX2" fmla="*/ 497150 w 692458"/>
              <a:gd name="connsiteY2" fmla="*/ 106532 h 648102"/>
              <a:gd name="connsiteX3" fmla="*/ 692458 w 692458"/>
              <a:gd name="connsiteY3" fmla="*/ 0 h 648102"/>
            </a:gdLst>
            <a:ahLst/>
            <a:cxnLst>
              <a:cxn ang="0">
                <a:pos x="connsiteX0" y="connsiteY0"/>
              </a:cxn>
              <a:cxn ang="0">
                <a:pos x="connsiteX1" y="connsiteY1"/>
              </a:cxn>
              <a:cxn ang="0">
                <a:pos x="connsiteX2" y="connsiteY2"/>
              </a:cxn>
              <a:cxn ang="0">
                <a:pos x="connsiteX3" y="connsiteY3"/>
              </a:cxn>
            </a:cxnLst>
            <a:rect l="l" t="t" r="r" b="b"/>
            <a:pathLst>
              <a:path w="692458" h="648102">
                <a:moveTo>
                  <a:pt x="0" y="648070"/>
                </a:moveTo>
                <a:cubicBezTo>
                  <a:pt x="158318" y="648809"/>
                  <a:pt x="243360" y="637514"/>
                  <a:pt x="326218" y="547258"/>
                </a:cubicBezTo>
                <a:cubicBezTo>
                  <a:pt x="409076" y="457002"/>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3" name="Rechteck 82"/>
          <p:cNvSpPr/>
          <p:nvPr/>
        </p:nvSpPr>
        <p:spPr>
          <a:xfrm>
            <a:off x="1548128" y="357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5" name="Rechteck 84"/>
          <p:cNvSpPr/>
          <p:nvPr/>
        </p:nvSpPr>
        <p:spPr>
          <a:xfrm>
            <a:off x="1548128" y="378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1" name="Rechteck 90"/>
          <p:cNvSpPr/>
          <p:nvPr/>
        </p:nvSpPr>
        <p:spPr>
          <a:xfrm>
            <a:off x="1548128" y="335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2" name="Rechteck 91"/>
          <p:cNvSpPr/>
          <p:nvPr/>
        </p:nvSpPr>
        <p:spPr>
          <a:xfrm>
            <a:off x="2196200" y="335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2    ( ref2[ ] )</a:t>
            </a:r>
          </a:p>
        </p:txBody>
      </p:sp>
      <p:sp>
        <p:nvSpPr>
          <p:cNvPr id="93" name="Rechteck 92"/>
          <p:cNvSpPr/>
          <p:nvPr/>
        </p:nvSpPr>
        <p:spPr>
          <a:xfrm>
            <a:off x="1548128" y="400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4" name="Rechteck 93"/>
          <p:cNvSpPr/>
          <p:nvPr/>
        </p:nvSpPr>
        <p:spPr>
          <a:xfrm>
            <a:off x="2196200" y="3573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95" name="Rechteck 94"/>
          <p:cNvSpPr/>
          <p:nvPr/>
        </p:nvSpPr>
        <p:spPr>
          <a:xfrm>
            <a:off x="396000" y="3789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ref1[ ];</a:t>
            </a:r>
          </a:p>
        </p:txBody>
      </p:sp>
      <p:sp>
        <p:nvSpPr>
          <p:cNvPr id="99" name="Rechteck 98"/>
          <p:cNvSpPr/>
          <p:nvPr/>
        </p:nvSpPr>
        <p:spPr>
          <a:xfrm>
            <a:off x="1548128" y="4581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0" name="Rechteck 99"/>
          <p:cNvSpPr/>
          <p:nvPr/>
        </p:nvSpPr>
        <p:spPr>
          <a:xfrm>
            <a:off x="1548128" y="4797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1" name="Rechteck 100"/>
          <p:cNvSpPr/>
          <p:nvPr/>
        </p:nvSpPr>
        <p:spPr>
          <a:xfrm>
            <a:off x="1548128" y="4365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02" name="Rechteck 101"/>
          <p:cNvSpPr/>
          <p:nvPr/>
        </p:nvSpPr>
        <p:spPr>
          <a:xfrm>
            <a:off x="2196200" y="4365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103" name="Rechteck 102"/>
          <p:cNvSpPr/>
          <p:nvPr/>
        </p:nvSpPr>
        <p:spPr>
          <a:xfrm>
            <a:off x="1548128" y="5013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04" name="Rechteck 103"/>
          <p:cNvSpPr/>
          <p:nvPr/>
        </p:nvSpPr>
        <p:spPr>
          <a:xfrm>
            <a:off x="2196200" y="458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5" name="Rechteck 104"/>
          <p:cNvSpPr/>
          <p:nvPr/>
        </p:nvSpPr>
        <p:spPr>
          <a:xfrm>
            <a:off x="396000" y="4797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ref3[ ] = ^^ref2[ ];</a:t>
            </a:r>
          </a:p>
        </p:txBody>
      </p:sp>
      <p:sp>
        <p:nvSpPr>
          <p:cNvPr id="106" name="Freihandform 105"/>
          <p:cNvSpPr/>
          <p:nvPr/>
        </p:nvSpPr>
        <p:spPr>
          <a:xfrm>
            <a:off x="3348000" y="1637400"/>
            <a:ext cx="720080" cy="2079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8" name="Rechteck 107"/>
          <p:cNvSpPr/>
          <p:nvPr/>
        </p:nvSpPr>
        <p:spPr>
          <a:xfrm>
            <a:off x="3852000" y="3573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The reference will be made directly to the</a:t>
            </a:r>
          </a:p>
          <a:p>
            <a:r>
              <a:rPr lang="en-US" sz="1000" dirty="0">
                <a:solidFill>
                  <a:srgbClr val="0000FF"/>
                </a:solidFill>
              </a:rPr>
              <a:t>target variable, even if a reference to</a:t>
            </a:r>
          </a:p>
          <a:p>
            <a:r>
              <a:rPr lang="en-US" sz="1000" dirty="0">
                <a:solidFill>
                  <a:srgbClr val="0000FF"/>
                </a:solidFill>
              </a:rPr>
              <a:t>variable is assigned as shown here:</a:t>
            </a:r>
          </a:p>
          <a:p>
            <a:r>
              <a:rPr lang="en-US" sz="1000" dirty="0">
                <a:solidFill>
                  <a:srgbClr val="0000FF"/>
                </a:solidFill>
              </a:rPr>
              <a:t>ref1[ ] guides directly to a[b]</a:t>
            </a:r>
          </a:p>
        </p:txBody>
      </p:sp>
      <p:sp>
        <p:nvSpPr>
          <p:cNvPr id="109" name="Freihandform 108"/>
          <p:cNvSpPr/>
          <p:nvPr/>
        </p:nvSpPr>
        <p:spPr>
          <a:xfrm>
            <a:off x="821744" y="3933000"/>
            <a:ext cx="2904759" cy="792000"/>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 name="connsiteX0" fmla="*/ 2521992 w 2904759"/>
              <a:gd name="connsiteY0" fmla="*/ 1285875 h 1285875"/>
              <a:gd name="connsiteX1" fmla="*/ 2680742 w 2904759"/>
              <a:gd name="connsiteY1" fmla="*/ 809324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934737"/>
                  <a:pt x="2680742" y="809324"/>
                </a:cubicBezTo>
                <a:cubicBezTo>
                  <a:pt x="2277517" y="683912"/>
                  <a:pt x="463005" y="696913"/>
                  <a:pt x="102642" y="533400"/>
                </a:cubicBezTo>
                <a:cubicBezTo>
                  <a:pt x="-257721" y="369888"/>
                  <a:pt x="423317" y="28178"/>
                  <a:pt x="721767" y="0"/>
                </a:cubicBezTo>
              </a:path>
            </a:pathLst>
          </a:custGeom>
          <a:ln>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0" name="Rechteck 109"/>
          <p:cNvSpPr/>
          <p:nvPr/>
        </p:nvSpPr>
        <p:spPr>
          <a:xfrm>
            <a:off x="3852000" y="4581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Using 2 circumflex symbols, the new</a:t>
            </a:r>
          </a:p>
          <a:p>
            <a:r>
              <a:rPr lang="en-US" sz="1000" dirty="0">
                <a:solidFill>
                  <a:srgbClr val="00B050"/>
                </a:solidFill>
              </a:rPr>
              <a:t>reference will be applied to the next</a:t>
            </a:r>
          </a:p>
          <a:p>
            <a:r>
              <a:rPr lang="en-US" sz="1000" dirty="0">
                <a:solidFill>
                  <a:srgbClr val="00B050"/>
                </a:solidFill>
              </a:rPr>
              <a:t>variable specified, regardless if is a value</a:t>
            </a:r>
          </a:p>
          <a:p>
            <a:r>
              <a:rPr lang="en-US" sz="1000" dirty="0">
                <a:solidFill>
                  <a:srgbClr val="00B050"/>
                </a:solidFill>
              </a:rPr>
              <a:t>or another reference to variable.</a:t>
            </a:r>
          </a:p>
        </p:txBody>
      </p:sp>
      <p:sp>
        <p:nvSpPr>
          <p:cNvPr id="48" name="Rechteck 47">
            <a:extLst>
              <a:ext uri="{FF2B5EF4-FFF2-40B4-BE49-F238E27FC236}">
                <a16:creationId xmlns:a16="http://schemas.microsoft.com/office/drawing/2014/main" id="{79CD10B2-E39F-4CEF-A806-EE5FF8FE98BC}"/>
              </a:ext>
            </a:extLst>
          </p:cNvPr>
          <p:cNvSpPr/>
          <p:nvPr/>
        </p:nvSpPr>
        <p:spPr>
          <a:xfrm>
            <a:off x="1548128" y="558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978FBD53-5080-406D-A6D2-4190804C8EC5}"/>
              </a:ext>
            </a:extLst>
          </p:cNvPr>
          <p:cNvSpPr/>
          <p:nvPr/>
        </p:nvSpPr>
        <p:spPr>
          <a:xfrm>
            <a:off x="1548128" y="580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C7762BC6-E0C1-4D05-B94C-374044BF2E8F}"/>
              </a:ext>
            </a:extLst>
          </p:cNvPr>
          <p:cNvSpPr/>
          <p:nvPr/>
        </p:nvSpPr>
        <p:spPr>
          <a:xfrm>
            <a:off x="1548128" y="537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1" name="Rechteck 50">
            <a:extLst>
              <a:ext uri="{FF2B5EF4-FFF2-40B4-BE49-F238E27FC236}">
                <a16:creationId xmlns:a16="http://schemas.microsoft.com/office/drawing/2014/main" id="{9D6BD2A5-0647-495D-B3FE-729C4449BDB9}"/>
              </a:ext>
            </a:extLst>
          </p:cNvPr>
          <p:cNvSpPr/>
          <p:nvPr/>
        </p:nvSpPr>
        <p:spPr>
          <a:xfrm>
            <a:off x="2196200" y="537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64" name="Rechteck 63">
            <a:extLst>
              <a:ext uri="{FF2B5EF4-FFF2-40B4-BE49-F238E27FC236}">
                <a16:creationId xmlns:a16="http://schemas.microsoft.com/office/drawing/2014/main" id="{BF52D8C8-236F-45F5-9D3A-DD5511F4E2E0}"/>
              </a:ext>
            </a:extLst>
          </p:cNvPr>
          <p:cNvSpPr/>
          <p:nvPr/>
        </p:nvSpPr>
        <p:spPr>
          <a:xfrm>
            <a:off x="1548128" y="602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7" name="Rechteck 66">
            <a:extLst>
              <a:ext uri="{FF2B5EF4-FFF2-40B4-BE49-F238E27FC236}">
                <a16:creationId xmlns:a16="http://schemas.microsoft.com/office/drawing/2014/main" id="{3D7DF59A-94DA-4D36-A270-E69AE893FF31}"/>
              </a:ext>
            </a:extLst>
          </p:cNvPr>
          <p:cNvSpPr/>
          <p:nvPr/>
        </p:nvSpPr>
        <p:spPr>
          <a:xfrm>
            <a:off x="2196200" y="558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8" name="Rechteck 77">
            <a:extLst>
              <a:ext uri="{FF2B5EF4-FFF2-40B4-BE49-F238E27FC236}">
                <a16:creationId xmlns:a16="http://schemas.microsoft.com/office/drawing/2014/main" id="{CED26115-453C-48DA-8E71-34FCBD2CEC9A}"/>
              </a:ext>
            </a:extLst>
          </p:cNvPr>
          <p:cNvSpPr/>
          <p:nvPr/>
        </p:nvSpPr>
        <p:spPr>
          <a:xfrm>
            <a:off x="396000" y="5805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accent5"/>
                </a:solidFill>
              </a:rPr>
              <a:t>ref4</a:t>
            </a:r>
            <a:r>
              <a:rPr lang="en-US" sz="1000" dirty="0">
                <a:solidFill>
                  <a:schemeClr val="accent5"/>
                </a:solidFill>
              </a:rPr>
              <a:t>[ ] = ^</a:t>
            </a:r>
            <a:r>
              <a:rPr lang="en-US" sz="1000" dirty="0" err="1">
                <a:solidFill>
                  <a:schemeClr val="accent5"/>
                </a:solidFill>
              </a:rPr>
              <a:t>ref3</a:t>
            </a:r>
            <a:r>
              <a:rPr lang="en-US" sz="1000" dirty="0">
                <a:solidFill>
                  <a:schemeClr val="accent5"/>
                </a:solidFill>
              </a:rPr>
              <a:t>[ ];</a:t>
            </a:r>
          </a:p>
        </p:txBody>
      </p:sp>
      <p:sp>
        <p:nvSpPr>
          <p:cNvPr id="3" name="Rechteck 2">
            <a:extLst>
              <a:ext uri="{FF2B5EF4-FFF2-40B4-BE49-F238E27FC236}">
                <a16:creationId xmlns:a16="http://schemas.microsoft.com/office/drawing/2014/main" id="{E5461C98-46CD-475A-A783-027B8C77165A}"/>
              </a:ext>
            </a:extLst>
          </p:cNvPr>
          <p:cNvSpPr/>
          <p:nvPr/>
        </p:nvSpPr>
        <p:spPr>
          <a:xfrm>
            <a:off x="4067928" y="2276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 name="Rechteck 4">
            <a:extLst>
              <a:ext uri="{FF2B5EF4-FFF2-40B4-BE49-F238E27FC236}">
                <a16:creationId xmlns:a16="http://schemas.microsoft.com/office/drawing/2014/main" id="{83609F99-7551-439C-B033-ACE8F27D387E}"/>
              </a:ext>
            </a:extLst>
          </p:cNvPr>
          <p:cNvSpPr/>
          <p:nvPr/>
        </p:nvSpPr>
        <p:spPr>
          <a:xfrm>
            <a:off x="4067928" y="2492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 name="Rechteck 5">
            <a:extLst>
              <a:ext uri="{FF2B5EF4-FFF2-40B4-BE49-F238E27FC236}">
                <a16:creationId xmlns:a16="http://schemas.microsoft.com/office/drawing/2014/main" id="{715AE8D3-1255-4BC1-AA8B-F97A399285FD}"/>
              </a:ext>
            </a:extLst>
          </p:cNvPr>
          <p:cNvSpPr/>
          <p:nvPr/>
        </p:nvSpPr>
        <p:spPr>
          <a:xfrm>
            <a:off x="4716000" y="2276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 name="Rechteck 6">
            <a:extLst>
              <a:ext uri="{FF2B5EF4-FFF2-40B4-BE49-F238E27FC236}">
                <a16:creationId xmlns:a16="http://schemas.microsoft.com/office/drawing/2014/main" id="{E5462FD1-DF9D-4127-97F9-78B4AA9F23E3}"/>
              </a:ext>
            </a:extLst>
          </p:cNvPr>
          <p:cNvSpPr/>
          <p:nvPr/>
        </p:nvSpPr>
        <p:spPr>
          <a:xfrm>
            <a:off x="4716000" y="2492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8" name="Rechteck 7">
            <a:extLst>
              <a:ext uri="{FF2B5EF4-FFF2-40B4-BE49-F238E27FC236}">
                <a16:creationId xmlns:a16="http://schemas.microsoft.com/office/drawing/2014/main" id="{E601C383-B88C-4CA0-9648-4F41A218BD4D}"/>
              </a:ext>
            </a:extLst>
          </p:cNvPr>
          <p:cNvSpPr/>
          <p:nvPr/>
        </p:nvSpPr>
        <p:spPr>
          <a:xfrm>
            <a:off x="4067928" y="206092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 name="Rechteck 8">
            <a:extLst>
              <a:ext uri="{FF2B5EF4-FFF2-40B4-BE49-F238E27FC236}">
                <a16:creationId xmlns:a16="http://schemas.microsoft.com/office/drawing/2014/main" id="{82F28987-524A-4994-8B88-247C66A85814}"/>
              </a:ext>
            </a:extLst>
          </p:cNvPr>
          <p:cNvSpPr/>
          <p:nvPr/>
        </p:nvSpPr>
        <p:spPr>
          <a:xfrm>
            <a:off x="4716000" y="206092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10" name="Rechteck 9">
            <a:extLst>
              <a:ext uri="{FF2B5EF4-FFF2-40B4-BE49-F238E27FC236}">
                <a16:creationId xmlns:a16="http://schemas.microsoft.com/office/drawing/2014/main" id="{B244510A-8E32-4606-91F1-80A45BCB5161}"/>
              </a:ext>
            </a:extLst>
          </p:cNvPr>
          <p:cNvSpPr/>
          <p:nvPr/>
        </p:nvSpPr>
        <p:spPr>
          <a:xfrm>
            <a:off x="4067928" y="270900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 name="Rechteck 10">
            <a:extLst>
              <a:ext uri="{FF2B5EF4-FFF2-40B4-BE49-F238E27FC236}">
                <a16:creationId xmlns:a16="http://schemas.microsoft.com/office/drawing/2014/main" id="{2556CE63-38C9-4CBD-8DF1-33D263443B3A}"/>
              </a:ext>
            </a:extLst>
          </p:cNvPr>
          <p:cNvSpPr/>
          <p:nvPr/>
        </p:nvSpPr>
        <p:spPr>
          <a:xfrm>
            <a:off x="4716000" y="2709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2" name="Freihandform 204">
            <a:extLst>
              <a:ext uri="{FF2B5EF4-FFF2-40B4-BE49-F238E27FC236}">
                <a16:creationId xmlns:a16="http://schemas.microsoft.com/office/drawing/2014/main" id="{E94A379D-ADD9-4E89-A1F9-686D04C9E4D9}"/>
              </a:ext>
            </a:extLst>
          </p:cNvPr>
          <p:cNvSpPr/>
          <p:nvPr/>
        </p:nvSpPr>
        <p:spPr>
          <a:xfrm flipV="1">
            <a:off x="3348000" y="19169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Freihandform 105">
            <a:extLst>
              <a:ext uri="{FF2B5EF4-FFF2-40B4-BE49-F238E27FC236}">
                <a16:creationId xmlns:a16="http://schemas.microsoft.com/office/drawing/2014/main" id="{265DB1FE-B45F-4F43-92DE-A25688E479A6}"/>
              </a:ext>
            </a:extLst>
          </p:cNvPr>
          <p:cNvSpPr/>
          <p:nvPr/>
        </p:nvSpPr>
        <p:spPr>
          <a:xfrm>
            <a:off x="3348000" y="1701000"/>
            <a:ext cx="720080" cy="410403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208"/>
              <a:gd name="connsiteX1" fmla="*/ 399495 w 692458"/>
              <a:gd name="connsiteY1" fmla="*/ 559293 h 648208"/>
              <a:gd name="connsiteX2" fmla="*/ 540254 w 692458"/>
              <a:gd name="connsiteY2" fmla="*/ 105116 h 648208"/>
              <a:gd name="connsiteX3" fmla="*/ 692458 w 692458"/>
              <a:gd name="connsiteY3" fmla="*/ 0 h 648208"/>
            </a:gdLst>
            <a:ahLst/>
            <a:cxnLst>
              <a:cxn ang="0">
                <a:pos x="connsiteX0" y="connsiteY0"/>
              </a:cxn>
              <a:cxn ang="0">
                <a:pos x="connsiteX1" y="connsiteY1"/>
              </a:cxn>
              <a:cxn ang="0">
                <a:pos x="connsiteX2" y="connsiteY2"/>
              </a:cxn>
              <a:cxn ang="0">
                <a:pos x="connsiteX3" y="connsiteY3"/>
              </a:cxn>
            </a:cxnLst>
            <a:rect l="l" t="t" r="r" b="b"/>
            <a:pathLst>
              <a:path w="692458" h="648208">
                <a:moveTo>
                  <a:pt x="0" y="648070"/>
                </a:moveTo>
                <a:cubicBezTo>
                  <a:pt x="158318" y="648809"/>
                  <a:pt x="309453" y="649785"/>
                  <a:pt x="399495" y="559293"/>
                </a:cubicBezTo>
                <a:cubicBezTo>
                  <a:pt x="489537" y="468801"/>
                  <a:pt x="491427" y="198331"/>
                  <a:pt x="540254" y="105116"/>
                </a:cubicBezTo>
                <a:cubicBezTo>
                  <a:pt x="589081" y="11900"/>
                  <a:pt x="619217" y="6658"/>
                  <a:pt x="692458" y="0"/>
                </a:cubicBezTo>
              </a:path>
            </a:pathLst>
          </a:cu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7" name="Rechteck 96">
            <a:extLst>
              <a:ext uri="{FF2B5EF4-FFF2-40B4-BE49-F238E27FC236}">
                <a16:creationId xmlns:a16="http://schemas.microsoft.com/office/drawing/2014/main" id="{648DF8C9-08B5-4C38-A792-40D78E92A1E7}"/>
              </a:ext>
            </a:extLst>
          </p:cNvPr>
          <p:cNvSpPr/>
          <p:nvPr/>
        </p:nvSpPr>
        <p:spPr>
          <a:xfrm>
            <a:off x="3852000" y="5589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accent5"/>
                </a:solidFill>
              </a:rPr>
              <a:t>Defining a reference with single circumflex</a:t>
            </a:r>
          </a:p>
          <a:p>
            <a:r>
              <a:rPr lang="en-US" sz="1000" dirty="0">
                <a:solidFill>
                  <a:schemeClr val="accent5"/>
                </a:solidFill>
              </a:rPr>
              <a:t>symbol will always find its way to the final </a:t>
            </a:r>
          </a:p>
          <a:p>
            <a:r>
              <a:rPr lang="en-US" sz="1000" dirty="0">
                <a:solidFill>
                  <a:schemeClr val="accent5"/>
                </a:solidFill>
              </a:rPr>
              <a:t>target variable, regardless of the number of</a:t>
            </a:r>
          </a:p>
          <a:p>
            <a:r>
              <a:rPr lang="en-US" sz="1000" dirty="0">
                <a:solidFill>
                  <a:schemeClr val="accent5"/>
                </a:solidFill>
              </a:rPr>
              <a:t>intermediate references on its way.</a:t>
            </a:r>
          </a:p>
        </p:txBody>
      </p:sp>
      <p:sp>
        <p:nvSpPr>
          <p:cNvPr id="98" name="Freihandform 105">
            <a:extLst>
              <a:ext uri="{FF2B5EF4-FFF2-40B4-BE49-F238E27FC236}">
                <a16:creationId xmlns:a16="http://schemas.microsoft.com/office/drawing/2014/main" id="{0B8EA7B7-1111-4253-A059-D5F63F0D646C}"/>
              </a:ext>
            </a:extLst>
          </p:cNvPr>
          <p:cNvSpPr/>
          <p:nvPr/>
        </p:nvSpPr>
        <p:spPr>
          <a:xfrm>
            <a:off x="3348000" y="2781000"/>
            <a:ext cx="720080" cy="1143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1" name="Rechteck 110">
            <a:extLst>
              <a:ext uri="{FF2B5EF4-FFF2-40B4-BE49-F238E27FC236}">
                <a16:creationId xmlns:a16="http://schemas.microsoft.com/office/drawing/2014/main" id="{FF660B5C-1A68-4135-8174-3B110C16896C}"/>
              </a:ext>
            </a:extLst>
          </p:cNvPr>
          <p:cNvSpPr/>
          <p:nvPr/>
        </p:nvSpPr>
        <p:spPr>
          <a:xfrm>
            <a:off x="2916000" y="321300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a[c];</a:t>
            </a:r>
          </a:p>
        </p:txBody>
      </p:sp>
      <p:cxnSp>
        <p:nvCxnSpPr>
          <p:cNvPr id="14" name="Gerade Verbindung mit Pfeil 13">
            <a:extLst>
              <a:ext uri="{FF2B5EF4-FFF2-40B4-BE49-F238E27FC236}">
                <a16:creationId xmlns:a16="http://schemas.microsoft.com/office/drawing/2014/main" id="{648ACE09-9140-4C6A-9A0E-463AD9BA6E74}"/>
              </a:ext>
            </a:extLst>
          </p:cNvPr>
          <p:cNvCxnSpPr>
            <a:cxnSpLocks/>
          </p:cNvCxnSpPr>
          <p:nvPr/>
        </p:nvCxnSpPr>
        <p:spPr>
          <a:xfrm>
            <a:off x="3564000" y="3429000"/>
            <a:ext cx="0" cy="576000"/>
          </a:xfrm>
          <a:prstGeom prst="straightConnector1">
            <a:avLst/>
          </a:prstGeom>
          <a:ln>
            <a:solidFill>
              <a:srgbClr val="3366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37975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Structur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e</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05" name="Rechteck 104"/>
          <p:cNvSpPr/>
          <p:nvPr/>
        </p:nvSpPr>
        <p:spPr>
          <a:xfrm>
            <a:off x="1548000" y="3428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6" name="Rechteck 105"/>
          <p:cNvSpPr/>
          <p:nvPr/>
        </p:nvSpPr>
        <p:spPr>
          <a:xfrm>
            <a:off x="1548000" y="3644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7" name="Rechteck 106"/>
          <p:cNvSpPr/>
          <p:nvPr/>
        </p:nvSpPr>
        <p:spPr>
          <a:xfrm>
            <a:off x="2196072" y="342883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08" name="Rechteck 107"/>
          <p:cNvSpPr/>
          <p:nvPr/>
        </p:nvSpPr>
        <p:spPr>
          <a:xfrm>
            <a:off x="2196072" y="3644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109" name="Rechteck 108"/>
          <p:cNvSpPr/>
          <p:nvPr/>
        </p:nvSpPr>
        <p:spPr>
          <a:xfrm>
            <a:off x="1548000" y="3212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1" name="Rechteck 110"/>
          <p:cNvSpPr/>
          <p:nvPr/>
        </p:nvSpPr>
        <p:spPr>
          <a:xfrm>
            <a:off x="1548000" y="3860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2" name="Rechteck 111"/>
          <p:cNvSpPr/>
          <p:nvPr/>
        </p:nvSpPr>
        <p:spPr>
          <a:xfrm>
            <a:off x="2196000" y="3861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13" name="Rechteck 112"/>
          <p:cNvSpPr/>
          <p:nvPr/>
        </p:nvSpPr>
        <p:spPr>
          <a:xfrm>
            <a:off x="4067952" y="34290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14" name="Rechteck 113"/>
          <p:cNvSpPr/>
          <p:nvPr/>
        </p:nvSpPr>
        <p:spPr>
          <a:xfrm>
            <a:off x="4067952" y="36450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17" name="Rechteck 116"/>
          <p:cNvSpPr/>
          <p:nvPr/>
        </p:nvSpPr>
        <p:spPr>
          <a:xfrm>
            <a:off x="4067952" y="32130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8" name="Rechteck 117"/>
          <p:cNvSpPr/>
          <p:nvPr/>
        </p:nvSpPr>
        <p:spPr>
          <a:xfrm>
            <a:off x="4716024" y="32130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    ( c[d] )</a:t>
            </a:r>
          </a:p>
        </p:txBody>
      </p:sp>
      <p:sp>
        <p:nvSpPr>
          <p:cNvPr id="119" name="Rechteck 118"/>
          <p:cNvSpPr/>
          <p:nvPr/>
        </p:nvSpPr>
        <p:spPr>
          <a:xfrm>
            <a:off x="4067952" y="38610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1" name="Freihandform 120"/>
          <p:cNvSpPr/>
          <p:nvPr/>
        </p:nvSpPr>
        <p:spPr>
          <a:xfrm>
            <a:off x="3347872" y="350104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2" name="Rechteck 121"/>
          <p:cNvSpPr/>
          <p:nvPr/>
        </p:nvSpPr>
        <p:spPr>
          <a:xfrm>
            <a:off x="4716000" y="34289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23" name="Freihandform 122"/>
          <p:cNvSpPr/>
          <p:nvPr/>
        </p:nvSpPr>
        <p:spPr>
          <a:xfrm>
            <a:off x="862605" y="1413000"/>
            <a:ext cx="5442782" cy="21927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5093742 w 5143703"/>
              <a:gd name="connsiteY0" fmla="*/ 1266825 h 1266825"/>
              <a:gd name="connsiteX1" fmla="*/ 2883942 w 5143703"/>
              <a:gd name="connsiteY1" fmla="*/ 981075 h 1266825"/>
              <a:gd name="connsiteX2" fmla="*/ 102642 w 5143703"/>
              <a:gd name="connsiteY2" fmla="*/ 533400 h 1266825"/>
              <a:gd name="connsiteX3" fmla="*/ 721767 w 5143703"/>
              <a:gd name="connsiteY3" fmla="*/ 0 h 1266825"/>
              <a:gd name="connsiteX0" fmla="*/ 5093742 w 5634130"/>
              <a:gd name="connsiteY0" fmla="*/ 1266825 h 1266825"/>
              <a:gd name="connsiteX1" fmla="*/ 5208042 w 5634130"/>
              <a:gd name="connsiteY1" fmla="*/ 847725 h 1266825"/>
              <a:gd name="connsiteX2" fmla="*/ 102642 w 5634130"/>
              <a:gd name="connsiteY2" fmla="*/ 533400 h 1266825"/>
              <a:gd name="connsiteX3" fmla="*/ 721767 w 5634130"/>
              <a:gd name="connsiteY3" fmla="*/ 0 h 1266825"/>
              <a:gd name="connsiteX0" fmla="*/ 5093742 w 5563206"/>
              <a:gd name="connsiteY0" fmla="*/ 1266825 h 1266825"/>
              <a:gd name="connsiteX1" fmla="*/ 5208042 w 5563206"/>
              <a:gd name="connsiteY1" fmla="*/ 847725 h 1266825"/>
              <a:gd name="connsiteX2" fmla="*/ 102642 w 5563206"/>
              <a:gd name="connsiteY2" fmla="*/ 533400 h 1266825"/>
              <a:gd name="connsiteX3" fmla="*/ 721767 w 5563206"/>
              <a:gd name="connsiteY3" fmla="*/ 0 h 1266825"/>
              <a:gd name="connsiteX0" fmla="*/ 4919606 w 5445359"/>
              <a:gd name="connsiteY0" fmla="*/ 1266825 h 1266825"/>
              <a:gd name="connsiteX1" fmla="*/ 5033906 w 5445359"/>
              <a:gd name="connsiteY1" fmla="*/ 847725 h 1266825"/>
              <a:gd name="connsiteX2" fmla="*/ 128531 w 5445359"/>
              <a:gd name="connsiteY2" fmla="*/ 657225 h 1266825"/>
              <a:gd name="connsiteX3" fmla="*/ 547631 w 5445359"/>
              <a:gd name="connsiteY3" fmla="*/ 0 h 1266825"/>
              <a:gd name="connsiteX0" fmla="*/ 4891576 w 5417329"/>
              <a:gd name="connsiteY0" fmla="*/ 1266825 h 1266825"/>
              <a:gd name="connsiteX1" fmla="*/ 5005876 w 5417329"/>
              <a:gd name="connsiteY1" fmla="*/ 847725 h 1266825"/>
              <a:gd name="connsiteX2" fmla="*/ 100501 w 5417329"/>
              <a:gd name="connsiteY2" fmla="*/ 657225 h 1266825"/>
              <a:gd name="connsiteX3" fmla="*/ 519601 w 5417329"/>
              <a:gd name="connsiteY3" fmla="*/ 0 h 1266825"/>
              <a:gd name="connsiteX0" fmla="*/ 4993746 w 5519499"/>
              <a:gd name="connsiteY0" fmla="*/ 1266825 h 1266825"/>
              <a:gd name="connsiteX1" fmla="*/ 5108046 w 5519499"/>
              <a:gd name="connsiteY1" fmla="*/ 847725 h 1266825"/>
              <a:gd name="connsiteX2" fmla="*/ 202671 w 5519499"/>
              <a:gd name="connsiteY2" fmla="*/ 657225 h 1266825"/>
              <a:gd name="connsiteX3" fmla="*/ 621771 w 5519499"/>
              <a:gd name="connsiteY3" fmla="*/ 0 h 1266825"/>
              <a:gd name="connsiteX0" fmla="*/ 4933468 w 5459221"/>
              <a:gd name="connsiteY0" fmla="*/ 1266825 h 1266825"/>
              <a:gd name="connsiteX1" fmla="*/ 5047768 w 5459221"/>
              <a:gd name="connsiteY1" fmla="*/ 847725 h 1266825"/>
              <a:gd name="connsiteX2" fmla="*/ 142393 w 5459221"/>
              <a:gd name="connsiteY2" fmla="*/ 657225 h 1266825"/>
              <a:gd name="connsiteX3" fmla="*/ 561493 w 5459221"/>
              <a:gd name="connsiteY3" fmla="*/ 0 h 1266825"/>
              <a:gd name="connsiteX0" fmla="*/ 4837871 w 5363624"/>
              <a:gd name="connsiteY0" fmla="*/ 1266825 h 1266825"/>
              <a:gd name="connsiteX1" fmla="*/ 4952171 w 5363624"/>
              <a:gd name="connsiteY1" fmla="*/ 847725 h 1266825"/>
              <a:gd name="connsiteX2" fmla="*/ 46796 w 5363624"/>
              <a:gd name="connsiteY2" fmla="*/ 657225 h 1266825"/>
              <a:gd name="connsiteX3" fmla="*/ 465896 w 536362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497983"/>
              <a:gd name="connsiteY0" fmla="*/ 1266825 h 1266825"/>
              <a:gd name="connsiteX1" fmla="*/ 5062245 w 5497983"/>
              <a:gd name="connsiteY1" fmla="*/ 974862 h 1266825"/>
              <a:gd name="connsiteX2" fmla="*/ 33045 w 5497983"/>
              <a:gd name="connsiteY2" fmla="*/ 447675 h 1266825"/>
              <a:gd name="connsiteX3" fmla="*/ 614070 w 5497983"/>
              <a:gd name="connsiteY3" fmla="*/ 0 h 1266825"/>
              <a:gd name="connsiteX0" fmla="*/ 4690312 w 5177368"/>
              <a:gd name="connsiteY0" fmla="*/ 1266825 h 1266825"/>
              <a:gd name="connsiteX1" fmla="*/ 4766512 w 5177368"/>
              <a:gd name="connsiteY1" fmla="*/ 974862 h 1266825"/>
              <a:gd name="connsiteX2" fmla="*/ 80212 w 5177368"/>
              <a:gd name="connsiteY2" fmla="*/ 609487 h 1266825"/>
              <a:gd name="connsiteX3" fmla="*/ 318337 w 5177368"/>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70688 w 5257744"/>
              <a:gd name="connsiteY0" fmla="*/ 1266825 h 1266825"/>
              <a:gd name="connsiteX1" fmla="*/ 4846888 w 5257744"/>
              <a:gd name="connsiteY1" fmla="*/ 974862 h 1266825"/>
              <a:gd name="connsiteX2" fmla="*/ 160588 w 5257744"/>
              <a:gd name="connsiteY2" fmla="*/ 609487 h 1266825"/>
              <a:gd name="connsiteX3" fmla="*/ 398713 w 5257744"/>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804543 w 5231046"/>
              <a:gd name="connsiteY0" fmla="*/ 1266825 h 1266825"/>
              <a:gd name="connsiteX1" fmla="*/ 4785493 w 5231046"/>
              <a:gd name="connsiteY1" fmla="*/ 1067326 h 1266825"/>
              <a:gd name="connsiteX2" fmla="*/ 194443 w 5231046"/>
              <a:gd name="connsiteY2" fmla="*/ 609487 h 1266825"/>
              <a:gd name="connsiteX3" fmla="*/ 432568 w 5231046"/>
              <a:gd name="connsiteY3" fmla="*/ 0 h 1266825"/>
              <a:gd name="connsiteX0" fmla="*/ 4984592 w 5411095"/>
              <a:gd name="connsiteY0" fmla="*/ 1266825 h 1266825"/>
              <a:gd name="connsiteX1" fmla="*/ 4965542 w 5411095"/>
              <a:gd name="connsiteY1" fmla="*/ 1067326 h 1266825"/>
              <a:gd name="connsiteX2" fmla="*/ 374492 w 5411095"/>
              <a:gd name="connsiteY2" fmla="*/ 609487 h 1266825"/>
              <a:gd name="connsiteX3" fmla="*/ 612617 w 5411095"/>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4996823 w 5455007"/>
              <a:gd name="connsiteY0" fmla="*/ 1330394 h 1330394"/>
              <a:gd name="connsiteX1" fmla="*/ 5034923 w 5455007"/>
              <a:gd name="connsiteY1" fmla="*/ 1067326 h 1330394"/>
              <a:gd name="connsiteX2" fmla="*/ 443873 w 5455007"/>
              <a:gd name="connsiteY2" fmla="*/ 609487 h 1330394"/>
              <a:gd name="connsiteX3" fmla="*/ 681998 w 5455007"/>
              <a:gd name="connsiteY3" fmla="*/ 0 h 1330394"/>
              <a:gd name="connsiteX0" fmla="*/ 4996823 w 5436943"/>
              <a:gd name="connsiteY0" fmla="*/ 1330394 h 1330394"/>
              <a:gd name="connsiteX1" fmla="*/ 5006348 w 5436943"/>
              <a:gd name="connsiteY1" fmla="*/ 1136674 h 1330394"/>
              <a:gd name="connsiteX2" fmla="*/ 443873 w 5436943"/>
              <a:gd name="connsiteY2" fmla="*/ 609487 h 1330394"/>
              <a:gd name="connsiteX3" fmla="*/ 681998 w 5436943"/>
              <a:gd name="connsiteY3" fmla="*/ 0 h 1330394"/>
              <a:gd name="connsiteX0" fmla="*/ 5001986 w 5442782"/>
              <a:gd name="connsiteY0" fmla="*/ 1330394 h 1330394"/>
              <a:gd name="connsiteX1" fmla="*/ 5011511 w 5442782"/>
              <a:gd name="connsiteY1" fmla="*/ 1136674 h 1330394"/>
              <a:gd name="connsiteX2" fmla="*/ 439511 w 5442782"/>
              <a:gd name="connsiteY2" fmla="*/ 782856 h 1330394"/>
              <a:gd name="connsiteX3" fmla="*/ 687161 w 5442782"/>
              <a:gd name="connsiteY3" fmla="*/ 0 h 1330394"/>
            </a:gdLst>
            <a:ahLst/>
            <a:cxnLst>
              <a:cxn ang="0">
                <a:pos x="connsiteX0" y="connsiteY0"/>
              </a:cxn>
              <a:cxn ang="0">
                <a:pos x="connsiteX1" y="connsiteY1"/>
              </a:cxn>
              <a:cxn ang="0">
                <a:pos x="connsiteX2" y="connsiteY2"/>
              </a:cxn>
              <a:cxn ang="0">
                <a:pos x="connsiteX3" y="connsiteY3"/>
              </a:cxn>
            </a:cxnLst>
            <a:rect l="l" t="t" r="r" b="b"/>
            <a:pathLst>
              <a:path w="5442782" h="1330394">
                <a:moveTo>
                  <a:pt x="5001986" y="1330394"/>
                </a:moveTo>
                <a:cubicBezTo>
                  <a:pt x="5368698" y="1256575"/>
                  <a:pt x="5771924" y="1227930"/>
                  <a:pt x="5011511" y="1136674"/>
                </a:cubicBezTo>
                <a:cubicBezTo>
                  <a:pt x="4251098" y="1045418"/>
                  <a:pt x="1314224" y="998607"/>
                  <a:pt x="439511" y="782856"/>
                </a:cubicBezTo>
                <a:cubicBezTo>
                  <a:pt x="-149452" y="628868"/>
                  <a:pt x="-220889" y="90034"/>
                  <a:pt x="687161"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4" name="Rechteck 123"/>
          <p:cNvSpPr/>
          <p:nvPr/>
        </p:nvSpPr>
        <p:spPr>
          <a:xfrm>
            <a:off x="4068000" y="42928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5" name="Rechteck 124"/>
          <p:cNvSpPr/>
          <p:nvPr/>
        </p:nvSpPr>
        <p:spPr>
          <a:xfrm>
            <a:off x="4068000" y="45088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6" name="Rechteck 125"/>
          <p:cNvSpPr/>
          <p:nvPr/>
        </p:nvSpPr>
        <p:spPr>
          <a:xfrm>
            <a:off x="4068000" y="407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7" name="Rechteck 126"/>
          <p:cNvSpPr/>
          <p:nvPr/>
        </p:nvSpPr>
        <p:spPr>
          <a:xfrm>
            <a:off x="4716072" y="407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e] )</a:t>
            </a:r>
          </a:p>
        </p:txBody>
      </p:sp>
      <p:sp>
        <p:nvSpPr>
          <p:cNvPr id="128" name="Rechteck 127"/>
          <p:cNvSpPr/>
          <p:nvPr/>
        </p:nvSpPr>
        <p:spPr>
          <a:xfrm>
            <a:off x="4068000" y="47248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9" name="Rechteck 128"/>
          <p:cNvSpPr/>
          <p:nvPr/>
        </p:nvSpPr>
        <p:spPr>
          <a:xfrm>
            <a:off x="4716048" y="4292608"/>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2" name="Rechteck 131"/>
          <p:cNvSpPr/>
          <p:nvPr/>
        </p:nvSpPr>
        <p:spPr>
          <a:xfrm>
            <a:off x="4068000" y="5156928"/>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33" name="Rechteck 132"/>
          <p:cNvSpPr/>
          <p:nvPr/>
        </p:nvSpPr>
        <p:spPr>
          <a:xfrm>
            <a:off x="4068000" y="537295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34" name="Rechteck 133"/>
          <p:cNvSpPr/>
          <p:nvPr/>
        </p:nvSpPr>
        <p:spPr>
          <a:xfrm>
            <a:off x="4068000" y="4940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35" name="Rechteck 134"/>
          <p:cNvSpPr/>
          <p:nvPr/>
        </p:nvSpPr>
        <p:spPr>
          <a:xfrm>
            <a:off x="4716072" y="4940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    ( c[f] )</a:t>
            </a:r>
          </a:p>
        </p:txBody>
      </p:sp>
      <p:sp>
        <p:nvSpPr>
          <p:cNvPr id="136" name="Rechteck 135"/>
          <p:cNvSpPr/>
          <p:nvPr/>
        </p:nvSpPr>
        <p:spPr>
          <a:xfrm>
            <a:off x="4068000" y="558897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7" name="Rechteck 136"/>
          <p:cNvSpPr/>
          <p:nvPr/>
        </p:nvSpPr>
        <p:spPr>
          <a:xfrm>
            <a:off x="4716048" y="51567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9" name="Rechteck 138"/>
          <p:cNvSpPr/>
          <p:nvPr/>
        </p:nvSpPr>
        <p:spPr>
          <a:xfrm>
            <a:off x="2196000" y="3212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 ] )</a:t>
            </a:r>
          </a:p>
        </p:txBody>
      </p:sp>
      <p:sp>
        <p:nvSpPr>
          <p:cNvPr id="140" name="Freihandform 139"/>
          <p:cNvSpPr/>
          <p:nvPr/>
        </p:nvSpPr>
        <p:spPr>
          <a:xfrm flipV="1">
            <a:off x="3348000" y="3932856"/>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1" name="Freihandform 140"/>
          <p:cNvSpPr/>
          <p:nvPr/>
        </p:nvSpPr>
        <p:spPr>
          <a:xfrm flipV="1">
            <a:off x="3348128" y="3932808"/>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2" name="Rechteck 141"/>
          <p:cNvSpPr/>
          <p:nvPr/>
        </p:nvSpPr>
        <p:spPr>
          <a:xfrm>
            <a:off x="4067792" y="2205024"/>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3" name="Rechteck 142"/>
          <p:cNvSpPr/>
          <p:nvPr/>
        </p:nvSpPr>
        <p:spPr>
          <a:xfrm>
            <a:off x="4067792" y="2421048"/>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6" name="Rechteck 145"/>
          <p:cNvSpPr/>
          <p:nvPr/>
        </p:nvSpPr>
        <p:spPr>
          <a:xfrm>
            <a:off x="4067792" y="198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7" name="Rechteck 146"/>
          <p:cNvSpPr/>
          <p:nvPr/>
        </p:nvSpPr>
        <p:spPr>
          <a:xfrm>
            <a:off x="4715864" y="198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g    ( a[g] )</a:t>
            </a:r>
          </a:p>
        </p:txBody>
      </p:sp>
      <p:sp>
        <p:nvSpPr>
          <p:cNvPr id="148" name="Rechteck 147"/>
          <p:cNvSpPr/>
          <p:nvPr/>
        </p:nvSpPr>
        <p:spPr>
          <a:xfrm>
            <a:off x="4067792" y="2637072"/>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0" name="Rechteck 149"/>
          <p:cNvSpPr/>
          <p:nvPr/>
        </p:nvSpPr>
        <p:spPr>
          <a:xfrm>
            <a:off x="4716000" y="2205000"/>
            <a:ext cx="1224136" cy="648096"/>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1" name="Freihandform 150"/>
          <p:cNvSpPr/>
          <p:nvPr/>
        </p:nvSpPr>
        <p:spPr>
          <a:xfrm flipV="1">
            <a:off x="3348000" y="1845000"/>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ihandform 7"/>
          <p:cNvSpPr/>
          <p:nvPr/>
        </p:nvSpPr>
        <p:spPr>
          <a:xfrm>
            <a:off x="3538018" y="1895475"/>
            <a:ext cx="3005242" cy="2533650"/>
          </a:xfrm>
          <a:custGeom>
            <a:avLst/>
            <a:gdLst>
              <a:gd name="connsiteX0" fmla="*/ 2197209 w 2821709"/>
              <a:gd name="connsiteY0" fmla="*/ 1828800 h 1828800"/>
              <a:gd name="connsiteX1" fmla="*/ 2711559 w 2821709"/>
              <a:gd name="connsiteY1" fmla="*/ 1657350 h 1828800"/>
              <a:gd name="connsiteX2" fmla="*/ 2806809 w 2821709"/>
              <a:gd name="connsiteY2" fmla="*/ 1009650 h 1828800"/>
              <a:gd name="connsiteX3" fmla="*/ 2492484 w 2821709"/>
              <a:gd name="connsiteY3" fmla="*/ 590550 h 1828800"/>
              <a:gd name="connsiteX4" fmla="*/ 158859 w 2821709"/>
              <a:gd name="connsiteY4" fmla="*/ 333375 h 1828800"/>
              <a:gd name="connsiteX5" fmla="*/ 396984 w 2821709"/>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200299 w 2876158"/>
              <a:gd name="connsiteY0" fmla="*/ 2533650 h 2533650"/>
              <a:gd name="connsiteX1" fmla="*/ 2714649 w 2876158"/>
              <a:gd name="connsiteY1" fmla="*/ 2362200 h 2533650"/>
              <a:gd name="connsiteX2" fmla="*/ 2867049 w 2876158"/>
              <a:gd name="connsiteY2" fmla="*/ 1714500 h 2533650"/>
              <a:gd name="connsiteX3" fmla="*/ 2495574 w 2876158"/>
              <a:gd name="connsiteY3" fmla="*/ 1295400 h 2533650"/>
              <a:gd name="connsiteX4" fmla="*/ 161949 w 2876158"/>
              <a:gd name="connsiteY4" fmla="*/ 1038225 h 2533650"/>
              <a:gd name="connsiteX5" fmla="*/ 390549 w 2876158"/>
              <a:gd name="connsiteY5" fmla="*/ 0 h 2533650"/>
              <a:gd name="connsiteX0" fmla="*/ 2312949 w 2988808"/>
              <a:gd name="connsiteY0" fmla="*/ 2533650 h 2533650"/>
              <a:gd name="connsiteX1" fmla="*/ 2827299 w 2988808"/>
              <a:gd name="connsiteY1" fmla="*/ 2362200 h 2533650"/>
              <a:gd name="connsiteX2" fmla="*/ 2979699 w 2988808"/>
              <a:gd name="connsiteY2" fmla="*/ 1714500 h 2533650"/>
              <a:gd name="connsiteX3" fmla="*/ 2608224 w 2988808"/>
              <a:gd name="connsiteY3" fmla="*/ 1295400 h 2533650"/>
              <a:gd name="connsiteX4" fmla="*/ 131724 w 2988808"/>
              <a:gd name="connsiteY4" fmla="*/ 914400 h 2533650"/>
              <a:gd name="connsiteX5" fmla="*/ 503199 w 2988808"/>
              <a:gd name="connsiteY5" fmla="*/ 0 h 2533650"/>
              <a:gd name="connsiteX0" fmla="*/ 2329383 w 3005242"/>
              <a:gd name="connsiteY0" fmla="*/ 2533650 h 2533650"/>
              <a:gd name="connsiteX1" fmla="*/ 2843733 w 3005242"/>
              <a:gd name="connsiteY1" fmla="*/ 2362200 h 2533650"/>
              <a:gd name="connsiteX2" fmla="*/ 2996133 w 3005242"/>
              <a:gd name="connsiteY2" fmla="*/ 1714500 h 2533650"/>
              <a:gd name="connsiteX3" fmla="*/ 2624658 w 3005242"/>
              <a:gd name="connsiteY3" fmla="*/ 1295400 h 2533650"/>
              <a:gd name="connsiteX4" fmla="*/ 148158 w 3005242"/>
              <a:gd name="connsiteY4" fmla="*/ 914400 h 2533650"/>
              <a:gd name="connsiteX5" fmla="*/ 519633 w 3005242"/>
              <a:gd name="connsiteY5" fmla="*/ 0 h 253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5242" h="2533650">
                <a:moveTo>
                  <a:pt x="2329383" y="2533650"/>
                </a:moveTo>
                <a:cubicBezTo>
                  <a:pt x="2535758" y="2516187"/>
                  <a:pt x="2732608" y="2498725"/>
                  <a:pt x="2843733" y="2362200"/>
                </a:cubicBezTo>
                <a:cubicBezTo>
                  <a:pt x="2954858" y="2225675"/>
                  <a:pt x="3032646" y="1892300"/>
                  <a:pt x="2996133" y="1714500"/>
                </a:cubicBezTo>
                <a:cubicBezTo>
                  <a:pt x="2959620" y="1536700"/>
                  <a:pt x="3099321" y="1428750"/>
                  <a:pt x="2624658" y="1295400"/>
                </a:cubicBezTo>
                <a:cubicBezTo>
                  <a:pt x="2149995" y="1162050"/>
                  <a:pt x="537096" y="1225550"/>
                  <a:pt x="148158" y="914400"/>
                </a:cubicBezTo>
                <a:cubicBezTo>
                  <a:pt x="-240780" y="603250"/>
                  <a:pt x="225945" y="117475"/>
                  <a:pt x="519633"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 name="Freihandform 9"/>
          <p:cNvSpPr/>
          <p:nvPr/>
        </p:nvSpPr>
        <p:spPr>
          <a:xfrm>
            <a:off x="5857875" y="3771900"/>
            <a:ext cx="685800" cy="1533525"/>
          </a:xfrm>
          <a:custGeom>
            <a:avLst/>
            <a:gdLst>
              <a:gd name="connsiteX0" fmla="*/ 0 w 685800"/>
              <a:gd name="connsiteY0" fmla="*/ 1533525 h 1533525"/>
              <a:gd name="connsiteX1" fmla="*/ 514350 w 685800"/>
              <a:gd name="connsiteY1" fmla="*/ 1009650 h 1533525"/>
              <a:gd name="connsiteX2" fmla="*/ 685800 w 685800"/>
              <a:gd name="connsiteY2" fmla="*/ 0 h 1533525"/>
            </a:gdLst>
            <a:ahLst/>
            <a:cxnLst>
              <a:cxn ang="0">
                <a:pos x="connsiteX0" y="connsiteY0"/>
              </a:cxn>
              <a:cxn ang="0">
                <a:pos x="connsiteX1" y="connsiteY1"/>
              </a:cxn>
              <a:cxn ang="0">
                <a:pos x="connsiteX2" y="connsiteY2"/>
              </a:cxn>
            </a:cxnLst>
            <a:rect l="l" t="t" r="r" b="b"/>
            <a:pathLst>
              <a:path w="685800" h="1533525">
                <a:moveTo>
                  <a:pt x="0" y="1533525"/>
                </a:moveTo>
                <a:cubicBezTo>
                  <a:pt x="200025" y="1399381"/>
                  <a:pt x="400050" y="1265237"/>
                  <a:pt x="514350" y="1009650"/>
                </a:cubicBezTo>
                <a:cubicBezTo>
                  <a:pt x="628650" y="754062"/>
                  <a:pt x="657225" y="377031"/>
                  <a:pt x="685800" y="0"/>
                </a:cubicBezTo>
              </a:path>
            </a:pathLst>
          </a:cu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Freihandform 10"/>
          <p:cNvSpPr/>
          <p:nvPr/>
        </p:nvSpPr>
        <p:spPr>
          <a:xfrm>
            <a:off x="754389" y="2705100"/>
            <a:ext cx="5932730" cy="838200"/>
          </a:xfrm>
          <a:custGeom>
            <a:avLst/>
            <a:gdLst>
              <a:gd name="connsiteX0" fmla="*/ 5113011 w 5932730"/>
              <a:gd name="connsiteY0" fmla="*/ 0 h 838200"/>
              <a:gd name="connsiteX1" fmla="*/ 5560686 w 5932730"/>
              <a:gd name="connsiteY1" fmla="*/ 152400 h 838200"/>
              <a:gd name="connsiteX2" fmla="*/ 379086 w 5932730"/>
              <a:gd name="connsiteY2" fmla="*/ 476250 h 838200"/>
              <a:gd name="connsiteX3" fmla="*/ 798186 w 5932730"/>
              <a:gd name="connsiteY3" fmla="*/ 838200 h 838200"/>
            </a:gdLst>
            <a:ahLst/>
            <a:cxnLst>
              <a:cxn ang="0">
                <a:pos x="connsiteX0" y="connsiteY0"/>
              </a:cxn>
              <a:cxn ang="0">
                <a:pos x="connsiteX1" y="connsiteY1"/>
              </a:cxn>
              <a:cxn ang="0">
                <a:pos x="connsiteX2" y="connsiteY2"/>
              </a:cxn>
              <a:cxn ang="0">
                <a:pos x="connsiteX3" y="connsiteY3"/>
              </a:cxn>
            </a:cxnLst>
            <a:rect l="l" t="t" r="r" b="b"/>
            <a:pathLst>
              <a:path w="5932730" h="838200">
                <a:moveTo>
                  <a:pt x="5113011" y="0"/>
                </a:moveTo>
                <a:cubicBezTo>
                  <a:pt x="5731342" y="36512"/>
                  <a:pt x="6349673" y="73025"/>
                  <a:pt x="5560686" y="152400"/>
                </a:cubicBezTo>
                <a:cubicBezTo>
                  <a:pt x="4771699" y="231775"/>
                  <a:pt x="1172836" y="361950"/>
                  <a:pt x="379086" y="476250"/>
                </a:cubicBezTo>
                <a:cubicBezTo>
                  <a:pt x="-414664" y="590550"/>
                  <a:pt x="191761" y="714375"/>
                  <a:pt x="798186" y="83820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63" name="Rechteck 62"/>
          <p:cNvSpPr/>
          <p:nvPr/>
        </p:nvSpPr>
        <p:spPr>
          <a:xfrm>
            <a:off x="5148000" y="2637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g] = ^c[ ];</a:t>
            </a:r>
          </a:p>
        </p:txBody>
      </p:sp>
      <p:sp>
        <p:nvSpPr>
          <p:cNvPr id="64" name="Rechteck 63"/>
          <p:cNvSpPr/>
          <p:nvPr/>
        </p:nvSpPr>
        <p:spPr>
          <a:xfrm>
            <a:off x="5220000" y="3861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d] = ^a[ ];</a:t>
            </a:r>
          </a:p>
        </p:txBody>
      </p:sp>
      <p:sp>
        <p:nvSpPr>
          <p:cNvPr id="66" name="Rechteck 65"/>
          <p:cNvSpPr/>
          <p:nvPr/>
        </p:nvSpPr>
        <p:spPr>
          <a:xfrm>
            <a:off x="5220000" y="4725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 = ^a[b];</a:t>
            </a:r>
          </a:p>
        </p:txBody>
      </p:sp>
      <p:sp>
        <p:nvSpPr>
          <p:cNvPr id="67" name="Rechteck 66"/>
          <p:cNvSpPr/>
          <p:nvPr/>
        </p:nvSpPr>
        <p:spPr>
          <a:xfrm>
            <a:off x="5220000" y="5589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f] = ^c[e];</a:t>
            </a:r>
          </a:p>
        </p:txBody>
      </p:sp>
      <p:sp>
        <p:nvSpPr>
          <p:cNvPr id="68" name="Rechteck 67"/>
          <p:cNvSpPr/>
          <p:nvPr/>
        </p:nvSpPr>
        <p:spPr>
          <a:xfrm>
            <a:off x="5940000" y="5373000"/>
            <a:ext cx="1080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Will create direct</a:t>
            </a:r>
          </a:p>
          <a:p>
            <a:r>
              <a:rPr lang="en-US" sz="1000" dirty="0">
                <a:solidFill>
                  <a:schemeClr val="tx1"/>
                </a:solidFill>
              </a:rPr>
              <a:t>reference to a[b]</a:t>
            </a:r>
          </a:p>
        </p:txBody>
      </p:sp>
      <p:cxnSp>
        <p:nvCxnSpPr>
          <p:cNvPr id="5" name="Gerade Verbindung mit Pfeil 4"/>
          <p:cNvCxnSpPr/>
          <p:nvPr/>
        </p:nvCxnSpPr>
        <p:spPr>
          <a:xfrm flipV="1">
            <a:off x="5724000" y="5013000"/>
            <a:ext cx="0" cy="57600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66660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Array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    ( a[0]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51" name="Freihandform 150"/>
          <p:cNvSpPr/>
          <p:nvPr/>
        </p:nvSpPr>
        <p:spPr>
          <a:xfrm flipV="1">
            <a:off x="3348000" y="1845000"/>
            <a:ext cx="720080" cy="64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Rechteck 62"/>
          <p:cNvSpPr/>
          <p:nvPr/>
        </p:nvSpPr>
        <p:spPr>
          <a:xfrm>
            <a:off x="4068000" y="2349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4" name="Rechteck 63"/>
          <p:cNvSpPr/>
          <p:nvPr/>
        </p:nvSpPr>
        <p:spPr>
          <a:xfrm>
            <a:off x="4068000" y="2565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7" name="Rechteck 66"/>
          <p:cNvSpPr/>
          <p:nvPr/>
        </p:nvSpPr>
        <p:spPr>
          <a:xfrm>
            <a:off x="4068000" y="2133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68" name="Rechteck 67"/>
          <p:cNvSpPr/>
          <p:nvPr/>
        </p:nvSpPr>
        <p:spPr>
          <a:xfrm>
            <a:off x="4716072" y="2133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 a[1] )</a:t>
            </a:r>
          </a:p>
        </p:txBody>
      </p:sp>
      <p:sp>
        <p:nvSpPr>
          <p:cNvPr id="78" name="Rechteck 77"/>
          <p:cNvSpPr/>
          <p:nvPr/>
        </p:nvSpPr>
        <p:spPr>
          <a:xfrm>
            <a:off x="4068000" y="2781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0" name="Rechteck 79"/>
          <p:cNvSpPr/>
          <p:nvPr/>
        </p:nvSpPr>
        <p:spPr>
          <a:xfrm>
            <a:off x="4067920" y="3357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1" name="Rechteck 80"/>
          <p:cNvSpPr/>
          <p:nvPr/>
        </p:nvSpPr>
        <p:spPr>
          <a:xfrm>
            <a:off x="4067920" y="3573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2" name="Rechteck 81"/>
          <p:cNvSpPr/>
          <p:nvPr/>
        </p:nvSpPr>
        <p:spPr>
          <a:xfrm>
            <a:off x="4715992" y="3357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83" name="Rechteck 82"/>
          <p:cNvSpPr/>
          <p:nvPr/>
        </p:nvSpPr>
        <p:spPr>
          <a:xfrm>
            <a:off x="4715992" y="3573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a:t>
            </a:r>
            <a:endParaRPr lang="en-US" sz="1000" dirty="0">
              <a:solidFill>
                <a:schemeClr val="tx1"/>
              </a:solidFill>
            </a:endParaRPr>
          </a:p>
        </p:txBody>
      </p:sp>
      <p:sp>
        <p:nvSpPr>
          <p:cNvPr id="84" name="Rechteck 83"/>
          <p:cNvSpPr/>
          <p:nvPr/>
        </p:nvSpPr>
        <p:spPr>
          <a:xfrm>
            <a:off x="4067920" y="3141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85" name="Rechteck 84"/>
          <p:cNvSpPr/>
          <p:nvPr/>
        </p:nvSpPr>
        <p:spPr>
          <a:xfrm>
            <a:off x="4715992" y="3141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    ( a[2] )</a:t>
            </a:r>
          </a:p>
        </p:txBody>
      </p:sp>
      <p:sp>
        <p:nvSpPr>
          <p:cNvPr id="86" name="Rechteck 85"/>
          <p:cNvSpPr/>
          <p:nvPr/>
        </p:nvSpPr>
        <p:spPr>
          <a:xfrm>
            <a:off x="4067920" y="3789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7" name="Rechteck 86"/>
          <p:cNvSpPr/>
          <p:nvPr/>
        </p:nvSpPr>
        <p:spPr>
          <a:xfrm>
            <a:off x="4715992" y="3789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88" name="Rechteck 87"/>
          <p:cNvSpPr/>
          <p:nvPr/>
        </p:nvSpPr>
        <p:spPr>
          <a:xfrm>
            <a:off x="4067840" y="4364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9" name="Rechteck 88"/>
          <p:cNvSpPr/>
          <p:nvPr/>
        </p:nvSpPr>
        <p:spPr>
          <a:xfrm>
            <a:off x="4067840" y="4580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0" name="Rechteck 89"/>
          <p:cNvSpPr/>
          <p:nvPr/>
        </p:nvSpPr>
        <p:spPr>
          <a:xfrm>
            <a:off x="4715912" y="43649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91" name="Rechteck 90"/>
          <p:cNvSpPr/>
          <p:nvPr/>
        </p:nvSpPr>
        <p:spPr>
          <a:xfrm>
            <a:off x="4715912" y="4580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o</a:t>
            </a:r>
            <a:endParaRPr lang="en-US" sz="1000" dirty="0">
              <a:solidFill>
                <a:schemeClr val="tx1"/>
              </a:solidFill>
            </a:endParaRPr>
          </a:p>
        </p:txBody>
      </p:sp>
      <p:sp>
        <p:nvSpPr>
          <p:cNvPr id="92" name="Rechteck 91"/>
          <p:cNvSpPr/>
          <p:nvPr/>
        </p:nvSpPr>
        <p:spPr>
          <a:xfrm>
            <a:off x="4067840" y="4148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93" name="Rechteck 92"/>
          <p:cNvSpPr/>
          <p:nvPr/>
        </p:nvSpPr>
        <p:spPr>
          <a:xfrm>
            <a:off x="4715912" y="4148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a[3] )</a:t>
            </a:r>
          </a:p>
        </p:txBody>
      </p:sp>
      <p:sp>
        <p:nvSpPr>
          <p:cNvPr id="94" name="Rechteck 93"/>
          <p:cNvSpPr/>
          <p:nvPr/>
        </p:nvSpPr>
        <p:spPr>
          <a:xfrm>
            <a:off x="4067840" y="4796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5" name="Rechteck 94"/>
          <p:cNvSpPr/>
          <p:nvPr/>
        </p:nvSpPr>
        <p:spPr>
          <a:xfrm>
            <a:off x="4715912" y="4796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6" name="Rechteck 95"/>
          <p:cNvSpPr/>
          <p:nvPr/>
        </p:nvSpPr>
        <p:spPr>
          <a:xfrm>
            <a:off x="4716000" y="134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3" name="Freihandform 2"/>
          <p:cNvSpPr/>
          <p:nvPr/>
        </p:nvSpPr>
        <p:spPr>
          <a:xfrm>
            <a:off x="3165637" y="1864659"/>
            <a:ext cx="3201827" cy="2626659"/>
          </a:xfrm>
          <a:custGeom>
            <a:avLst/>
            <a:gdLst>
              <a:gd name="connsiteX0" fmla="*/ 2685366 w 3171984"/>
              <a:gd name="connsiteY0" fmla="*/ 0 h 2626659"/>
              <a:gd name="connsiteX1" fmla="*/ 3017060 w 3171984"/>
              <a:gd name="connsiteY1" fmla="*/ 143435 h 2626659"/>
              <a:gd name="connsiteX2" fmla="*/ 497978 w 3171984"/>
              <a:gd name="connsiteY2" fmla="*/ 349623 h 2626659"/>
              <a:gd name="connsiteX3" fmla="*/ 22848 w 3171984"/>
              <a:gd name="connsiteY3" fmla="*/ 1810870 h 2626659"/>
              <a:gd name="connsiteX4" fmla="*/ 874495 w 3171984"/>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1827" h="2626659">
                <a:moveTo>
                  <a:pt x="2715209" y="0"/>
                </a:moveTo>
                <a:cubicBezTo>
                  <a:pt x="3063338" y="42582"/>
                  <a:pt x="3411467" y="85165"/>
                  <a:pt x="3046903" y="143435"/>
                </a:cubicBezTo>
                <a:cubicBezTo>
                  <a:pt x="2682339" y="201705"/>
                  <a:pt x="1026856" y="71717"/>
                  <a:pt x="527821" y="349623"/>
                </a:cubicBezTo>
                <a:cubicBezTo>
                  <a:pt x="28786" y="627529"/>
                  <a:pt x="-81780" y="1198281"/>
                  <a:pt x="52691" y="1810870"/>
                </a:cubicBezTo>
                <a:cubicBezTo>
                  <a:pt x="187162" y="2423459"/>
                  <a:pt x="339562" y="2417482"/>
                  <a:pt x="904338" y="2626659"/>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97" name="Freihandform 96"/>
          <p:cNvSpPr/>
          <p:nvPr/>
        </p:nvSpPr>
        <p:spPr>
          <a:xfrm>
            <a:off x="3872207" y="1817544"/>
            <a:ext cx="2558085" cy="674298"/>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605937 w 3136847"/>
              <a:gd name="connsiteY0" fmla="*/ 1108953 h 1108953"/>
              <a:gd name="connsiteX1" fmla="*/ 2967887 w 3136847"/>
              <a:gd name="connsiteY1" fmla="*/ 804153 h 1108953"/>
              <a:gd name="connsiteX2" fmla="*/ 186587 w 3136847"/>
              <a:gd name="connsiteY2" fmla="*/ 356478 h 1108953"/>
              <a:gd name="connsiteX3" fmla="*/ 346249 w 3136847"/>
              <a:gd name="connsiteY3" fmla="*/ 0 h 1108953"/>
              <a:gd name="connsiteX0" fmla="*/ 2669676 w 3200586"/>
              <a:gd name="connsiteY0" fmla="*/ 1094209 h 1094209"/>
              <a:gd name="connsiteX1" fmla="*/ 3031626 w 3200586"/>
              <a:gd name="connsiteY1" fmla="*/ 789409 h 1094209"/>
              <a:gd name="connsiteX2" fmla="*/ 250326 w 3200586"/>
              <a:gd name="connsiteY2" fmla="*/ 341734 h 1094209"/>
              <a:gd name="connsiteX3" fmla="*/ 244499 w 3200586"/>
              <a:gd name="connsiteY3" fmla="*/ 0 h 1094209"/>
              <a:gd name="connsiteX0" fmla="*/ 2449026 w 3148149"/>
              <a:gd name="connsiteY0" fmla="*/ 1108953 h 1108953"/>
              <a:gd name="connsiteX1" fmla="*/ 3031626 w 3148149"/>
              <a:gd name="connsiteY1" fmla="*/ 789409 h 1108953"/>
              <a:gd name="connsiteX2" fmla="*/ 250326 w 3148149"/>
              <a:gd name="connsiteY2" fmla="*/ 341734 h 1108953"/>
              <a:gd name="connsiteX3" fmla="*/ 244499 w 3148149"/>
              <a:gd name="connsiteY3" fmla="*/ 0 h 1108953"/>
            </a:gdLst>
            <a:ahLst/>
            <a:cxnLst>
              <a:cxn ang="0">
                <a:pos x="connsiteX0" y="connsiteY0"/>
              </a:cxn>
              <a:cxn ang="0">
                <a:pos x="connsiteX1" y="connsiteY1"/>
              </a:cxn>
              <a:cxn ang="0">
                <a:pos x="connsiteX2" y="connsiteY2"/>
              </a:cxn>
              <a:cxn ang="0">
                <a:pos x="connsiteX3" y="connsiteY3"/>
              </a:cxn>
            </a:cxnLst>
            <a:rect l="l" t="t" r="r" b="b"/>
            <a:pathLst>
              <a:path w="3148149" h="1108953">
                <a:moveTo>
                  <a:pt x="2449026" y="1108953"/>
                </a:moveTo>
                <a:cubicBezTo>
                  <a:pt x="2815738" y="1035134"/>
                  <a:pt x="3398076" y="917279"/>
                  <a:pt x="3031626" y="789409"/>
                </a:cubicBezTo>
                <a:cubicBezTo>
                  <a:pt x="2665176" y="661539"/>
                  <a:pt x="610689" y="505247"/>
                  <a:pt x="250326" y="341734"/>
                </a:cubicBezTo>
                <a:cubicBezTo>
                  <a:pt x="-110037" y="178222"/>
                  <a:pt x="-53951" y="28178"/>
                  <a:pt x="244499"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98" name="Freihandform 97"/>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Freihandform 98"/>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Freihandform 99"/>
          <p:cNvSpPr/>
          <p:nvPr/>
        </p:nvSpPr>
        <p:spPr>
          <a:xfrm flipV="1">
            <a:off x="3348000" y="1845000"/>
            <a:ext cx="720080" cy="2592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1" name="Rechteck 100"/>
          <p:cNvSpPr/>
          <p:nvPr/>
        </p:nvSpPr>
        <p:spPr>
          <a:xfrm>
            <a:off x="4716000" y="234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2" name="Rechteck 101"/>
          <p:cNvSpPr/>
          <p:nvPr/>
        </p:nvSpPr>
        <p:spPr>
          <a:xfrm>
            <a:off x="5940000" y="1341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a”</a:t>
            </a:r>
          </a:p>
          <a:p>
            <a:r>
              <a:rPr lang="en-US" sz="1000" dirty="0">
                <a:solidFill>
                  <a:schemeClr val="tx1"/>
                </a:solidFill>
              </a:rPr>
              <a:t>at initialization</a:t>
            </a:r>
          </a:p>
        </p:txBody>
      </p:sp>
      <p:sp>
        <p:nvSpPr>
          <p:cNvPr id="103" name="Rechteck 102"/>
          <p:cNvSpPr/>
          <p:nvPr/>
        </p:nvSpPr>
        <p:spPr>
          <a:xfrm>
            <a:off x="5940000" y="2637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e”</a:t>
            </a:r>
          </a:p>
          <a:p>
            <a:r>
              <a:rPr lang="en-US" sz="1000" dirty="0">
                <a:solidFill>
                  <a:schemeClr val="tx1"/>
                </a:solidFill>
              </a:rPr>
              <a:t>at initialization</a:t>
            </a:r>
          </a:p>
        </p:txBody>
      </p:sp>
      <p:sp>
        <p:nvSpPr>
          <p:cNvPr id="5" name="Freihandform 4"/>
          <p:cNvSpPr/>
          <p:nvPr/>
        </p:nvSpPr>
        <p:spPr>
          <a:xfrm>
            <a:off x="3164541" y="3173506"/>
            <a:ext cx="896471" cy="537882"/>
          </a:xfrm>
          <a:custGeom>
            <a:avLst/>
            <a:gdLst>
              <a:gd name="connsiteX0" fmla="*/ 0 w 896471"/>
              <a:gd name="connsiteY0" fmla="*/ 0 h 537882"/>
              <a:gd name="connsiteX1" fmla="*/ 313765 w 896471"/>
              <a:gd name="connsiteY1" fmla="*/ 376518 h 537882"/>
              <a:gd name="connsiteX2" fmla="*/ 896471 w 896471"/>
              <a:gd name="connsiteY2" fmla="*/ 537882 h 537882"/>
            </a:gdLst>
            <a:ahLst/>
            <a:cxnLst>
              <a:cxn ang="0">
                <a:pos x="connsiteX0" y="connsiteY0"/>
              </a:cxn>
              <a:cxn ang="0">
                <a:pos x="connsiteX1" y="connsiteY1"/>
              </a:cxn>
              <a:cxn ang="0">
                <a:pos x="connsiteX2" y="connsiteY2"/>
              </a:cxn>
            </a:cxnLst>
            <a:rect l="l" t="t" r="r" b="b"/>
            <a:pathLst>
              <a:path w="896471" h="537882">
                <a:moveTo>
                  <a:pt x="0" y="0"/>
                </a:moveTo>
                <a:cubicBezTo>
                  <a:pt x="82176" y="143435"/>
                  <a:pt x="164353" y="286871"/>
                  <a:pt x="313765" y="376518"/>
                </a:cubicBezTo>
                <a:cubicBezTo>
                  <a:pt x="463177" y="466165"/>
                  <a:pt x="679824" y="502023"/>
                  <a:pt x="896471" y="537882"/>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4" name="Rechteck 103"/>
          <p:cNvSpPr/>
          <p:nvPr/>
        </p:nvSpPr>
        <p:spPr>
          <a:xfrm>
            <a:off x="2988000" y="3429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115" name="Rechteck 114"/>
          <p:cNvSpPr/>
          <p:nvPr/>
        </p:nvSpPr>
        <p:spPr>
          <a:xfrm>
            <a:off x="2340000" y="31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0] =^ a[2];</a:t>
            </a:r>
          </a:p>
        </p:txBody>
      </p:sp>
      <p:sp>
        <p:nvSpPr>
          <p:cNvPr id="116" name="Rechteck 115"/>
          <p:cNvSpPr/>
          <p:nvPr/>
        </p:nvSpPr>
        <p:spPr>
          <a:xfrm>
            <a:off x="2484000" y="242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0] =^  a[3];</a:t>
            </a:r>
          </a:p>
        </p:txBody>
      </p:sp>
      <p:sp>
        <p:nvSpPr>
          <p:cNvPr id="120" name="Rechteck 119"/>
          <p:cNvSpPr/>
          <p:nvPr/>
        </p:nvSpPr>
        <p:spPr>
          <a:xfrm>
            <a:off x="6516000" y="1989000"/>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1] =^^ a[0];</a:t>
            </a:r>
          </a:p>
        </p:txBody>
      </p:sp>
      <p:sp>
        <p:nvSpPr>
          <p:cNvPr id="130" name="Rechteck 129"/>
          <p:cNvSpPr/>
          <p:nvPr/>
        </p:nvSpPr>
        <p:spPr>
          <a:xfrm>
            <a:off x="6516000" y="220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Two “^^” forces </a:t>
            </a:r>
          </a:p>
          <a:p>
            <a:r>
              <a:rPr lang="en-US" sz="1000" dirty="0">
                <a:solidFill>
                  <a:srgbClr val="00B050"/>
                </a:solidFill>
              </a:rPr>
              <a:t>reference to reference</a:t>
            </a:r>
          </a:p>
        </p:txBody>
      </p:sp>
    </p:spTree>
    <p:extLst>
      <p:ext uri="{BB962C8B-B14F-4D97-AF65-F5344CB8AC3E}">
        <p14:creationId xmlns:p14="http://schemas.microsoft.com/office/powerpoint/2010/main" val="37100468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Basics</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5076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5076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6660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6660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50" name="Rechteck 49">
            <a:extLst>
              <a:ext uri="{FF2B5EF4-FFF2-40B4-BE49-F238E27FC236}">
                <a16:creationId xmlns:a16="http://schemas.microsoft.com/office/drawing/2014/main" id="{398C8725-02FE-470D-89FA-441688B628B4}"/>
              </a:ext>
            </a:extLst>
          </p:cNvPr>
          <p:cNvSpPr/>
          <p:nvPr/>
        </p:nvSpPr>
        <p:spPr>
          <a:xfrm>
            <a:off x="396000" y="112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51" name="Rechteck 50">
            <a:extLst>
              <a:ext uri="{FF2B5EF4-FFF2-40B4-BE49-F238E27FC236}">
                <a16:creationId xmlns:a16="http://schemas.microsoft.com/office/drawing/2014/main" id="{D19AD3EC-E761-4D40-AFFE-AD794A1EA568}"/>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 name="Pfeil: nach rechts 2">
            <a:extLst>
              <a:ext uri="{FF2B5EF4-FFF2-40B4-BE49-F238E27FC236}">
                <a16:creationId xmlns:a16="http://schemas.microsoft.com/office/drawing/2014/main" id="{D14AAC77-0E38-47F1-901C-880C122645D4}"/>
              </a:ext>
            </a:extLst>
          </p:cNvPr>
          <p:cNvSpPr/>
          <p:nvPr/>
        </p:nvSpPr>
        <p:spPr>
          <a:xfrm flipH="1">
            <a:off x="3852000" y="105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3" name="Rechteck 52">
            <a:extLst>
              <a:ext uri="{FF2B5EF4-FFF2-40B4-BE49-F238E27FC236}">
                <a16:creationId xmlns:a16="http://schemas.microsoft.com/office/drawing/2014/main" id="{0D41DE28-B7D9-4F7D-8C3A-274B2C2BAE0A}"/>
              </a:ext>
            </a:extLst>
          </p:cNvPr>
          <p:cNvSpPr/>
          <p:nvPr/>
        </p:nvSpPr>
        <p:spPr>
          <a:xfrm>
            <a:off x="396000" y="3069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54" name="Rechteck 53">
            <a:extLst>
              <a:ext uri="{FF2B5EF4-FFF2-40B4-BE49-F238E27FC236}">
                <a16:creationId xmlns:a16="http://schemas.microsoft.com/office/drawing/2014/main" id="{9CB533E3-7FBA-4216-80AF-AD383B22834F}"/>
              </a:ext>
            </a:extLst>
          </p:cNvPr>
          <p:cNvSpPr/>
          <p:nvPr/>
        </p:nvSpPr>
        <p:spPr>
          <a:xfrm>
            <a:off x="4644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55" name="Rechteck 54">
            <a:extLst>
              <a:ext uri="{FF2B5EF4-FFF2-40B4-BE49-F238E27FC236}">
                <a16:creationId xmlns:a16="http://schemas.microsoft.com/office/drawing/2014/main" id="{1CD96544-288A-4753-A15F-D843C6CBD989}"/>
              </a:ext>
            </a:extLst>
          </p:cNvPr>
          <p:cNvSpPr/>
          <p:nvPr/>
        </p:nvSpPr>
        <p:spPr>
          <a:xfrm>
            <a:off x="4860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56" name="Rechteck 55">
            <a:extLst>
              <a:ext uri="{FF2B5EF4-FFF2-40B4-BE49-F238E27FC236}">
                <a16:creationId xmlns:a16="http://schemas.microsoft.com/office/drawing/2014/main" id="{FED3E7C6-8926-4F89-8F9E-4F246E04AB73}"/>
              </a:ext>
            </a:extLst>
          </p:cNvPr>
          <p:cNvSpPr/>
          <p:nvPr/>
        </p:nvSpPr>
        <p:spPr>
          <a:xfrm>
            <a:off x="5076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57" name="Rechteck 56">
            <a:extLst>
              <a:ext uri="{FF2B5EF4-FFF2-40B4-BE49-F238E27FC236}">
                <a16:creationId xmlns:a16="http://schemas.microsoft.com/office/drawing/2014/main" id="{EB5EAD4B-0E7A-4B72-8A1E-305A0E63C825}"/>
              </a:ext>
            </a:extLst>
          </p:cNvPr>
          <p:cNvSpPr/>
          <p:nvPr/>
        </p:nvSpPr>
        <p:spPr>
          <a:xfrm>
            <a:off x="5076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58" name="Rechteck 57">
            <a:extLst>
              <a:ext uri="{FF2B5EF4-FFF2-40B4-BE49-F238E27FC236}">
                <a16:creationId xmlns:a16="http://schemas.microsoft.com/office/drawing/2014/main" id="{F4063C95-342C-4445-B8EB-F57313571049}"/>
              </a:ext>
            </a:extLst>
          </p:cNvPr>
          <p:cNvSpPr/>
          <p:nvPr/>
        </p:nvSpPr>
        <p:spPr>
          <a:xfrm>
            <a:off x="5076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59" name="Rechteck 58">
            <a:extLst>
              <a:ext uri="{FF2B5EF4-FFF2-40B4-BE49-F238E27FC236}">
                <a16:creationId xmlns:a16="http://schemas.microsoft.com/office/drawing/2014/main" id="{61EA03A7-A934-4E41-8F86-580956D90E5A}"/>
              </a:ext>
            </a:extLst>
          </p:cNvPr>
          <p:cNvSpPr/>
          <p:nvPr/>
        </p:nvSpPr>
        <p:spPr>
          <a:xfrm>
            <a:off x="5508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60" name="Rechteck 59">
            <a:extLst>
              <a:ext uri="{FF2B5EF4-FFF2-40B4-BE49-F238E27FC236}">
                <a16:creationId xmlns:a16="http://schemas.microsoft.com/office/drawing/2014/main" id="{CDDDEA5B-1281-4F35-8401-7296128BF5C0}"/>
              </a:ext>
            </a:extLst>
          </p:cNvPr>
          <p:cNvSpPr/>
          <p:nvPr/>
        </p:nvSpPr>
        <p:spPr>
          <a:xfrm>
            <a:off x="5076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6" name="Rechteck 65">
            <a:extLst>
              <a:ext uri="{FF2B5EF4-FFF2-40B4-BE49-F238E27FC236}">
                <a16:creationId xmlns:a16="http://schemas.microsoft.com/office/drawing/2014/main" id="{510BBBC6-954A-4126-8037-622E0240D4DD}"/>
              </a:ext>
            </a:extLst>
          </p:cNvPr>
          <p:cNvSpPr/>
          <p:nvPr/>
        </p:nvSpPr>
        <p:spPr>
          <a:xfrm>
            <a:off x="4860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7" name="Rechteck 66">
            <a:extLst>
              <a:ext uri="{FF2B5EF4-FFF2-40B4-BE49-F238E27FC236}">
                <a16:creationId xmlns:a16="http://schemas.microsoft.com/office/drawing/2014/main" id="{45D800E7-D712-454F-A55D-D4216D3BAAEF}"/>
              </a:ext>
            </a:extLst>
          </p:cNvPr>
          <p:cNvSpPr/>
          <p:nvPr/>
        </p:nvSpPr>
        <p:spPr>
          <a:xfrm>
            <a:off x="5076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3" name="Rechteck 72">
            <a:extLst>
              <a:ext uri="{FF2B5EF4-FFF2-40B4-BE49-F238E27FC236}">
                <a16:creationId xmlns:a16="http://schemas.microsoft.com/office/drawing/2014/main" id="{FB44AFD4-5846-4239-A996-75DEC7B0AB15}"/>
              </a:ext>
            </a:extLst>
          </p:cNvPr>
          <p:cNvSpPr/>
          <p:nvPr/>
        </p:nvSpPr>
        <p:spPr>
          <a:xfrm>
            <a:off x="5076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4" name="Rechteck 73">
            <a:extLst>
              <a:ext uri="{FF2B5EF4-FFF2-40B4-BE49-F238E27FC236}">
                <a16:creationId xmlns:a16="http://schemas.microsoft.com/office/drawing/2014/main" id="{DBEE5593-39D6-4B4E-B512-E8406FAF55F5}"/>
              </a:ext>
            </a:extLst>
          </p:cNvPr>
          <p:cNvSpPr/>
          <p:nvPr/>
        </p:nvSpPr>
        <p:spPr>
          <a:xfrm>
            <a:off x="6444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75" name="Rechteck 74">
            <a:extLst>
              <a:ext uri="{FF2B5EF4-FFF2-40B4-BE49-F238E27FC236}">
                <a16:creationId xmlns:a16="http://schemas.microsoft.com/office/drawing/2014/main" id="{BFFFEC49-6D7D-4F5A-AFBB-D71043C213EB}"/>
              </a:ext>
            </a:extLst>
          </p:cNvPr>
          <p:cNvSpPr/>
          <p:nvPr/>
        </p:nvSpPr>
        <p:spPr>
          <a:xfrm>
            <a:off x="5868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76" name="Rechteck 75">
            <a:extLst>
              <a:ext uri="{FF2B5EF4-FFF2-40B4-BE49-F238E27FC236}">
                <a16:creationId xmlns:a16="http://schemas.microsoft.com/office/drawing/2014/main" id="{6A0A8D66-E999-482B-85C5-8B8B047DCB0C}"/>
              </a:ext>
            </a:extLst>
          </p:cNvPr>
          <p:cNvSpPr/>
          <p:nvPr/>
        </p:nvSpPr>
        <p:spPr>
          <a:xfrm>
            <a:off x="6660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77" name="Rechteck 76">
            <a:extLst>
              <a:ext uri="{FF2B5EF4-FFF2-40B4-BE49-F238E27FC236}">
                <a16:creationId xmlns:a16="http://schemas.microsoft.com/office/drawing/2014/main" id="{97DF2E11-FF44-473E-AE7F-235904623869}"/>
              </a:ext>
            </a:extLst>
          </p:cNvPr>
          <p:cNvSpPr/>
          <p:nvPr/>
        </p:nvSpPr>
        <p:spPr>
          <a:xfrm>
            <a:off x="6660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78" name="Rechteck 77">
            <a:extLst>
              <a:ext uri="{FF2B5EF4-FFF2-40B4-BE49-F238E27FC236}">
                <a16:creationId xmlns:a16="http://schemas.microsoft.com/office/drawing/2014/main" id="{12E66AF4-134E-4927-A611-83F0EBDD06CC}"/>
              </a:ext>
            </a:extLst>
          </p:cNvPr>
          <p:cNvSpPr/>
          <p:nvPr/>
        </p:nvSpPr>
        <p:spPr>
          <a:xfrm>
            <a:off x="6660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79" name="Rechteck 78">
            <a:extLst>
              <a:ext uri="{FF2B5EF4-FFF2-40B4-BE49-F238E27FC236}">
                <a16:creationId xmlns:a16="http://schemas.microsoft.com/office/drawing/2014/main" id="{E8A3F915-1526-4FBF-BC33-3BE3FE32C3EC}"/>
              </a:ext>
            </a:extLst>
          </p:cNvPr>
          <p:cNvSpPr/>
          <p:nvPr/>
        </p:nvSpPr>
        <p:spPr>
          <a:xfrm>
            <a:off x="7092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80" name="Rechteck 79">
            <a:extLst>
              <a:ext uri="{FF2B5EF4-FFF2-40B4-BE49-F238E27FC236}">
                <a16:creationId xmlns:a16="http://schemas.microsoft.com/office/drawing/2014/main" id="{DA533854-3BAB-465A-981F-4C3D61B2A97E}"/>
              </a:ext>
            </a:extLst>
          </p:cNvPr>
          <p:cNvSpPr/>
          <p:nvPr/>
        </p:nvSpPr>
        <p:spPr>
          <a:xfrm>
            <a:off x="5508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81" name="Rechteck 80">
            <a:extLst>
              <a:ext uri="{FF2B5EF4-FFF2-40B4-BE49-F238E27FC236}">
                <a16:creationId xmlns:a16="http://schemas.microsoft.com/office/drawing/2014/main" id="{E89DB512-7FF5-4B3D-948A-291F46F927EC}"/>
              </a:ext>
            </a:extLst>
          </p:cNvPr>
          <p:cNvSpPr/>
          <p:nvPr/>
        </p:nvSpPr>
        <p:spPr>
          <a:xfrm>
            <a:off x="7740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87" name="Rechteck 86">
            <a:extLst>
              <a:ext uri="{FF2B5EF4-FFF2-40B4-BE49-F238E27FC236}">
                <a16:creationId xmlns:a16="http://schemas.microsoft.com/office/drawing/2014/main" id="{A2C78947-BD44-4906-8DF0-4598A6AA155C}"/>
              </a:ext>
            </a:extLst>
          </p:cNvPr>
          <p:cNvSpPr/>
          <p:nvPr/>
        </p:nvSpPr>
        <p:spPr>
          <a:xfrm>
            <a:off x="6084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89" name="Pfeil: nach rechts 88">
            <a:extLst>
              <a:ext uri="{FF2B5EF4-FFF2-40B4-BE49-F238E27FC236}">
                <a16:creationId xmlns:a16="http://schemas.microsoft.com/office/drawing/2014/main" id="{444617D2-245A-47BD-B7AA-E225C2D0C8B5}"/>
              </a:ext>
            </a:extLst>
          </p:cNvPr>
          <p:cNvSpPr/>
          <p:nvPr/>
        </p:nvSpPr>
        <p:spPr>
          <a:xfrm flipH="1">
            <a:off x="3852000" y="3321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586C3874-0594-4020-A983-6AE96996D3EB}"/>
              </a:ext>
            </a:extLst>
          </p:cNvPr>
          <p:cNvSpPr/>
          <p:nvPr/>
        </p:nvSpPr>
        <p:spPr>
          <a:xfrm>
            <a:off x="396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91" name="Rechteck 90">
            <a:extLst>
              <a:ext uri="{FF2B5EF4-FFF2-40B4-BE49-F238E27FC236}">
                <a16:creationId xmlns:a16="http://schemas.microsoft.com/office/drawing/2014/main" id="{75FA5758-ABAF-427F-B468-87795E8749A2}"/>
              </a:ext>
            </a:extLst>
          </p:cNvPr>
          <p:cNvSpPr/>
          <p:nvPr/>
        </p:nvSpPr>
        <p:spPr>
          <a:xfrm>
            <a:off x="1620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92" name="Rechteck 91">
            <a:extLst>
              <a:ext uri="{FF2B5EF4-FFF2-40B4-BE49-F238E27FC236}">
                <a16:creationId xmlns:a16="http://schemas.microsoft.com/office/drawing/2014/main" id="{D542C148-832D-4341-872F-F0CD520307E7}"/>
              </a:ext>
            </a:extLst>
          </p:cNvPr>
          <p:cNvSpPr/>
          <p:nvPr/>
        </p:nvSpPr>
        <p:spPr>
          <a:xfrm>
            <a:off x="612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93" name="Rechteck 92">
            <a:extLst>
              <a:ext uri="{FF2B5EF4-FFF2-40B4-BE49-F238E27FC236}">
                <a16:creationId xmlns:a16="http://schemas.microsoft.com/office/drawing/2014/main" id="{0D9699C6-0837-4E0F-9710-921F9919708E}"/>
              </a:ext>
            </a:extLst>
          </p:cNvPr>
          <p:cNvSpPr/>
          <p:nvPr/>
        </p:nvSpPr>
        <p:spPr>
          <a:xfrm>
            <a:off x="828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94" name="Rechteck 93">
            <a:extLst>
              <a:ext uri="{FF2B5EF4-FFF2-40B4-BE49-F238E27FC236}">
                <a16:creationId xmlns:a16="http://schemas.microsoft.com/office/drawing/2014/main" id="{07AE96CB-2523-4471-9951-7A30CE8652D3}"/>
              </a:ext>
            </a:extLst>
          </p:cNvPr>
          <p:cNvSpPr/>
          <p:nvPr/>
        </p:nvSpPr>
        <p:spPr>
          <a:xfrm>
            <a:off x="828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95" name="Rechteck 94">
            <a:extLst>
              <a:ext uri="{FF2B5EF4-FFF2-40B4-BE49-F238E27FC236}">
                <a16:creationId xmlns:a16="http://schemas.microsoft.com/office/drawing/2014/main" id="{4C44CB02-0F5A-4D61-9F49-929502D375C1}"/>
              </a:ext>
            </a:extLst>
          </p:cNvPr>
          <p:cNvSpPr/>
          <p:nvPr/>
        </p:nvSpPr>
        <p:spPr>
          <a:xfrm>
            <a:off x="828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96" name="Rechteck 95">
            <a:extLst>
              <a:ext uri="{FF2B5EF4-FFF2-40B4-BE49-F238E27FC236}">
                <a16:creationId xmlns:a16="http://schemas.microsoft.com/office/drawing/2014/main" id="{D2AE1FC7-5835-407A-9172-9AF1229B64D8}"/>
              </a:ext>
            </a:extLst>
          </p:cNvPr>
          <p:cNvSpPr/>
          <p:nvPr/>
        </p:nvSpPr>
        <p:spPr>
          <a:xfrm>
            <a:off x="1260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97" name="Rechteck 96">
            <a:extLst>
              <a:ext uri="{FF2B5EF4-FFF2-40B4-BE49-F238E27FC236}">
                <a16:creationId xmlns:a16="http://schemas.microsoft.com/office/drawing/2014/main" id="{0ABBF546-9AE8-4F42-BC4D-624121DDAA59}"/>
              </a:ext>
            </a:extLst>
          </p:cNvPr>
          <p:cNvSpPr/>
          <p:nvPr/>
        </p:nvSpPr>
        <p:spPr>
          <a:xfrm>
            <a:off x="828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98" name="Rechteck 97">
            <a:extLst>
              <a:ext uri="{FF2B5EF4-FFF2-40B4-BE49-F238E27FC236}">
                <a16:creationId xmlns:a16="http://schemas.microsoft.com/office/drawing/2014/main" id="{14D64BB6-AFD4-4939-B14F-2728E56227C7}"/>
              </a:ext>
            </a:extLst>
          </p:cNvPr>
          <p:cNvSpPr/>
          <p:nvPr/>
        </p:nvSpPr>
        <p:spPr>
          <a:xfrm>
            <a:off x="612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01" name="Rechteck 100">
            <a:extLst>
              <a:ext uri="{FF2B5EF4-FFF2-40B4-BE49-F238E27FC236}">
                <a16:creationId xmlns:a16="http://schemas.microsoft.com/office/drawing/2014/main" id="{6DE24AE9-8C6E-4A45-BFF1-3A823C69989A}"/>
              </a:ext>
            </a:extLst>
          </p:cNvPr>
          <p:cNvSpPr/>
          <p:nvPr/>
        </p:nvSpPr>
        <p:spPr>
          <a:xfrm>
            <a:off x="828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7" name="Rechteck 106">
            <a:extLst>
              <a:ext uri="{FF2B5EF4-FFF2-40B4-BE49-F238E27FC236}">
                <a16:creationId xmlns:a16="http://schemas.microsoft.com/office/drawing/2014/main" id="{BE1C1EBC-39E2-43FF-90E1-7D5650BE4BC0}"/>
              </a:ext>
            </a:extLst>
          </p:cNvPr>
          <p:cNvSpPr/>
          <p:nvPr/>
        </p:nvSpPr>
        <p:spPr>
          <a:xfrm>
            <a:off x="828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8" name="Rechteck 107">
            <a:extLst>
              <a:ext uri="{FF2B5EF4-FFF2-40B4-BE49-F238E27FC236}">
                <a16:creationId xmlns:a16="http://schemas.microsoft.com/office/drawing/2014/main" id="{4B658B81-66E6-4A69-B9C7-3C25BF406019}"/>
              </a:ext>
            </a:extLst>
          </p:cNvPr>
          <p:cNvSpPr/>
          <p:nvPr/>
        </p:nvSpPr>
        <p:spPr>
          <a:xfrm>
            <a:off x="2196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09" name="Rechteck 108">
            <a:extLst>
              <a:ext uri="{FF2B5EF4-FFF2-40B4-BE49-F238E27FC236}">
                <a16:creationId xmlns:a16="http://schemas.microsoft.com/office/drawing/2014/main" id="{84384D1E-89C9-4E78-B6BF-6DD05528AE36}"/>
              </a:ext>
            </a:extLst>
          </p:cNvPr>
          <p:cNvSpPr/>
          <p:nvPr/>
        </p:nvSpPr>
        <p:spPr>
          <a:xfrm>
            <a:off x="2412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10" name="Rechteck 109">
            <a:extLst>
              <a:ext uri="{FF2B5EF4-FFF2-40B4-BE49-F238E27FC236}">
                <a16:creationId xmlns:a16="http://schemas.microsoft.com/office/drawing/2014/main" id="{5CEF34F7-0797-4780-A209-F94569DA0725}"/>
              </a:ext>
            </a:extLst>
          </p:cNvPr>
          <p:cNvSpPr/>
          <p:nvPr/>
        </p:nvSpPr>
        <p:spPr>
          <a:xfrm>
            <a:off x="2412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11" name="Rechteck 110">
            <a:extLst>
              <a:ext uri="{FF2B5EF4-FFF2-40B4-BE49-F238E27FC236}">
                <a16:creationId xmlns:a16="http://schemas.microsoft.com/office/drawing/2014/main" id="{BF7743A7-181A-4CEC-9226-558DD1DB53A8}"/>
              </a:ext>
            </a:extLst>
          </p:cNvPr>
          <p:cNvSpPr/>
          <p:nvPr/>
        </p:nvSpPr>
        <p:spPr>
          <a:xfrm>
            <a:off x="2412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12" name="Rechteck 111">
            <a:extLst>
              <a:ext uri="{FF2B5EF4-FFF2-40B4-BE49-F238E27FC236}">
                <a16:creationId xmlns:a16="http://schemas.microsoft.com/office/drawing/2014/main" id="{7CB4304B-A753-4B12-9ABA-BC38B5760AC1}"/>
              </a:ext>
            </a:extLst>
          </p:cNvPr>
          <p:cNvSpPr/>
          <p:nvPr/>
        </p:nvSpPr>
        <p:spPr>
          <a:xfrm>
            <a:off x="2844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13" name="Rechteck 112">
            <a:extLst>
              <a:ext uri="{FF2B5EF4-FFF2-40B4-BE49-F238E27FC236}">
                <a16:creationId xmlns:a16="http://schemas.microsoft.com/office/drawing/2014/main" id="{E67876D3-533F-4692-990F-3C5E9A9B63B6}"/>
              </a:ext>
            </a:extLst>
          </p:cNvPr>
          <p:cNvSpPr/>
          <p:nvPr/>
        </p:nvSpPr>
        <p:spPr>
          <a:xfrm>
            <a:off x="1260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14" name="Rechteck 113">
            <a:extLst>
              <a:ext uri="{FF2B5EF4-FFF2-40B4-BE49-F238E27FC236}">
                <a16:creationId xmlns:a16="http://schemas.microsoft.com/office/drawing/2014/main" id="{3B55799A-45C4-43DC-9F43-A8911EA07B3C}"/>
              </a:ext>
            </a:extLst>
          </p:cNvPr>
          <p:cNvSpPr/>
          <p:nvPr/>
        </p:nvSpPr>
        <p:spPr>
          <a:xfrm>
            <a:off x="3492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15" name="Rechteck 114">
            <a:extLst>
              <a:ext uri="{FF2B5EF4-FFF2-40B4-BE49-F238E27FC236}">
                <a16:creationId xmlns:a16="http://schemas.microsoft.com/office/drawing/2014/main" id="{CED82CFB-9478-420A-919A-5662D5354198}"/>
              </a:ext>
            </a:extLst>
          </p:cNvPr>
          <p:cNvSpPr/>
          <p:nvPr/>
        </p:nvSpPr>
        <p:spPr>
          <a:xfrm>
            <a:off x="1836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30920398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amp; Operator</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77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1989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63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7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1845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63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77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198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198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3" name="Pfeil: nach rechts 2">
            <a:extLst>
              <a:ext uri="{FF2B5EF4-FFF2-40B4-BE49-F238E27FC236}">
                <a16:creationId xmlns:a16="http://schemas.microsoft.com/office/drawing/2014/main" id="{D14AAC77-0E38-47F1-901C-880C122645D4}"/>
              </a:ext>
            </a:extLst>
          </p:cNvPr>
          <p:cNvSpPr/>
          <p:nvPr/>
        </p:nvSpPr>
        <p:spPr>
          <a:xfrm rot="16200000" flipH="1">
            <a:off x="4176000" y="2817000"/>
            <a:ext cx="396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6" name="Rechteck 85">
            <a:extLst>
              <a:ext uri="{FF2B5EF4-FFF2-40B4-BE49-F238E27FC236}">
                <a16:creationId xmlns:a16="http://schemas.microsoft.com/office/drawing/2014/main" id="{9636AC88-B41D-4AF4-A89B-EB47E18BE484}"/>
              </a:ext>
            </a:extLst>
          </p:cNvPr>
          <p:cNvSpPr/>
          <p:nvPr/>
        </p:nvSpPr>
        <p:spPr>
          <a:xfrm>
            <a:off x="396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06" name="Rechteck 105">
            <a:extLst>
              <a:ext uri="{FF2B5EF4-FFF2-40B4-BE49-F238E27FC236}">
                <a16:creationId xmlns:a16="http://schemas.microsoft.com/office/drawing/2014/main" id="{C3BEE3E9-C1C6-4FCD-9F08-FCD64C250AF6}"/>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16" name="Rechteck 115">
            <a:extLst>
              <a:ext uri="{FF2B5EF4-FFF2-40B4-BE49-F238E27FC236}">
                <a16:creationId xmlns:a16="http://schemas.microsoft.com/office/drawing/2014/main" id="{B35437F7-EBD0-4DFC-826B-1A2A1F6C9502}"/>
              </a:ext>
            </a:extLst>
          </p:cNvPr>
          <p:cNvSpPr/>
          <p:nvPr/>
        </p:nvSpPr>
        <p:spPr>
          <a:xfrm>
            <a:off x="612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17" name="Rechteck 116">
            <a:extLst>
              <a:ext uri="{FF2B5EF4-FFF2-40B4-BE49-F238E27FC236}">
                <a16:creationId xmlns:a16="http://schemas.microsoft.com/office/drawing/2014/main" id="{1527B550-F26C-4154-91A5-976C6A9FF3DB}"/>
              </a:ext>
            </a:extLst>
          </p:cNvPr>
          <p:cNvSpPr/>
          <p:nvPr/>
        </p:nvSpPr>
        <p:spPr>
          <a:xfrm>
            <a:off x="828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18" name="Rechteck 117">
            <a:extLst>
              <a:ext uri="{FF2B5EF4-FFF2-40B4-BE49-F238E27FC236}">
                <a16:creationId xmlns:a16="http://schemas.microsoft.com/office/drawing/2014/main" id="{4F55444C-46C8-46D3-8411-C0C3BB944B7A}"/>
              </a:ext>
            </a:extLst>
          </p:cNvPr>
          <p:cNvSpPr/>
          <p:nvPr/>
        </p:nvSpPr>
        <p:spPr>
          <a:xfrm>
            <a:off x="828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19" name="Rechteck 118">
            <a:extLst>
              <a:ext uri="{FF2B5EF4-FFF2-40B4-BE49-F238E27FC236}">
                <a16:creationId xmlns:a16="http://schemas.microsoft.com/office/drawing/2014/main" id="{A4D70E83-B93A-4990-9FD4-07A117A7D6EF}"/>
              </a:ext>
            </a:extLst>
          </p:cNvPr>
          <p:cNvSpPr/>
          <p:nvPr/>
        </p:nvSpPr>
        <p:spPr>
          <a:xfrm>
            <a:off x="828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20" name="Rechteck 119">
            <a:extLst>
              <a:ext uri="{FF2B5EF4-FFF2-40B4-BE49-F238E27FC236}">
                <a16:creationId xmlns:a16="http://schemas.microsoft.com/office/drawing/2014/main" id="{57DE26EE-56BF-4777-A37B-E4A864244CD9}"/>
              </a:ext>
            </a:extLst>
          </p:cNvPr>
          <p:cNvSpPr/>
          <p:nvPr/>
        </p:nvSpPr>
        <p:spPr>
          <a:xfrm>
            <a:off x="1260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21" name="Rechteck 120">
            <a:extLst>
              <a:ext uri="{FF2B5EF4-FFF2-40B4-BE49-F238E27FC236}">
                <a16:creationId xmlns:a16="http://schemas.microsoft.com/office/drawing/2014/main" id="{0D4EC818-956F-49B2-B9B7-B326DDDEF711}"/>
              </a:ext>
            </a:extLst>
          </p:cNvPr>
          <p:cNvSpPr/>
          <p:nvPr/>
        </p:nvSpPr>
        <p:spPr>
          <a:xfrm>
            <a:off x="828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2" name="Rechteck 121">
            <a:extLst>
              <a:ext uri="{FF2B5EF4-FFF2-40B4-BE49-F238E27FC236}">
                <a16:creationId xmlns:a16="http://schemas.microsoft.com/office/drawing/2014/main" id="{E3DA4A77-3278-4085-87FA-9CCC948CC083}"/>
              </a:ext>
            </a:extLst>
          </p:cNvPr>
          <p:cNvSpPr/>
          <p:nvPr/>
        </p:nvSpPr>
        <p:spPr>
          <a:xfrm>
            <a:off x="612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23" name="Rechteck 122">
            <a:extLst>
              <a:ext uri="{FF2B5EF4-FFF2-40B4-BE49-F238E27FC236}">
                <a16:creationId xmlns:a16="http://schemas.microsoft.com/office/drawing/2014/main" id="{BFEA1657-F404-4E54-859D-39B87D0377D3}"/>
              </a:ext>
            </a:extLst>
          </p:cNvPr>
          <p:cNvSpPr/>
          <p:nvPr/>
        </p:nvSpPr>
        <p:spPr>
          <a:xfrm>
            <a:off x="828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4" name="Rechteck 123">
            <a:extLst>
              <a:ext uri="{FF2B5EF4-FFF2-40B4-BE49-F238E27FC236}">
                <a16:creationId xmlns:a16="http://schemas.microsoft.com/office/drawing/2014/main" id="{F2E6C491-4C62-4B49-BAC9-951E3A793743}"/>
              </a:ext>
            </a:extLst>
          </p:cNvPr>
          <p:cNvSpPr/>
          <p:nvPr/>
        </p:nvSpPr>
        <p:spPr>
          <a:xfrm>
            <a:off x="828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8" name="Rechteck 127">
            <a:extLst>
              <a:ext uri="{FF2B5EF4-FFF2-40B4-BE49-F238E27FC236}">
                <a16:creationId xmlns:a16="http://schemas.microsoft.com/office/drawing/2014/main" id="{90D78154-5511-4C6B-B4FA-27B380CF8672}"/>
              </a:ext>
            </a:extLst>
          </p:cNvPr>
          <p:cNvSpPr/>
          <p:nvPr/>
        </p:nvSpPr>
        <p:spPr>
          <a:xfrm>
            <a:off x="2196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29" name="Rechteck 128">
            <a:extLst>
              <a:ext uri="{FF2B5EF4-FFF2-40B4-BE49-F238E27FC236}">
                <a16:creationId xmlns:a16="http://schemas.microsoft.com/office/drawing/2014/main" id="{64856CDD-64D7-4965-92CD-2F58F8AE466D}"/>
              </a:ext>
            </a:extLst>
          </p:cNvPr>
          <p:cNvSpPr/>
          <p:nvPr/>
        </p:nvSpPr>
        <p:spPr>
          <a:xfrm>
            <a:off x="2412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30" name="Rechteck 129">
            <a:extLst>
              <a:ext uri="{FF2B5EF4-FFF2-40B4-BE49-F238E27FC236}">
                <a16:creationId xmlns:a16="http://schemas.microsoft.com/office/drawing/2014/main" id="{955FEBFE-DAD7-44F2-8AAE-9523816F3F48}"/>
              </a:ext>
            </a:extLst>
          </p:cNvPr>
          <p:cNvSpPr/>
          <p:nvPr/>
        </p:nvSpPr>
        <p:spPr>
          <a:xfrm>
            <a:off x="2412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31" name="Rechteck 130">
            <a:extLst>
              <a:ext uri="{FF2B5EF4-FFF2-40B4-BE49-F238E27FC236}">
                <a16:creationId xmlns:a16="http://schemas.microsoft.com/office/drawing/2014/main" id="{CA61558F-85E9-4702-B930-7CE64E5ADE76}"/>
              </a:ext>
            </a:extLst>
          </p:cNvPr>
          <p:cNvSpPr/>
          <p:nvPr/>
        </p:nvSpPr>
        <p:spPr>
          <a:xfrm>
            <a:off x="2412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34" name="Rechteck 133">
            <a:extLst>
              <a:ext uri="{FF2B5EF4-FFF2-40B4-BE49-F238E27FC236}">
                <a16:creationId xmlns:a16="http://schemas.microsoft.com/office/drawing/2014/main" id="{FAA9ADFB-EDCE-48AE-AE3C-AD957E2CB554}"/>
              </a:ext>
            </a:extLst>
          </p:cNvPr>
          <p:cNvSpPr/>
          <p:nvPr/>
        </p:nvSpPr>
        <p:spPr>
          <a:xfrm>
            <a:off x="2844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35" name="Rechteck 134">
            <a:extLst>
              <a:ext uri="{FF2B5EF4-FFF2-40B4-BE49-F238E27FC236}">
                <a16:creationId xmlns:a16="http://schemas.microsoft.com/office/drawing/2014/main" id="{40A2974F-B60A-4512-875D-900CB9A60449}"/>
              </a:ext>
            </a:extLst>
          </p:cNvPr>
          <p:cNvSpPr/>
          <p:nvPr/>
        </p:nvSpPr>
        <p:spPr>
          <a:xfrm>
            <a:off x="1260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36" name="Rechteck 135">
            <a:extLst>
              <a:ext uri="{FF2B5EF4-FFF2-40B4-BE49-F238E27FC236}">
                <a16:creationId xmlns:a16="http://schemas.microsoft.com/office/drawing/2014/main" id="{DD136DBC-CE5C-4ECD-B255-22A627B2AB5E}"/>
              </a:ext>
            </a:extLst>
          </p:cNvPr>
          <p:cNvSpPr/>
          <p:nvPr/>
        </p:nvSpPr>
        <p:spPr>
          <a:xfrm>
            <a:off x="3492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37" name="Rechteck 136">
            <a:extLst>
              <a:ext uri="{FF2B5EF4-FFF2-40B4-BE49-F238E27FC236}">
                <a16:creationId xmlns:a16="http://schemas.microsoft.com/office/drawing/2014/main" id="{C0A968BC-C966-4EF0-8D15-23F20F8EB9D6}"/>
              </a:ext>
            </a:extLst>
          </p:cNvPr>
          <p:cNvSpPr/>
          <p:nvPr/>
        </p:nvSpPr>
        <p:spPr>
          <a:xfrm>
            <a:off x="1836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38" name="Rechteck 137">
            <a:extLst>
              <a:ext uri="{FF2B5EF4-FFF2-40B4-BE49-F238E27FC236}">
                <a16:creationId xmlns:a16="http://schemas.microsoft.com/office/drawing/2014/main" id="{C4F71E87-D7C2-41AD-97FB-20B13BB70510}"/>
              </a:ext>
            </a:extLst>
          </p:cNvPr>
          <p:cNvSpPr/>
          <p:nvPr/>
        </p:nvSpPr>
        <p:spPr>
          <a:xfrm>
            <a:off x="5076000" y="220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39" name="Rechteck 138">
            <a:extLst>
              <a:ext uri="{FF2B5EF4-FFF2-40B4-BE49-F238E27FC236}">
                <a16:creationId xmlns:a16="http://schemas.microsoft.com/office/drawing/2014/main" id="{F809A568-B835-4AFF-AA85-4F465F35C4BF}"/>
              </a:ext>
            </a:extLst>
          </p:cNvPr>
          <p:cNvSpPr/>
          <p:nvPr/>
        </p:nvSpPr>
        <p:spPr>
          <a:xfrm>
            <a:off x="6660000" y="220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40" name="Rechteck 139">
            <a:extLst>
              <a:ext uri="{FF2B5EF4-FFF2-40B4-BE49-F238E27FC236}">
                <a16:creationId xmlns:a16="http://schemas.microsoft.com/office/drawing/2014/main" id="{CB848029-5354-4320-A4BC-DF5EF815179D}"/>
              </a:ext>
            </a:extLst>
          </p:cNvPr>
          <p:cNvSpPr/>
          <p:nvPr/>
        </p:nvSpPr>
        <p:spPr>
          <a:xfrm>
            <a:off x="5508000" y="242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41" name="Rechteck 140">
            <a:extLst>
              <a:ext uri="{FF2B5EF4-FFF2-40B4-BE49-F238E27FC236}">
                <a16:creationId xmlns:a16="http://schemas.microsoft.com/office/drawing/2014/main" id="{D33AC347-73F3-40B8-9830-FD77C469B4AC}"/>
              </a:ext>
            </a:extLst>
          </p:cNvPr>
          <p:cNvSpPr/>
          <p:nvPr/>
        </p:nvSpPr>
        <p:spPr>
          <a:xfrm>
            <a:off x="7740000" y="242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142" name="Rechteck 141">
            <a:extLst>
              <a:ext uri="{FF2B5EF4-FFF2-40B4-BE49-F238E27FC236}">
                <a16:creationId xmlns:a16="http://schemas.microsoft.com/office/drawing/2014/main" id="{633CCC55-CFCF-44D4-9A42-797DAF2C9C4C}"/>
              </a:ext>
            </a:extLst>
          </p:cNvPr>
          <p:cNvSpPr/>
          <p:nvPr/>
        </p:nvSpPr>
        <p:spPr>
          <a:xfrm>
            <a:off x="612000" y="3501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43" name="Rechteck 142">
            <a:extLst>
              <a:ext uri="{FF2B5EF4-FFF2-40B4-BE49-F238E27FC236}">
                <a16:creationId xmlns:a16="http://schemas.microsoft.com/office/drawing/2014/main" id="{5480B0BD-B53F-4B0A-BC8D-805AAA293819}"/>
              </a:ext>
            </a:extLst>
          </p:cNvPr>
          <p:cNvSpPr/>
          <p:nvPr/>
        </p:nvSpPr>
        <p:spPr>
          <a:xfrm>
            <a:off x="1836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44" name="Rechteck 143">
            <a:extLst>
              <a:ext uri="{FF2B5EF4-FFF2-40B4-BE49-F238E27FC236}">
                <a16:creationId xmlns:a16="http://schemas.microsoft.com/office/drawing/2014/main" id="{517C0060-52B8-4DF1-AAB9-1757DDEC36C5}"/>
              </a:ext>
            </a:extLst>
          </p:cNvPr>
          <p:cNvSpPr/>
          <p:nvPr/>
        </p:nvSpPr>
        <p:spPr>
          <a:xfrm>
            <a:off x="828000" y="371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5" name="Rechteck 144">
            <a:extLst>
              <a:ext uri="{FF2B5EF4-FFF2-40B4-BE49-F238E27FC236}">
                <a16:creationId xmlns:a16="http://schemas.microsoft.com/office/drawing/2014/main" id="{AA457F73-DFEE-400E-9680-5AB0092B5D32}"/>
              </a:ext>
            </a:extLst>
          </p:cNvPr>
          <p:cNvSpPr/>
          <p:nvPr/>
        </p:nvSpPr>
        <p:spPr>
          <a:xfrm>
            <a:off x="1044000" y="39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6" name="Rechteck 145">
            <a:extLst>
              <a:ext uri="{FF2B5EF4-FFF2-40B4-BE49-F238E27FC236}">
                <a16:creationId xmlns:a16="http://schemas.microsoft.com/office/drawing/2014/main" id="{BF102042-0F41-492C-A5D6-C94B500C3E9A}"/>
              </a:ext>
            </a:extLst>
          </p:cNvPr>
          <p:cNvSpPr/>
          <p:nvPr/>
        </p:nvSpPr>
        <p:spPr>
          <a:xfrm>
            <a:off x="1044000" y="414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7" name="Rechteck 146">
            <a:extLst>
              <a:ext uri="{FF2B5EF4-FFF2-40B4-BE49-F238E27FC236}">
                <a16:creationId xmlns:a16="http://schemas.microsoft.com/office/drawing/2014/main" id="{7C9AF2DA-E797-48B3-AAF1-7395F478ABAC}"/>
              </a:ext>
            </a:extLst>
          </p:cNvPr>
          <p:cNvSpPr/>
          <p:nvPr/>
        </p:nvSpPr>
        <p:spPr>
          <a:xfrm>
            <a:off x="1044000" y="486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8" name="Rechteck 147">
            <a:extLst>
              <a:ext uri="{FF2B5EF4-FFF2-40B4-BE49-F238E27FC236}">
                <a16:creationId xmlns:a16="http://schemas.microsoft.com/office/drawing/2014/main" id="{20E21B9A-DDB1-4A64-955D-9BABBFF0363C}"/>
              </a:ext>
            </a:extLst>
          </p:cNvPr>
          <p:cNvSpPr/>
          <p:nvPr/>
        </p:nvSpPr>
        <p:spPr>
          <a:xfrm>
            <a:off x="1476000" y="436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9" name="Rechteck 148">
            <a:extLst>
              <a:ext uri="{FF2B5EF4-FFF2-40B4-BE49-F238E27FC236}">
                <a16:creationId xmlns:a16="http://schemas.microsoft.com/office/drawing/2014/main" id="{7149EB0A-4271-4A16-A723-6440C61D9E65}"/>
              </a:ext>
            </a:extLst>
          </p:cNvPr>
          <p:cNvSpPr/>
          <p:nvPr/>
        </p:nvSpPr>
        <p:spPr>
          <a:xfrm>
            <a:off x="1044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0" name="Rechteck 149">
            <a:extLst>
              <a:ext uri="{FF2B5EF4-FFF2-40B4-BE49-F238E27FC236}">
                <a16:creationId xmlns:a16="http://schemas.microsoft.com/office/drawing/2014/main" id="{DCEA86C0-ABD6-4787-882B-7C1D62AC3C22}"/>
              </a:ext>
            </a:extLst>
          </p:cNvPr>
          <p:cNvSpPr/>
          <p:nvPr/>
        </p:nvSpPr>
        <p:spPr>
          <a:xfrm>
            <a:off x="828000" y="50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51" name="Rechteck 150">
            <a:extLst>
              <a:ext uri="{FF2B5EF4-FFF2-40B4-BE49-F238E27FC236}">
                <a16:creationId xmlns:a16="http://schemas.microsoft.com/office/drawing/2014/main" id="{59B0933C-981C-4795-8396-509229A33068}"/>
              </a:ext>
            </a:extLst>
          </p:cNvPr>
          <p:cNvSpPr/>
          <p:nvPr/>
        </p:nvSpPr>
        <p:spPr>
          <a:xfrm>
            <a:off x="1044000" y="4364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2" name="Rechteck 151">
            <a:extLst>
              <a:ext uri="{FF2B5EF4-FFF2-40B4-BE49-F238E27FC236}">
                <a16:creationId xmlns:a16="http://schemas.microsoft.com/office/drawing/2014/main" id="{BC583D5C-3668-47F2-AA64-F1123D427C03}"/>
              </a:ext>
            </a:extLst>
          </p:cNvPr>
          <p:cNvSpPr/>
          <p:nvPr/>
        </p:nvSpPr>
        <p:spPr>
          <a:xfrm>
            <a:off x="1044000" y="450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3" name="Rechteck 152">
            <a:extLst>
              <a:ext uri="{FF2B5EF4-FFF2-40B4-BE49-F238E27FC236}">
                <a16:creationId xmlns:a16="http://schemas.microsoft.com/office/drawing/2014/main" id="{F7AAC52D-B036-41C7-8A9B-3D995FE2DDFA}"/>
              </a:ext>
            </a:extLst>
          </p:cNvPr>
          <p:cNvSpPr/>
          <p:nvPr/>
        </p:nvSpPr>
        <p:spPr>
          <a:xfrm>
            <a:off x="2412000" y="508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154" name="Rechteck 153">
            <a:extLst>
              <a:ext uri="{FF2B5EF4-FFF2-40B4-BE49-F238E27FC236}">
                <a16:creationId xmlns:a16="http://schemas.microsoft.com/office/drawing/2014/main" id="{96D27238-155E-4171-AE7B-FCEEB4B725A7}"/>
              </a:ext>
            </a:extLst>
          </p:cNvPr>
          <p:cNvSpPr/>
          <p:nvPr/>
        </p:nvSpPr>
        <p:spPr>
          <a:xfrm>
            <a:off x="2628000" y="39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55" name="Rechteck 154">
            <a:extLst>
              <a:ext uri="{FF2B5EF4-FFF2-40B4-BE49-F238E27FC236}">
                <a16:creationId xmlns:a16="http://schemas.microsoft.com/office/drawing/2014/main" id="{8601BF0C-7F66-4C10-AFE9-27164DAE1D19}"/>
              </a:ext>
            </a:extLst>
          </p:cNvPr>
          <p:cNvSpPr/>
          <p:nvPr/>
        </p:nvSpPr>
        <p:spPr>
          <a:xfrm>
            <a:off x="2628000" y="414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6" name="Rechteck 155">
            <a:extLst>
              <a:ext uri="{FF2B5EF4-FFF2-40B4-BE49-F238E27FC236}">
                <a16:creationId xmlns:a16="http://schemas.microsoft.com/office/drawing/2014/main" id="{C8775603-3CE6-4EA3-9EF3-8E0CCAF94F58}"/>
              </a:ext>
            </a:extLst>
          </p:cNvPr>
          <p:cNvSpPr/>
          <p:nvPr/>
        </p:nvSpPr>
        <p:spPr>
          <a:xfrm>
            <a:off x="2628000" y="486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7" name="Rechteck 156">
            <a:extLst>
              <a:ext uri="{FF2B5EF4-FFF2-40B4-BE49-F238E27FC236}">
                <a16:creationId xmlns:a16="http://schemas.microsoft.com/office/drawing/2014/main" id="{0F40408D-2E0C-428A-9A69-79B5593F5311}"/>
              </a:ext>
            </a:extLst>
          </p:cNvPr>
          <p:cNvSpPr/>
          <p:nvPr/>
        </p:nvSpPr>
        <p:spPr>
          <a:xfrm>
            <a:off x="3060000" y="4365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8" name="Rechteck 157">
            <a:extLst>
              <a:ext uri="{FF2B5EF4-FFF2-40B4-BE49-F238E27FC236}">
                <a16:creationId xmlns:a16="http://schemas.microsoft.com/office/drawing/2014/main" id="{2300CB0D-8213-4F8C-B781-9640D939BCA2}"/>
              </a:ext>
            </a:extLst>
          </p:cNvPr>
          <p:cNvSpPr/>
          <p:nvPr/>
        </p:nvSpPr>
        <p:spPr>
          <a:xfrm>
            <a:off x="1476000" y="458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9" name="Rechteck 158">
            <a:extLst>
              <a:ext uri="{FF2B5EF4-FFF2-40B4-BE49-F238E27FC236}">
                <a16:creationId xmlns:a16="http://schemas.microsoft.com/office/drawing/2014/main" id="{63853724-A095-48CB-A2BB-2EF1E4DB7E0A}"/>
              </a:ext>
            </a:extLst>
          </p:cNvPr>
          <p:cNvSpPr/>
          <p:nvPr/>
        </p:nvSpPr>
        <p:spPr>
          <a:xfrm>
            <a:off x="3708000" y="458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160" name="Rechteck 159">
            <a:extLst>
              <a:ext uri="{FF2B5EF4-FFF2-40B4-BE49-F238E27FC236}">
                <a16:creationId xmlns:a16="http://schemas.microsoft.com/office/drawing/2014/main" id="{61A5D77F-187C-4478-81E0-86245C9B8BCF}"/>
              </a:ext>
            </a:extLst>
          </p:cNvPr>
          <p:cNvSpPr/>
          <p:nvPr/>
        </p:nvSpPr>
        <p:spPr>
          <a:xfrm>
            <a:off x="2052000" y="371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161" name="Rechteck 160">
            <a:extLst>
              <a:ext uri="{FF2B5EF4-FFF2-40B4-BE49-F238E27FC236}">
                <a16:creationId xmlns:a16="http://schemas.microsoft.com/office/drawing/2014/main" id="{D87A318D-91A0-4C27-A3DD-606FAA5E9B0E}"/>
              </a:ext>
            </a:extLst>
          </p:cNvPr>
          <p:cNvSpPr/>
          <p:nvPr/>
        </p:nvSpPr>
        <p:spPr>
          <a:xfrm>
            <a:off x="4644000" y="3501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62" name="Rechteck 161">
            <a:extLst>
              <a:ext uri="{FF2B5EF4-FFF2-40B4-BE49-F238E27FC236}">
                <a16:creationId xmlns:a16="http://schemas.microsoft.com/office/drawing/2014/main" id="{52996E0F-C14D-41C2-8D5D-C65A8F230025}"/>
              </a:ext>
            </a:extLst>
          </p:cNvPr>
          <p:cNvSpPr/>
          <p:nvPr/>
        </p:nvSpPr>
        <p:spPr>
          <a:xfrm>
            <a:off x="5868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5084810A-893E-45AC-B0C8-9842BDE374AD}"/>
              </a:ext>
            </a:extLst>
          </p:cNvPr>
          <p:cNvSpPr/>
          <p:nvPr/>
        </p:nvSpPr>
        <p:spPr>
          <a:xfrm>
            <a:off x="4644000" y="3789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a:t>
            </a:r>
          </a:p>
        </p:txBody>
      </p:sp>
      <p:sp>
        <p:nvSpPr>
          <p:cNvPr id="164" name="Rechteck 163">
            <a:extLst>
              <a:ext uri="{FF2B5EF4-FFF2-40B4-BE49-F238E27FC236}">
                <a16:creationId xmlns:a16="http://schemas.microsoft.com/office/drawing/2014/main" id="{A2E283CF-7C7A-45CF-87DC-82EB0FB026C3}"/>
              </a:ext>
            </a:extLst>
          </p:cNvPr>
          <p:cNvSpPr/>
          <p:nvPr/>
        </p:nvSpPr>
        <p:spPr>
          <a:xfrm>
            <a:off x="4644000" y="443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p:txBody>
      </p:sp>
    </p:spTree>
    <p:extLst>
      <p:ext uri="{BB962C8B-B14F-4D97-AF65-F5344CB8AC3E}">
        <p14:creationId xmlns:p14="http://schemas.microsoft.com/office/powerpoint/2010/main" val="35352561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091378" y="3046229"/>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a:p>
            <a:r>
              <a:rPr lang="en-US" sz="1000" dirty="0">
                <a:solidFill>
                  <a:schemeClr val="tx1"/>
                </a:solidFill>
              </a:rPr>
              <a:t>Horizontal access </a:t>
            </a:r>
            <a:r>
              <a:rPr lang="en-US" sz="1000" dirty="0" err="1">
                <a:solidFill>
                  <a:schemeClr val="tx1"/>
                </a:solidFill>
              </a:rPr>
              <a:t>var</a:t>
            </a:r>
            <a:r>
              <a:rPr lang="en-US" sz="1000" dirty="0">
                <a:solidFill>
                  <a:schemeClr val="tx1"/>
                </a:solidFill>
              </a:rPr>
              <a:t>[ ] = [tab:…];</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a:p>
            <a:r>
              <a:rPr lang="en-US" sz="1000" dirty="0">
                <a:solidFill>
                  <a:schemeClr val="tx1"/>
                </a:solidFill>
              </a:rPr>
              <a:t>Horizontal access [tab,…] = </a:t>
            </a:r>
            <a:r>
              <a:rPr lang="en-US" sz="1000" dirty="0" err="1">
                <a:solidFill>
                  <a:schemeClr val="tx1"/>
                </a:solidFill>
              </a:rPr>
              <a:t>var</a:t>
            </a:r>
            <a:r>
              <a:rPr lang="en-US" sz="1000" dirty="0">
                <a:solidFill>
                  <a:schemeClr val="tx1"/>
                </a:solidFill>
              </a:rPr>
              <a:t>[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extLst>
              <p:ext uri="{D42A27DB-BD31-4B8C-83A1-F6EECF244321}">
                <p14:modId xmlns:p14="http://schemas.microsoft.com/office/powerpoint/2010/main" val="805361378"/>
              </p:ext>
            </p:extLst>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2556000" y="90900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6" name="Rechteck 145"/>
          <p:cNvSpPr/>
          <p:nvPr/>
        </p:nvSpPr>
        <p:spPr>
          <a:xfrm>
            <a:off x="828000" y="2277000"/>
            <a:ext cx="2088494" cy="576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tab:..,0 ] = names [ ]; // Headers</a:t>
            </a:r>
          </a:p>
          <a:p>
            <a:r>
              <a:rPr lang="en-US" sz="1000" dirty="0">
                <a:solidFill>
                  <a:schemeClr val="tx1"/>
                </a:solidFill>
              </a:rPr>
              <a:t>[ tab:..,1 ] = values[ ]; // or:</a:t>
            </a:r>
          </a:p>
          <a:p>
            <a:r>
              <a:rPr lang="en-US" sz="1000" dirty="0">
                <a:solidFill>
                  <a:schemeClr val="tx1"/>
                </a:solidFill>
              </a:rPr>
              <a:t>[ </a:t>
            </a:r>
            <a:r>
              <a:rPr lang="en-US" sz="1000" dirty="0" err="1">
                <a:solidFill>
                  <a:schemeClr val="tx1"/>
                </a:solidFill>
              </a:rPr>
              <a:t>tab:Animal.dog</a:t>
            </a:r>
            <a:r>
              <a:rPr lang="en-US" sz="1000" dirty="0">
                <a:solidFill>
                  <a:schemeClr val="tx1"/>
                </a:solidFill>
              </a:rPr>
              <a:t>,..] = values[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
        <p:nvSpPr>
          <p:cNvPr id="38" name="Rechteck 37"/>
          <p:cNvSpPr/>
          <p:nvPr/>
        </p:nvSpPr>
        <p:spPr>
          <a:xfrm>
            <a:off x="1476000" y="1557000"/>
            <a:ext cx="2016000" cy="57600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tab:..,0 ]; // Headers</a:t>
            </a:r>
          </a:p>
          <a:p>
            <a:r>
              <a:rPr lang="en-US" sz="1000" dirty="0">
                <a:solidFill>
                  <a:schemeClr val="tx1"/>
                </a:solidFill>
              </a:rPr>
              <a:t>values[ ] = [ tab:..,1 ]; // or:</a:t>
            </a:r>
          </a:p>
          <a:p>
            <a:r>
              <a:rPr lang="en-US" sz="1000" dirty="0">
                <a:solidFill>
                  <a:schemeClr val="tx1"/>
                </a:solidFill>
              </a:rPr>
              <a:t>values[ ] = [ </a:t>
            </a:r>
            <a:r>
              <a:rPr lang="en-US" sz="1000" dirty="0" err="1">
                <a:solidFill>
                  <a:schemeClr val="tx1"/>
                </a:solidFill>
              </a:rPr>
              <a:t>tab:Animal.dog</a:t>
            </a:r>
            <a:r>
              <a:rPr lang="en-US" sz="1000" dirty="0">
                <a:solidFill>
                  <a:schemeClr val="tx1"/>
                </a:solidFill>
              </a:rPr>
              <a:t>,..]</a:t>
            </a:r>
          </a:p>
        </p:txBody>
      </p:sp>
    </p:spTree>
    <p:extLst>
      <p:ext uri="{BB962C8B-B14F-4D97-AF65-F5344CB8AC3E}">
        <p14:creationId xmlns:p14="http://schemas.microsoft.com/office/powerpoint/2010/main" val="20496010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358D4-6466-8140-2E25-2A104BBA8F0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B54019B-4AF8-B4B9-DD90-7F46818E6B7E}"/>
              </a:ext>
            </a:extLst>
          </p:cNvPr>
          <p:cNvSpPr>
            <a:spLocks noGrp="1"/>
          </p:cNvSpPr>
          <p:nvPr>
            <p:ph type="title"/>
          </p:nvPr>
        </p:nvSpPr>
        <p:spPr/>
        <p:txBody>
          <a:bodyPr/>
          <a:lstStyle/>
          <a:p>
            <a:r>
              <a:rPr lang="en-US" dirty="0"/>
              <a:t>Introduction</a:t>
            </a:r>
            <a:br>
              <a:rPr lang="en-US" dirty="0"/>
            </a:br>
            <a:r>
              <a:rPr lang="en-US" dirty="0"/>
              <a:t>Problem Statement</a:t>
            </a:r>
          </a:p>
        </p:txBody>
      </p:sp>
      <p:sp>
        <p:nvSpPr>
          <p:cNvPr id="5" name="TextBox 29">
            <a:extLst>
              <a:ext uri="{FF2B5EF4-FFF2-40B4-BE49-F238E27FC236}">
                <a16:creationId xmlns:a16="http://schemas.microsoft.com/office/drawing/2014/main" id="{00D51134-FDE6-F486-446B-B9AF3DDBCF5E}"/>
              </a:ext>
            </a:extLst>
          </p:cNvPr>
          <p:cNvSpPr txBox="1"/>
          <p:nvPr/>
        </p:nvSpPr>
        <p:spPr>
          <a:xfrm>
            <a:off x="3563999" y="5330486"/>
            <a:ext cx="4739927" cy="830997"/>
          </a:xfrm>
          <a:prstGeom prst="rect">
            <a:avLst/>
          </a:prstGeom>
          <a:noFill/>
        </p:spPr>
        <p:txBody>
          <a:bodyPr wrap="square" rtlCol="0">
            <a:spAutoFit/>
          </a:bodyPr>
          <a:lstStyle/>
          <a:p>
            <a:r>
              <a:rPr lang="en-US" sz="1200" b="1" dirty="0">
                <a:solidFill>
                  <a:schemeClr val="accent5"/>
                </a:solidFill>
              </a:rPr>
              <a:t>$ 1 Billion loss:  </a:t>
            </a:r>
            <a:r>
              <a:rPr lang="en-US" sz="1200" dirty="0">
                <a:solidFill>
                  <a:schemeClr val="tx1">
                    <a:lumMod val="65000"/>
                    <a:lumOff val="35000"/>
                  </a:schemeClr>
                </a:solidFill>
              </a:rPr>
              <a:t>A </a:t>
            </a:r>
            <a:r>
              <a:rPr lang="en-US" sz="1200" b="1" i="1" dirty="0">
                <a:solidFill>
                  <a:schemeClr val="tx1">
                    <a:lumMod val="65000"/>
                    <a:lumOff val="35000"/>
                  </a:schemeClr>
                </a:solidFill>
              </a:rPr>
              <a:t>manual spreadsheet error at Fannie Mae </a:t>
            </a:r>
            <a:r>
              <a:rPr lang="en-US" sz="1200" dirty="0">
                <a:solidFill>
                  <a:schemeClr val="tx1">
                    <a:lumMod val="65000"/>
                    <a:lumOff val="35000"/>
                  </a:schemeClr>
                </a:solidFill>
              </a:rPr>
              <a:t>cost the company in excess of $1 billion, causing the share price to fall from $73.10 to $2.25 after the error was announced publicly</a:t>
            </a:r>
            <a:r>
              <a:rPr lang="en-US" sz="1200" dirty="0">
                <a:solidFill>
                  <a:schemeClr val="tx1">
                    <a:lumMod val="50000"/>
                    <a:lumOff val="50000"/>
                  </a:schemeClr>
                </a:solidFill>
              </a:rPr>
              <a:t>. [10]</a:t>
            </a:r>
          </a:p>
        </p:txBody>
      </p:sp>
      <p:pic>
        <p:nvPicPr>
          <p:cNvPr id="12" name="Picture 2" descr="CSRWire - JPMorgan Chase &amp; Co.">
            <a:extLst>
              <a:ext uri="{FF2B5EF4-FFF2-40B4-BE49-F238E27FC236}">
                <a16:creationId xmlns:a16="http://schemas.microsoft.com/office/drawing/2014/main" id="{41CC49A5-9AF0-8C93-F33F-EFD27E58D0D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1788" b="27374"/>
          <a:stretch/>
        </p:blipFill>
        <p:spPr bwMode="auto">
          <a:xfrm>
            <a:off x="828000" y="2230918"/>
            <a:ext cx="2273845" cy="31637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27">
            <a:extLst>
              <a:ext uri="{FF2B5EF4-FFF2-40B4-BE49-F238E27FC236}">
                <a16:creationId xmlns:a16="http://schemas.microsoft.com/office/drawing/2014/main" id="{DB95BE20-6B9C-3A46-4380-1B39B760D73B}"/>
              </a:ext>
            </a:extLst>
          </p:cNvPr>
          <p:cNvSpPr txBox="1"/>
          <p:nvPr/>
        </p:nvSpPr>
        <p:spPr>
          <a:xfrm>
            <a:off x="3564000" y="1557000"/>
            <a:ext cx="4824000" cy="1938992"/>
          </a:xfrm>
          <a:prstGeom prst="rect">
            <a:avLst/>
          </a:prstGeom>
          <a:noFill/>
        </p:spPr>
        <p:txBody>
          <a:bodyPr wrap="square" rtlCol="0">
            <a:spAutoFit/>
          </a:bodyPr>
          <a:lstStyle/>
          <a:p>
            <a:r>
              <a:rPr lang="en-US" sz="1200" b="1" dirty="0">
                <a:solidFill>
                  <a:schemeClr val="accent5"/>
                </a:solidFill>
              </a:rPr>
              <a:t>$6.4 Billion loss</a:t>
            </a:r>
            <a:r>
              <a:rPr lang="en-US" sz="1200" b="1" dirty="0">
                <a:solidFill>
                  <a:schemeClr val="tx1">
                    <a:lumMod val="65000"/>
                    <a:lumOff val="35000"/>
                  </a:schemeClr>
                </a:solidFill>
              </a:rPr>
              <a:t>:  </a:t>
            </a:r>
            <a:r>
              <a:rPr lang="en-US" sz="1200" dirty="0">
                <a:solidFill>
                  <a:schemeClr val="tx1">
                    <a:lumMod val="65000"/>
                    <a:lumOff val="35000"/>
                  </a:schemeClr>
                </a:solidFill>
              </a:rPr>
              <a:t>“The London Whale,” the name given to a </a:t>
            </a:r>
            <a:r>
              <a:rPr lang="en-US" sz="1200" b="1" dirty="0">
                <a:solidFill>
                  <a:schemeClr val="tx1">
                    <a:lumMod val="65000"/>
                    <a:lumOff val="35000"/>
                  </a:schemeClr>
                </a:solidFill>
              </a:rPr>
              <a:t>JP Morgan </a:t>
            </a:r>
            <a:r>
              <a:rPr lang="en-US" sz="1200" dirty="0">
                <a:solidFill>
                  <a:schemeClr val="tx1">
                    <a:lumMod val="65000"/>
                    <a:lumOff val="35000"/>
                  </a:schemeClr>
                </a:solidFill>
              </a:rPr>
              <a:t>trading operation in London by its counterparties because of the outsized bets it was making. In the wake of a discovery of the large losses racked up by “the Whale,” JP Morgan launched an internal investigation into how it happened. One of the key points that came out of the investigation was the role of desktop spreadsheets in creating the mess. “The Model Review Group noted that the </a:t>
            </a:r>
            <a:r>
              <a:rPr lang="en-US" sz="1200" b="1" i="1" dirty="0">
                <a:solidFill>
                  <a:schemeClr val="tx1">
                    <a:lumMod val="65000"/>
                    <a:lumOff val="35000"/>
                  </a:schemeClr>
                </a:solidFill>
              </a:rPr>
              <a:t>Value at Risk computation was done on spreadsheets using a manual process and it was therefore ‘error prone’ ”  </a:t>
            </a:r>
            <a:r>
              <a:rPr lang="en-US" sz="1200" dirty="0">
                <a:solidFill>
                  <a:schemeClr val="tx1">
                    <a:lumMod val="50000"/>
                    <a:lumOff val="50000"/>
                  </a:schemeClr>
                </a:solidFill>
              </a:rPr>
              <a:t>[6,7,8,9]</a:t>
            </a:r>
          </a:p>
        </p:txBody>
      </p:sp>
      <p:pic>
        <p:nvPicPr>
          <p:cNvPr id="18" name="Picture 14" descr="Logo, company name&#10;&#10;Description automatically generated">
            <a:extLst>
              <a:ext uri="{FF2B5EF4-FFF2-40B4-BE49-F238E27FC236}">
                <a16:creationId xmlns:a16="http://schemas.microsoft.com/office/drawing/2014/main" id="{078772AB-2BEF-9ECE-7257-2B4BEDEE2DEB}"/>
              </a:ext>
            </a:extLst>
          </p:cNvPr>
          <p:cNvPicPr>
            <a:picLocks noChangeAspect="1"/>
          </p:cNvPicPr>
          <p:nvPr/>
        </p:nvPicPr>
        <p:blipFill rotWithShape="1">
          <a:blip r:embed="rId3">
            <a:extLst>
              <a:ext uri="{28A0092B-C50C-407E-A947-70E740481C1C}">
                <a14:useLocalDpi xmlns:a14="http://schemas.microsoft.com/office/drawing/2010/main" val="0"/>
              </a:ext>
            </a:extLst>
          </a:blip>
          <a:srcRect l="4332"/>
          <a:stretch/>
        </p:blipFill>
        <p:spPr>
          <a:xfrm>
            <a:off x="968507" y="3767267"/>
            <a:ext cx="1782840" cy="594885"/>
          </a:xfrm>
          <a:prstGeom prst="rect">
            <a:avLst/>
          </a:prstGeom>
        </p:spPr>
      </p:pic>
      <p:sp>
        <p:nvSpPr>
          <p:cNvPr id="32" name="TextBox 7">
            <a:extLst>
              <a:ext uri="{FF2B5EF4-FFF2-40B4-BE49-F238E27FC236}">
                <a16:creationId xmlns:a16="http://schemas.microsoft.com/office/drawing/2014/main" id="{7E5CF891-4033-F6AA-3038-7E9DF9F70719}"/>
              </a:ext>
            </a:extLst>
          </p:cNvPr>
          <p:cNvSpPr txBox="1"/>
          <p:nvPr/>
        </p:nvSpPr>
        <p:spPr>
          <a:xfrm>
            <a:off x="3551399" y="3641933"/>
            <a:ext cx="4823999" cy="1015663"/>
          </a:xfrm>
          <a:prstGeom prst="rect">
            <a:avLst/>
          </a:prstGeom>
          <a:noFill/>
        </p:spPr>
        <p:txBody>
          <a:bodyPr wrap="square" rtlCol="0">
            <a:spAutoFit/>
          </a:bodyPr>
          <a:lstStyle/>
          <a:p>
            <a:r>
              <a:rPr lang="en-US" sz="1200" b="1" dirty="0">
                <a:solidFill>
                  <a:schemeClr val="accent5"/>
                </a:solidFill>
              </a:rPr>
              <a:t>$2.6 Billion loss: </a:t>
            </a:r>
            <a:r>
              <a:rPr lang="en-US" sz="1200" dirty="0">
                <a:solidFill>
                  <a:schemeClr val="tx1">
                    <a:lumMod val="65000"/>
                    <a:lumOff val="35000"/>
                  </a:schemeClr>
                </a:solidFill>
              </a:rPr>
              <a:t>An accountant at the </a:t>
            </a:r>
            <a:r>
              <a:rPr lang="en-US" sz="1200" b="1" dirty="0">
                <a:solidFill>
                  <a:schemeClr val="tx1">
                    <a:lumMod val="65000"/>
                    <a:lumOff val="35000"/>
                  </a:schemeClr>
                </a:solidFill>
              </a:rPr>
              <a:t>Fidelity Investments’ Magellan mutual fund </a:t>
            </a:r>
            <a:r>
              <a:rPr lang="en-US" sz="1200" b="1" i="1" dirty="0">
                <a:solidFill>
                  <a:schemeClr val="tx1">
                    <a:lumMod val="65000"/>
                    <a:lumOff val="35000"/>
                  </a:schemeClr>
                </a:solidFill>
              </a:rPr>
              <a:t>omitted a minus (-) sign in a spreadsheet </a:t>
            </a:r>
            <a:r>
              <a:rPr lang="en-US" sz="1200" dirty="0">
                <a:solidFill>
                  <a:schemeClr val="tx1">
                    <a:lumMod val="65000"/>
                    <a:lumOff val="35000"/>
                  </a:schemeClr>
                </a:solidFill>
              </a:rPr>
              <a:t>and turned a US$ 1.3bn net capital loss into a US $1.3bn gain. This $2.6 bn error required the company to withdraw its promised year-end distribution of $4.32 per share. </a:t>
            </a:r>
            <a:r>
              <a:rPr lang="en-US" sz="1200" dirty="0">
                <a:solidFill>
                  <a:schemeClr val="tx1">
                    <a:lumMod val="50000"/>
                    <a:lumOff val="50000"/>
                  </a:schemeClr>
                </a:solidFill>
              </a:rPr>
              <a:t>[6, 8]</a:t>
            </a:r>
          </a:p>
        </p:txBody>
      </p:sp>
      <p:pic>
        <p:nvPicPr>
          <p:cNvPr id="40" name="Picture 31" descr="Shape, logo&#10;&#10;Description automatically generated">
            <a:extLst>
              <a:ext uri="{FF2B5EF4-FFF2-40B4-BE49-F238E27FC236}">
                <a16:creationId xmlns:a16="http://schemas.microsoft.com/office/drawing/2014/main" id="{2D57B087-CB81-5903-7690-9B1A5FFD74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7927" y="5309877"/>
            <a:ext cx="1584000" cy="436107"/>
          </a:xfrm>
          <a:prstGeom prst="rect">
            <a:avLst/>
          </a:prstGeom>
        </p:spPr>
      </p:pic>
      <p:sp>
        <p:nvSpPr>
          <p:cNvPr id="10" name="Textfeld 49">
            <a:extLst>
              <a:ext uri="{FF2B5EF4-FFF2-40B4-BE49-F238E27FC236}">
                <a16:creationId xmlns:a16="http://schemas.microsoft.com/office/drawing/2014/main" id="{6ADFD90D-1165-5742-A017-2D37F0365CF5}"/>
              </a:ext>
            </a:extLst>
          </p:cNvPr>
          <p:cNvSpPr txBox="1"/>
          <p:nvPr/>
        </p:nvSpPr>
        <p:spPr>
          <a:xfrm>
            <a:off x="468000" y="883083"/>
            <a:ext cx="6912000" cy="400110"/>
          </a:xfrm>
          <a:prstGeom prst="rect">
            <a:avLst/>
          </a:prstGeom>
          <a:noFill/>
        </p:spPr>
        <p:txBody>
          <a:bodyPr wrap="square">
            <a:spAutoFit/>
          </a:bodyPr>
          <a:lstStyle/>
          <a:p>
            <a:pPr algn="ctr"/>
            <a:r>
              <a:rPr lang="en-US" sz="2000" b="1" i="0" dirty="0">
                <a:solidFill>
                  <a:srgbClr val="3264C8"/>
                </a:solidFill>
                <a:effectLst/>
                <a:latin typeface="+mj-lt"/>
              </a:rPr>
              <a:t>Spreadsheet errors are costly</a:t>
            </a:r>
          </a:p>
        </p:txBody>
      </p:sp>
    </p:spTree>
    <p:extLst>
      <p:ext uri="{BB962C8B-B14F-4D97-AF65-F5344CB8AC3E}">
        <p14:creationId xmlns:p14="http://schemas.microsoft.com/office/powerpoint/2010/main" val="13505688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199294" y="2902101"/>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1907630" y="98066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0,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0,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5" name="Rechteck 144"/>
          <p:cNvSpPr/>
          <p:nvPr/>
        </p:nvSpPr>
        <p:spPr>
          <a:xfrm>
            <a:off x="395544" y="1556740"/>
            <a:ext cx="2952286" cy="54003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read row </a:t>
            </a:r>
            <a:r>
              <a:rPr lang="en-US" sz="1000" dirty="0">
                <a:solidFill>
                  <a:schemeClr val="tx1"/>
                </a:solidFill>
              </a:rPr>
              <a:t>( tab, 0 ); // Headers</a:t>
            </a:r>
          </a:p>
          <a:p>
            <a:r>
              <a:rPr lang="en-US" sz="1000" dirty="0">
                <a:solidFill>
                  <a:schemeClr val="tx1"/>
                </a:solidFill>
              </a:rPr>
              <a:t>values[ ] = </a:t>
            </a:r>
            <a:r>
              <a:rPr lang="en-US" sz="1000" b="1" dirty="0">
                <a:solidFill>
                  <a:schemeClr val="tx1"/>
                </a:solidFill>
              </a:rPr>
              <a:t>table read row </a:t>
            </a:r>
            <a:r>
              <a:rPr lang="en-US" sz="1000" dirty="0">
                <a:solidFill>
                  <a:schemeClr val="tx1"/>
                </a:solidFill>
              </a:rPr>
              <a:t>( tab, 1 ); // or:</a:t>
            </a:r>
          </a:p>
          <a:p>
            <a:r>
              <a:rPr lang="en-US" sz="1000" dirty="0">
                <a:solidFill>
                  <a:schemeClr val="tx1"/>
                </a:solidFill>
              </a:rPr>
              <a:t>values[ ] = table read row( tab, [</a:t>
            </a:r>
            <a:r>
              <a:rPr lang="en-US" sz="1000" dirty="0" err="1">
                <a:solidFill>
                  <a:schemeClr val="tx1"/>
                </a:solidFill>
              </a:rPr>
              <a:t>table:Animal,dog</a:t>
            </a:r>
            <a:r>
              <a:rPr lang="en-US" sz="1000" dirty="0">
                <a:solidFill>
                  <a:schemeClr val="tx1"/>
                </a:solidFill>
              </a:rPr>
              <a:t>] )</a:t>
            </a:r>
          </a:p>
        </p:txBody>
      </p:sp>
      <p:sp>
        <p:nvSpPr>
          <p:cNvPr id="146" name="Rechteck 145"/>
          <p:cNvSpPr/>
          <p:nvPr/>
        </p:nvSpPr>
        <p:spPr>
          <a:xfrm>
            <a:off x="395506" y="2168780"/>
            <a:ext cx="2664284" cy="7201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1, values[ ], names[ ] ); // or:</a:t>
            </a:r>
          </a:p>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a:t>
            </a:r>
            <a:r>
              <a:rPr lang="en-US" sz="1000" dirty="0" err="1">
                <a:solidFill>
                  <a:schemeClr val="tx1"/>
                </a:solidFill>
              </a:rPr>
              <a:t>tab:Animal,dog</a:t>
            </a:r>
            <a:r>
              <a:rPr lang="en-US" sz="1000" dirty="0">
                <a:solidFill>
                  <a:schemeClr val="tx1"/>
                </a:solidFill>
              </a:rPr>
              <a:t>], values[ ], names[ ]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Tree>
    <p:extLst>
      <p:ext uri="{BB962C8B-B14F-4D97-AF65-F5344CB8AC3E}">
        <p14:creationId xmlns:p14="http://schemas.microsoft.com/office/powerpoint/2010/main" val="13878621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sp>
        <p:nvSpPr>
          <p:cNvPr id="14" name="Kreis 13"/>
          <p:cNvSpPr/>
          <p:nvPr/>
        </p:nvSpPr>
        <p:spPr>
          <a:xfrm>
            <a:off x="190800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grpSp>
        <p:nvGrpSpPr>
          <p:cNvPr id="6" name="Gruppieren 5"/>
          <p:cNvGrpSpPr/>
          <p:nvPr/>
        </p:nvGrpSpPr>
        <p:grpSpPr>
          <a:xfrm>
            <a:off x="2916000" y="1845000"/>
            <a:ext cx="2880000" cy="3168090"/>
            <a:chOff x="3204000" y="1989000"/>
            <a:chExt cx="2160180" cy="3168090"/>
          </a:xfrm>
        </p:grpSpPr>
        <p:cxnSp>
          <p:nvCxnSpPr>
            <p:cNvPr id="39" name="Gerade Verbindung mit Pfeil 38"/>
            <p:cNvCxnSpPr/>
            <p:nvPr/>
          </p:nvCxnSpPr>
          <p:spPr>
            <a:xfrm flipV="1">
              <a:off x="3204000" y="5013000"/>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p:nvPr/>
          </p:nvCxnSpPr>
          <p:spPr>
            <a:xfrm flipH="1" flipV="1">
              <a:off x="3204000" y="5157000"/>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a:xfrm flipV="1">
              <a:off x="3204000" y="1989000"/>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3" name="Gerade Verbindung mit Pfeil 42"/>
            <p:cNvCxnSpPr/>
            <p:nvPr/>
          </p:nvCxnSpPr>
          <p:spPr>
            <a:xfrm flipH="1" flipV="1">
              <a:off x="3204000" y="2133000"/>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cxnSp>
        <p:nvCxnSpPr>
          <p:cNvPr id="44" name="Gerade Verbindung mit Pfeil 43"/>
          <p:cNvCxnSpPr/>
          <p:nvPr/>
        </p:nvCxnSpPr>
        <p:spPr>
          <a:xfrm rot="5400000" flipH="1" flipV="1">
            <a:off x="1331865" y="3429045"/>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rot="16200000" flipH="1" flipV="1">
            <a:off x="1475955" y="3429045"/>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rot="5400000" flipV="1">
            <a:off x="5219775" y="3429045"/>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p:nvCxnSpPr>
        <p:spPr>
          <a:xfrm rot="16200000" flipV="1">
            <a:off x="5075775" y="3429045"/>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8" name="Kreis 13"/>
          <p:cNvSpPr/>
          <p:nvPr/>
        </p:nvSpPr>
        <p:spPr>
          <a:xfrm flipH="1">
            <a:off x="644382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49" name="Kreis 13"/>
          <p:cNvSpPr/>
          <p:nvPr/>
        </p:nvSpPr>
        <p:spPr>
          <a:xfrm flipV="1">
            <a:off x="190800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50" name="Kreis 13"/>
          <p:cNvSpPr/>
          <p:nvPr/>
        </p:nvSpPr>
        <p:spPr>
          <a:xfrm flipH="1" flipV="1">
            <a:off x="644382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2051950" y="4509000"/>
            <a:ext cx="864000" cy="864000"/>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tructures</a:t>
            </a:r>
          </a:p>
        </p:txBody>
      </p:sp>
      <p:sp>
        <p:nvSpPr>
          <p:cNvPr id="87" name="Ellipse 86"/>
          <p:cNvSpPr/>
          <p:nvPr/>
        </p:nvSpPr>
        <p:spPr>
          <a:xfrm>
            <a:off x="5796000" y="4509000"/>
            <a:ext cx="863820" cy="863820"/>
          </a:xfrm>
          <a:prstGeom prst="ellipse">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Tables</a:t>
            </a:r>
          </a:p>
        </p:txBody>
      </p:sp>
      <p:sp>
        <p:nvSpPr>
          <p:cNvPr id="97" name="Ellipse 96"/>
          <p:cNvSpPr/>
          <p:nvPr/>
        </p:nvSpPr>
        <p:spPr>
          <a:xfrm>
            <a:off x="5796000" y="1485000"/>
            <a:ext cx="863820" cy="863820"/>
          </a:xfrm>
          <a:prstGeom prst="ellipse">
            <a:avLst/>
          </a:prstGeom>
          <a:solidFill>
            <a:srgbClr val="CC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ets</a:t>
            </a:r>
          </a:p>
        </p:txBody>
      </p:sp>
      <p:sp>
        <p:nvSpPr>
          <p:cNvPr id="38" name="Ellipse 37"/>
          <p:cNvSpPr/>
          <p:nvPr/>
        </p:nvSpPr>
        <p:spPr>
          <a:xfrm>
            <a:off x="2052000" y="1485000"/>
            <a:ext cx="864000" cy="864000"/>
          </a:xfrm>
          <a:prstGeom prst="ellipse">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rrays</a:t>
            </a:r>
          </a:p>
        </p:txBody>
      </p:sp>
      <p:sp>
        <p:nvSpPr>
          <p:cNvPr id="7" name="Rechteck 6"/>
          <p:cNvSpPr/>
          <p:nvPr/>
        </p:nvSpPr>
        <p:spPr>
          <a:xfrm>
            <a:off x="6372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 </a:t>
            </a:r>
            <a:r>
              <a:rPr lang="de-CH" sz="1000" dirty="0" err="1">
                <a:solidFill>
                  <a:srgbClr val="0000FF"/>
                </a:solidFill>
              </a:rPr>
              <a:t>table</a:t>
            </a:r>
            <a:r>
              <a:rPr lang="de-CH" sz="1000" dirty="0">
                <a:solidFill>
                  <a:srgbClr val="0000FF"/>
                </a:solidFill>
              </a:rPr>
              <a:t> : .., 1 ];</a:t>
            </a:r>
          </a:p>
        </p:txBody>
      </p:sp>
      <p:sp>
        <p:nvSpPr>
          <p:cNvPr id="53" name="Rechteck 52"/>
          <p:cNvSpPr/>
          <p:nvPr/>
        </p:nvSpPr>
        <p:spPr>
          <a:xfrm>
            <a:off x="6804000" y="1845000"/>
            <a:ext cx="122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chemeClr val="tx1"/>
                </a:solidFill>
              </a:rPr>
              <a:t>{ </a:t>
            </a:r>
            <a:r>
              <a:rPr lang="de-CH" sz="1000" dirty="0" err="1">
                <a:solidFill>
                  <a:schemeClr val="tx1"/>
                </a:solidFill>
              </a:rPr>
              <a:t>dog</a:t>
            </a:r>
            <a:r>
              <a:rPr lang="de-CH" sz="1000" dirty="0">
                <a:solidFill>
                  <a:schemeClr val="tx1"/>
                </a:solidFill>
              </a:rPr>
              <a:t>, </a:t>
            </a:r>
            <a:r>
              <a:rPr lang="de-CH" sz="1000" dirty="0" err="1">
                <a:solidFill>
                  <a:schemeClr val="tx1"/>
                </a:solidFill>
              </a:rPr>
              <a:t>mammal</a:t>
            </a:r>
            <a:r>
              <a:rPr lang="de-CH" sz="1000" dirty="0">
                <a:solidFill>
                  <a:schemeClr val="tx1"/>
                </a:solidFill>
              </a:rPr>
              <a:t>, 4 }</a:t>
            </a:r>
          </a:p>
        </p:txBody>
      </p:sp>
      <p:sp>
        <p:nvSpPr>
          <p:cNvPr id="54" name="Rechteck 53"/>
          <p:cNvSpPr/>
          <p:nvPr/>
        </p:nvSpPr>
        <p:spPr>
          <a:xfrm>
            <a:off x="6372000" y="400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 </a:t>
            </a:r>
            <a:r>
              <a:rPr lang="de-CH" sz="1000" dirty="0" err="1">
                <a:solidFill>
                  <a:srgbClr val="FF0000"/>
                </a:solidFill>
              </a:rPr>
              <a:t>set</a:t>
            </a:r>
            <a:r>
              <a:rPr lang="de-CH" sz="1000" dirty="0">
                <a:solidFill>
                  <a:srgbClr val="FF0000"/>
                </a:solidFill>
              </a:rPr>
              <a:t>[ ];</a:t>
            </a:r>
          </a:p>
        </p:txBody>
      </p:sp>
      <p:graphicFrame>
        <p:nvGraphicFramePr>
          <p:cNvPr id="55" name="Tabelle 54"/>
          <p:cNvGraphicFramePr>
            <a:graphicFrameLocks noGrp="1"/>
          </p:cNvGraphicFramePr>
          <p:nvPr>
            <p:extLst>
              <p:ext uri="{D42A27DB-BD31-4B8C-83A1-F6EECF244321}">
                <p14:modId xmlns:p14="http://schemas.microsoft.com/office/powerpoint/2010/main" val="578883155"/>
              </p:ext>
            </p:extLst>
          </p:nvPr>
        </p:nvGraphicFramePr>
        <p:xfrm>
          <a:off x="7092000" y="4509000"/>
          <a:ext cx="1872138" cy="9420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18000" marB="18000"/>
                </a:tc>
                <a:tc>
                  <a:txBody>
                    <a:bodyPr/>
                    <a:lstStyle/>
                    <a:p>
                      <a:r>
                        <a:rPr lang="en-US" sz="1000" dirty="0"/>
                        <a:t>Category</a:t>
                      </a:r>
                    </a:p>
                  </a:txBody>
                  <a:tcPr marL="36000" marR="36000" marT="18000" marB="18000"/>
                </a:tc>
                <a:tc>
                  <a:txBody>
                    <a:bodyPr/>
                    <a:lstStyle/>
                    <a:p>
                      <a:r>
                        <a:rPr lang="en-US" sz="1000" dirty="0"/>
                        <a:t># Legs</a:t>
                      </a:r>
                    </a:p>
                  </a:txBody>
                  <a:tcPr marL="36000" marR="36000" marT="18000" marB="18000"/>
                </a:tc>
                <a:extLst>
                  <a:ext uri="{0D108BD9-81ED-4DB2-BD59-A6C34878D82A}">
                    <a16:rowId xmlns:a16="http://schemas.microsoft.com/office/drawing/2014/main" val="10000"/>
                  </a:ext>
                </a:extLst>
              </a:tr>
              <a:tr h="0">
                <a:tc>
                  <a:txBody>
                    <a:bodyPr/>
                    <a:lstStyle/>
                    <a:p>
                      <a:r>
                        <a:rPr lang="en-US" sz="1000" dirty="0"/>
                        <a:t>dog</a:t>
                      </a:r>
                    </a:p>
                  </a:txBody>
                  <a:tcPr marL="36000" marR="36000" marT="18000" marB="18000"/>
                </a:tc>
                <a:tc>
                  <a:txBody>
                    <a:bodyPr/>
                    <a:lstStyle/>
                    <a:p>
                      <a:r>
                        <a:rPr lang="en-US" sz="1000" dirty="0"/>
                        <a:t>mammal</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1"/>
                  </a:ext>
                </a:extLst>
              </a:tr>
              <a:tr h="0">
                <a:tc>
                  <a:txBody>
                    <a:bodyPr/>
                    <a:lstStyle/>
                    <a:p>
                      <a:r>
                        <a:rPr lang="en-US" sz="1000" dirty="0"/>
                        <a:t>house fly</a:t>
                      </a:r>
                    </a:p>
                  </a:txBody>
                  <a:tcPr marL="36000" marR="36000" marT="18000" marB="18000"/>
                </a:tc>
                <a:tc>
                  <a:txBody>
                    <a:bodyPr/>
                    <a:lstStyle/>
                    <a:p>
                      <a:r>
                        <a:rPr lang="en-US" sz="1000" dirty="0"/>
                        <a:t>insect</a:t>
                      </a:r>
                    </a:p>
                  </a:txBody>
                  <a:tcPr marL="36000" marR="36000" marT="18000" marB="18000"/>
                </a:tc>
                <a:tc>
                  <a:txBody>
                    <a:bodyPr/>
                    <a:lstStyle/>
                    <a:p>
                      <a:r>
                        <a:rPr lang="en-US" sz="1000" dirty="0"/>
                        <a:t>6</a:t>
                      </a:r>
                    </a:p>
                  </a:txBody>
                  <a:tcPr marL="36000" marR="36000" marT="18000" marB="18000"/>
                </a:tc>
                <a:extLst>
                  <a:ext uri="{0D108BD9-81ED-4DB2-BD59-A6C34878D82A}">
                    <a16:rowId xmlns:a16="http://schemas.microsoft.com/office/drawing/2014/main" val="10002"/>
                  </a:ext>
                </a:extLst>
              </a:tr>
              <a:tr h="0">
                <a:tc>
                  <a:txBody>
                    <a:bodyPr/>
                    <a:lstStyle/>
                    <a:p>
                      <a:r>
                        <a:rPr lang="en-US" sz="1000" dirty="0"/>
                        <a:t>spider</a:t>
                      </a:r>
                    </a:p>
                  </a:txBody>
                  <a:tcPr marL="36000" marR="36000" marT="18000" marB="18000"/>
                </a:tc>
                <a:tc>
                  <a:txBody>
                    <a:bodyPr/>
                    <a:lstStyle/>
                    <a:p>
                      <a:r>
                        <a:rPr lang="en-US" sz="1000" dirty="0"/>
                        <a:t>insect</a:t>
                      </a:r>
                    </a:p>
                  </a:txBody>
                  <a:tcPr marL="36000" marR="36000" marT="18000" marB="18000"/>
                </a:tc>
                <a:tc>
                  <a:txBody>
                    <a:bodyPr/>
                    <a:lstStyle/>
                    <a:p>
                      <a:r>
                        <a:rPr lang="en-US" sz="1000" dirty="0"/>
                        <a:t>8</a:t>
                      </a:r>
                    </a:p>
                  </a:txBody>
                  <a:tcPr marL="36000" marR="36000" marT="18000" marB="18000"/>
                </a:tc>
                <a:extLst>
                  <a:ext uri="{0D108BD9-81ED-4DB2-BD59-A6C34878D82A}">
                    <a16:rowId xmlns:a16="http://schemas.microsoft.com/office/drawing/2014/main" val="10003"/>
                  </a:ext>
                </a:extLst>
              </a:tr>
              <a:tr h="0">
                <a:tc>
                  <a:txBody>
                    <a:bodyPr/>
                    <a:lstStyle/>
                    <a:p>
                      <a:r>
                        <a:rPr lang="en-US" sz="1000" dirty="0"/>
                        <a:t>lobster</a:t>
                      </a:r>
                    </a:p>
                  </a:txBody>
                  <a:tcPr marL="36000" marR="36000" marT="18000" marB="18000"/>
                </a:tc>
                <a:tc>
                  <a:txBody>
                    <a:bodyPr/>
                    <a:lstStyle/>
                    <a:p>
                      <a:r>
                        <a:rPr lang="en-US" sz="1000" dirty="0"/>
                        <a:t>crustacean</a:t>
                      </a:r>
                    </a:p>
                  </a:txBody>
                  <a:tcPr marL="36000" marR="36000" marT="18000" marB="18000"/>
                </a:tc>
                <a:tc>
                  <a:txBody>
                    <a:bodyPr/>
                    <a:lstStyle/>
                    <a:p>
                      <a:r>
                        <a:rPr lang="en-US" sz="1000" dirty="0"/>
                        <a:t>10</a:t>
                      </a:r>
                    </a:p>
                  </a:txBody>
                  <a:tcPr marL="36000" marR="36000" marT="18000" marB="18000"/>
                </a:tc>
                <a:extLst>
                  <a:ext uri="{0D108BD9-81ED-4DB2-BD59-A6C34878D82A}">
                    <a16:rowId xmlns:a16="http://schemas.microsoft.com/office/drawing/2014/main" val="10004"/>
                  </a:ext>
                </a:extLst>
              </a:tr>
            </a:tbl>
          </a:graphicData>
        </a:graphic>
      </p:graphicFrame>
      <p:sp>
        <p:nvSpPr>
          <p:cNvPr id="57" name="Rechteck 56"/>
          <p:cNvSpPr/>
          <p:nvPr/>
        </p:nvSpPr>
        <p:spPr>
          <a:xfrm>
            <a:off x="3420000" y="458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s [ ]</a:t>
            </a:r>
          </a:p>
        </p:txBody>
      </p:sp>
      <p:sp>
        <p:nvSpPr>
          <p:cNvPr id="58" name="Rechteck 57"/>
          <p:cNvSpPr/>
          <p:nvPr/>
        </p:nvSpPr>
        <p:spPr>
          <a:xfrm>
            <a:off x="3420000" y="5013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lt;== [ </a:t>
            </a:r>
            <a:r>
              <a:rPr lang="de-CH" sz="1000" dirty="0" err="1">
                <a:solidFill>
                  <a:srgbClr val="00B050"/>
                </a:solidFill>
              </a:rPr>
              <a:t>table</a:t>
            </a:r>
            <a:r>
              <a:rPr lang="de-CH" sz="1000" dirty="0">
                <a:solidFill>
                  <a:srgbClr val="00B050"/>
                </a:solidFill>
              </a:rPr>
              <a:t> : .., 1 ]</a:t>
            </a:r>
          </a:p>
        </p:txBody>
      </p:sp>
      <p:cxnSp>
        <p:nvCxnSpPr>
          <p:cNvPr id="59" name="Gerade Verbindung mit Pfeil 58"/>
          <p:cNvCxnSpPr/>
          <p:nvPr/>
        </p:nvCxnSpPr>
        <p:spPr>
          <a:xfrm flipH="1" flipV="1">
            <a:off x="2700000" y="2311966"/>
            <a:ext cx="3133034" cy="2413034"/>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62" name="Gerade Verbindung mit Pfeil 61"/>
          <p:cNvCxnSpPr/>
          <p:nvPr/>
        </p:nvCxnSpPr>
        <p:spPr>
          <a:xfrm rot="10800000" flipH="1" flipV="1">
            <a:off x="2806966" y="2205000"/>
            <a:ext cx="3133034" cy="2413034"/>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rot="2280000">
            <a:off x="2612239" y="2864618"/>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lt;== [ </a:t>
            </a:r>
            <a:r>
              <a:rPr lang="de-CH" sz="1000" dirty="0" err="1">
                <a:solidFill>
                  <a:srgbClr val="00CCCC"/>
                </a:solidFill>
              </a:rPr>
              <a:t>table</a:t>
            </a:r>
            <a:r>
              <a:rPr lang="de-CH" sz="1000" dirty="0">
                <a:solidFill>
                  <a:srgbClr val="00CCCC"/>
                </a:solidFill>
              </a:rPr>
              <a:t> : .., 1 ]</a:t>
            </a:r>
          </a:p>
        </p:txBody>
      </p:sp>
      <p:sp>
        <p:nvSpPr>
          <p:cNvPr id="65" name="Rechteck 64"/>
          <p:cNvSpPr/>
          <p:nvPr/>
        </p:nvSpPr>
        <p:spPr>
          <a:xfrm>
            <a:off x="3780000" y="16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a[ ] );</a:t>
            </a:r>
          </a:p>
        </p:txBody>
      </p:sp>
      <p:sp>
        <p:nvSpPr>
          <p:cNvPr id="66" name="Rechteck 65"/>
          <p:cNvSpPr/>
          <p:nvPr/>
        </p:nvSpPr>
        <p:spPr>
          <a:xfrm>
            <a:off x="3780000" y="19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 </a:t>
            </a:r>
            <a:r>
              <a:rPr lang="de-CH" sz="1000" dirty="0" err="1">
                <a:solidFill>
                  <a:srgbClr val="00CCCC"/>
                </a:solidFill>
              </a:rPr>
              <a:t>array</a:t>
            </a:r>
            <a:r>
              <a:rPr lang="de-CH" sz="1000" dirty="0">
                <a:solidFill>
                  <a:srgbClr val="00CCCC"/>
                </a:solidFill>
              </a:rPr>
              <a:t>( </a:t>
            </a:r>
            <a:r>
              <a:rPr lang="de-CH" sz="1000" dirty="0" err="1">
                <a:solidFill>
                  <a:srgbClr val="00CCCC"/>
                </a:solidFill>
              </a:rPr>
              <a:t>set</a:t>
            </a:r>
            <a:r>
              <a:rPr lang="de-CH" sz="1000" dirty="0">
                <a:solidFill>
                  <a:srgbClr val="00CCCC"/>
                </a:solidFill>
              </a:rPr>
              <a:t>[ ] );</a:t>
            </a:r>
          </a:p>
        </p:txBody>
      </p:sp>
      <p:sp>
        <p:nvSpPr>
          <p:cNvPr id="67" name="Rechteck 66"/>
          <p:cNvSpPr/>
          <p:nvPr/>
        </p:nvSpPr>
        <p:spPr>
          <a:xfrm>
            <a:off x="900000" y="292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a:t>
            </a:r>
            <a:r>
              <a:rPr lang="de-CH" sz="1000" dirty="0">
                <a:solidFill>
                  <a:srgbClr val="00CCCC"/>
                </a:solidFill>
                <a:sym typeface="Wingdings" panose="05000000000000000000" pitchFamily="2" charset="2"/>
              </a:rPr>
              <a:t>&lt;== s[ ];</a:t>
            </a:r>
            <a:endParaRPr lang="de-CH" sz="1000" dirty="0">
              <a:solidFill>
                <a:srgbClr val="00CCCC"/>
              </a:solidFill>
            </a:endParaRPr>
          </a:p>
          <a:p>
            <a:r>
              <a:rPr lang="de-CH" sz="1000" dirty="0" err="1">
                <a:solidFill>
                  <a:srgbClr val="00CCCC"/>
                </a:solidFill>
              </a:rPr>
              <a:t>structure</a:t>
            </a:r>
            <a:r>
              <a:rPr lang="de-CH" sz="1000" dirty="0">
                <a:solidFill>
                  <a:srgbClr val="00CCCC"/>
                </a:solidFill>
              </a:rPr>
              <a:t> </a:t>
            </a:r>
            <a:r>
              <a:rPr lang="de-CH" sz="1000" dirty="0" err="1">
                <a:solidFill>
                  <a:srgbClr val="00CCCC"/>
                </a:solidFill>
              </a:rPr>
              <a:t>to</a:t>
            </a:r>
            <a:r>
              <a:rPr lang="de-CH" sz="1000" dirty="0">
                <a:solidFill>
                  <a:srgbClr val="00CCCC"/>
                </a:solidFill>
              </a:rPr>
              <a:t> </a:t>
            </a:r>
            <a:r>
              <a:rPr lang="de-CH" sz="1000" dirty="0" err="1">
                <a:solidFill>
                  <a:srgbClr val="00CCCC"/>
                </a:solidFill>
              </a:rPr>
              <a:t>array</a:t>
            </a:r>
            <a:r>
              <a:rPr lang="de-CH" sz="1000" dirty="0">
                <a:solidFill>
                  <a:srgbClr val="00CCCC"/>
                </a:solidFill>
              </a:rPr>
              <a:t>( a ] );</a:t>
            </a:r>
          </a:p>
        </p:txBody>
      </p:sp>
      <p:sp>
        <p:nvSpPr>
          <p:cNvPr id="68" name="Rechteck 67"/>
          <p:cNvSpPr/>
          <p:nvPr/>
        </p:nvSpPr>
        <p:spPr>
          <a:xfrm>
            <a:off x="900000" y="37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a:t>
            </a:r>
            <a:r>
              <a:rPr lang="de-CH" sz="1000" dirty="0">
                <a:solidFill>
                  <a:srgbClr val="00B050"/>
                </a:solidFill>
                <a:sym typeface="Wingdings" panose="05000000000000000000" pitchFamily="2" charset="2"/>
              </a:rPr>
              <a:t>&lt;== a[ ];</a:t>
            </a:r>
            <a:endParaRPr lang="de-CH" sz="1000" dirty="0">
              <a:solidFill>
                <a:srgbClr val="00B050"/>
              </a:solidFill>
            </a:endParaRPr>
          </a:p>
          <a:p>
            <a:r>
              <a:rPr lang="de-CH" sz="1000" dirty="0" err="1">
                <a:solidFill>
                  <a:srgbClr val="00B050"/>
                </a:solidFill>
              </a:rPr>
              <a:t>array</a:t>
            </a:r>
            <a:r>
              <a:rPr lang="de-CH" sz="1000" dirty="0">
                <a:solidFill>
                  <a:srgbClr val="00B050"/>
                </a:solidFill>
              </a:rPr>
              <a:t> </a:t>
            </a:r>
            <a:r>
              <a:rPr lang="de-CH" sz="1000" dirty="0" err="1">
                <a:solidFill>
                  <a:srgbClr val="00B050"/>
                </a:solidFill>
              </a:rPr>
              <a:t>to</a:t>
            </a:r>
            <a:r>
              <a:rPr lang="de-CH" sz="1000" dirty="0">
                <a:solidFill>
                  <a:srgbClr val="00B050"/>
                </a:solidFill>
              </a:rPr>
              <a:t> </a:t>
            </a:r>
            <a:r>
              <a:rPr lang="de-CH" sz="1000" dirty="0" err="1">
                <a:solidFill>
                  <a:srgbClr val="00B050"/>
                </a:solidFill>
              </a:rPr>
              <a:t>structure</a:t>
            </a:r>
            <a:r>
              <a:rPr lang="de-CH" sz="1000" dirty="0">
                <a:solidFill>
                  <a:srgbClr val="00B050"/>
                </a:solidFill>
              </a:rPr>
              <a:t>( a ] );</a:t>
            </a:r>
          </a:p>
        </p:txBody>
      </p:sp>
      <p:sp>
        <p:nvSpPr>
          <p:cNvPr id="69" name="Rechteck 68"/>
          <p:cNvSpPr/>
          <p:nvPr/>
        </p:nvSpPr>
        <p:spPr>
          <a:xfrm rot="2295496">
            <a:off x="4700237" y="3923634"/>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a[ ]</a:t>
            </a:r>
          </a:p>
        </p:txBody>
      </p:sp>
      <p:cxnSp>
        <p:nvCxnSpPr>
          <p:cNvPr id="70" name="Gerade Verbindung mit Pfeil 69"/>
          <p:cNvCxnSpPr/>
          <p:nvPr/>
        </p:nvCxnSpPr>
        <p:spPr>
          <a:xfrm rot="10800000" flipV="1">
            <a:off x="2734966" y="2167965"/>
            <a:ext cx="3133034" cy="2413034"/>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p:nvCxnSpPr>
        <p:spPr>
          <a:xfrm rot="10800000" flipH="1">
            <a:off x="2844000" y="2277000"/>
            <a:ext cx="3133034" cy="2413034"/>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73" name="Rechteck 72"/>
          <p:cNvSpPr/>
          <p:nvPr/>
        </p:nvSpPr>
        <p:spPr>
          <a:xfrm rot="8520000" flipV="1">
            <a:off x="2685860" y="3777383"/>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 </a:t>
            </a:r>
            <a:r>
              <a:rPr lang="de-CH" sz="1000" dirty="0" err="1">
                <a:solidFill>
                  <a:srgbClr val="00B050"/>
                </a:solidFill>
              </a:rPr>
              <a:t>structure</a:t>
            </a:r>
            <a:r>
              <a:rPr lang="de-CH" sz="1000" dirty="0">
                <a:solidFill>
                  <a:srgbClr val="00B050"/>
                </a:solidFill>
              </a:rPr>
              <a:t>( </a:t>
            </a:r>
            <a:r>
              <a:rPr lang="de-CH" sz="1000" dirty="0" err="1">
                <a:solidFill>
                  <a:srgbClr val="00B050"/>
                </a:solidFill>
              </a:rPr>
              <a:t>set</a:t>
            </a:r>
            <a:r>
              <a:rPr lang="de-CH" sz="1000" dirty="0">
                <a:solidFill>
                  <a:srgbClr val="00B050"/>
                </a:solidFill>
              </a:rPr>
              <a:t>[ ] );</a:t>
            </a:r>
          </a:p>
        </p:txBody>
      </p:sp>
      <p:sp>
        <p:nvSpPr>
          <p:cNvPr id="74" name="Rechteck 73"/>
          <p:cNvSpPr/>
          <p:nvPr/>
        </p:nvSpPr>
        <p:spPr>
          <a:xfrm rot="8520000" flipV="1">
            <a:off x="4730140" y="2697382"/>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s[ ] );</a:t>
            </a:r>
          </a:p>
        </p:txBody>
      </p:sp>
      <p:sp>
        <p:nvSpPr>
          <p:cNvPr id="75" name="Rechteck 74"/>
          <p:cNvSpPr/>
          <p:nvPr/>
        </p:nvSpPr>
        <p:spPr>
          <a:xfrm>
            <a:off x="972000" y="1413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2[ ] &lt;== a[ ]</a:t>
            </a:r>
          </a:p>
        </p:txBody>
      </p:sp>
      <p:sp>
        <p:nvSpPr>
          <p:cNvPr id="76" name="Rechteck 75"/>
          <p:cNvSpPr/>
          <p:nvPr/>
        </p:nvSpPr>
        <p:spPr>
          <a:xfrm>
            <a:off x="1044000" y="5157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2[ ] &lt;== s[ ]</a:t>
            </a:r>
          </a:p>
        </p:txBody>
      </p:sp>
      <p:sp>
        <p:nvSpPr>
          <p:cNvPr id="77" name="Rechteck 76"/>
          <p:cNvSpPr/>
          <p:nvPr/>
        </p:nvSpPr>
        <p:spPr>
          <a:xfrm>
            <a:off x="6948000" y="134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00FF"/>
                </a:solidFill>
              </a:rPr>
              <a:t>set2[ ] = </a:t>
            </a:r>
            <a:r>
              <a:rPr lang="de-CH" sz="1000" dirty="0" err="1">
                <a:solidFill>
                  <a:srgbClr val="0000FF"/>
                </a:solidFill>
              </a:rPr>
              <a:t>set</a:t>
            </a:r>
            <a:r>
              <a:rPr lang="de-CH" sz="1000" dirty="0">
                <a:solidFill>
                  <a:srgbClr val="0000FF"/>
                </a:solidFill>
              </a:rPr>
              <a:t>[ ];</a:t>
            </a:r>
          </a:p>
        </p:txBody>
      </p:sp>
      <p:graphicFrame>
        <p:nvGraphicFramePr>
          <p:cNvPr id="52" name="Tabelle 51"/>
          <p:cNvGraphicFramePr>
            <a:graphicFrameLocks noGrp="1"/>
          </p:cNvGraphicFramePr>
          <p:nvPr>
            <p:extLst>
              <p:ext uri="{D42A27DB-BD31-4B8C-83A1-F6EECF244321}">
                <p14:modId xmlns:p14="http://schemas.microsoft.com/office/powerpoint/2010/main" val="2421052404"/>
              </p:ext>
            </p:extLst>
          </p:nvPr>
        </p:nvGraphicFramePr>
        <p:xfrm>
          <a:off x="180000" y="4221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 Legs]</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Animal]</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Category]</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graphicFrame>
        <p:nvGraphicFramePr>
          <p:cNvPr id="56" name="Tabelle 55"/>
          <p:cNvGraphicFramePr>
            <a:graphicFrameLocks noGrp="1"/>
          </p:cNvGraphicFramePr>
          <p:nvPr>
            <p:extLst>
              <p:ext uri="{D42A27DB-BD31-4B8C-83A1-F6EECF244321}">
                <p14:modId xmlns:p14="http://schemas.microsoft.com/office/powerpoint/2010/main" val="2402638300"/>
              </p:ext>
            </p:extLst>
          </p:nvPr>
        </p:nvGraphicFramePr>
        <p:xfrm>
          <a:off x="179900" y="1839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0]</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1]</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2]</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1115616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xception Model</a:t>
            </a:r>
          </a:p>
        </p:txBody>
      </p:sp>
      <p:sp>
        <p:nvSpPr>
          <p:cNvPr id="4" name="Textplatzhalter 3"/>
          <p:cNvSpPr>
            <a:spLocks noGrp="1"/>
          </p:cNvSpPr>
          <p:nvPr>
            <p:ph type="body" sz="quarter" idx="16"/>
          </p:nvPr>
        </p:nvSpPr>
        <p:spPr/>
        <p:txBody>
          <a:bodyPr/>
          <a:lstStyle/>
          <a:p>
            <a:endParaRPr lang="en-US"/>
          </a:p>
        </p:txBody>
      </p:sp>
      <p:sp>
        <p:nvSpPr>
          <p:cNvPr id="7" name="Rechteck 6"/>
          <p:cNvSpPr/>
          <p:nvPr/>
        </p:nvSpPr>
        <p:spPr>
          <a:xfrm>
            <a:off x="1907704" y="393313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 name="Abgerundetes Rechteck 7"/>
          <p:cNvSpPr/>
          <p:nvPr/>
        </p:nvSpPr>
        <p:spPr>
          <a:xfrm>
            <a:off x="1907704" y="285293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 name="Abgerundetes Rechteck 8"/>
          <p:cNvSpPr/>
          <p:nvPr/>
        </p:nvSpPr>
        <p:spPr>
          <a:xfrm>
            <a:off x="1907704" y="501317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 name="Rechteck 9"/>
          <p:cNvSpPr/>
          <p:nvPr/>
        </p:nvSpPr>
        <p:spPr>
          <a:xfrm>
            <a:off x="1907704" y="177289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2" name="Gerade Verbindung mit Pfeil 11"/>
          <p:cNvCxnSpPr/>
          <p:nvPr/>
        </p:nvCxnSpPr>
        <p:spPr>
          <a:xfrm flipV="1">
            <a:off x="2339752"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a:off x="1547664" y="5949280"/>
            <a:ext cx="792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p:nvCxnSpPr>
        <p:spPr>
          <a:xfrm>
            <a:off x="4427984"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7864" y="5949280"/>
            <a:ext cx="216024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hteck 27"/>
          <p:cNvSpPr/>
          <p:nvPr/>
        </p:nvSpPr>
        <p:spPr>
          <a:xfrm>
            <a:off x="5580112"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it</a:t>
            </a:r>
          </a:p>
        </p:txBody>
      </p:sp>
      <p:cxnSp>
        <p:nvCxnSpPr>
          <p:cNvPr id="30" name="Gerade Verbindung mit Pfeil 29"/>
          <p:cNvCxnSpPr/>
          <p:nvPr/>
        </p:nvCxnSpPr>
        <p:spPr>
          <a:xfrm>
            <a:off x="5004048" y="18449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hteck 31"/>
          <p:cNvSpPr/>
          <p:nvPr/>
        </p:nvSpPr>
        <p:spPr>
          <a:xfrm>
            <a:off x="3995936" y="227695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34" name="Abgerundetes Rechteck 33"/>
          <p:cNvSpPr/>
          <p:nvPr/>
        </p:nvSpPr>
        <p:spPr>
          <a:xfrm>
            <a:off x="5004048" y="198892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0" name="Gerade Verbindung 39"/>
          <p:cNvCxnSpPr/>
          <p:nvPr/>
        </p:nvCxnSpPr>
        <p:spPr>
          <a:xfrm flipH="1" flipV="1">
            <a:off x="4355976" y="234896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4644008" y="19169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2" name="Rechteck 41"/>
          <p:cNvSpPr/>
          <p:nvPr/>
        </p:nvSpPr>
        <p:spPr>
          <a:xfrm>
            <a:off x="4644008" y="177289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43" name="Gerade Verbindung mit Pfeil 42"/>
          <p:cNvCxnSpPr/>
          <p:nvPr/>
        </p:nvCxnSpPr>
        <p:spPr>
          <a:xfrm>
            <a:off x="5004048" y="40050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Rechteck 43"/>
          <p:cNvSpPr/>
          <p:nvPr/>
        </p:nvSpPr>
        <p:spPr>
          <a:xfrm>
            <a:off x="3995936"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45" name="Abgerundetes Rechteck 33"/>
          <p:cNvSpPr/>
          <p:nvPr/>
        </p:nvSpPr>
        <p:spPr>
          <a:xfrm>
            <a:off x="5004048" y="414908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6" name="Gerade Verbindung 45"/>
          <p:cNvCxnSpPr/>
          <p:nvPr/>
        </p:nvCxnSpPr>
        <p:spPr>
          <a:xfrm flipH="1" flipV="1">
            <a:off x="4355976" y="450912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a:xfrm>
            <a:off x="4644008" y="40770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8" name="Rechteck 47"/>
          <p:cNvSpPr/>
          <p:nvPr/>
        </p:nvSpPr>
        <p:spPr>
          <a:xfrm>
            <a:off x="464400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50" name="Gerade Verbindung mit Pfeil 49"/>
          <p:cNvCxnSpPr/>
          <p:nvPr/>
        </p:nvCxnSpPr>
        <p:spPr>
          <a:xfrm flipV="1">
            <a:off x="2339752"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Rechteck 54"/>
          <p:cNvSpPr/>
          <p:nvPr/>
        </p:nvSpPr>
        <p:spPr>
          <a:xfrm>
            <a:off x="1907704"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sp>
        <p:nvSpPr>
          <p:cNvPr id="56" name="Rechteck 55"/>
          <p:cNvSpPr/>
          <p:nvPr/>
        </p:nvSpPr>
        <p:spPr>
          <a:xfrm>
            <a:off x="1979712"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1" name="Gerade Verbindung mit Pfeil 60"/>
          <p:cNvCxnSpPr/>
          <p:nvPr/>
        </p:nvCxnSpPr>
        <p:spPr>
          <a:xfrm flipV="1">
            <a:off x="2339752"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2" name="Rechteck 61"/>
          <p:cNvSpPr/>
          <p:nvPr/>
        </p:nvSpPr>
        <p:spPr>
          <a:xfrm>
            <a:off x="1979712"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3" name="Gerade Verbindung mit Pfeil 62"/>
          <p:cNvCxnSpPr/>
          <p:nvPr/>
        </p:nvCxnSpPr>
        <p:spPr>
          <a:xfrm>
            <a:off x="2483768" y="227687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a:xfrm>
            <a:off x="2483768" y="443711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Rechteck 65"/>
          <p:cNvSpPr/>
          <p:nvPr/>
        </p:nvSpPr>
        <p:spPr>
          <a:xfrm>
            <a:off x="2483768"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sp>
        <p:nvSpPr>
          <p:cNvPr id="68" name="Rechteck 67"/>
          <p:cNvSpPr/>
          <p:nvPr/>
        </p:nvSpPr>
        <p:spPr>
          <a:xfrm>
            <a:off x="2483768"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cxnSp>
        <p:nvCxnSpPr>
          <p:cNvPr id="72" name="Gerade Verbindung mit Pfeil 71"/>
          <p:cNvCxnSpPr/>
          <p:nvPr/>
        </p:nvCxnSpPr>
        <p:spPr>
          <a:xfrm>
            <a:off x="3707904"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Rechteck 74"/>
          <p:cNvSpPr/>
          <p:nvPr/>
        </p:nvSpPr>
        <p:spPr>
          <a:xfrm>
            <a:off x="3707904"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77" name="Rechteck 76"/>
          <p:cNvSpPr/>
          <p:nvPr/>
        </p:nvSpPr>
        <p:spPr>
          <a:xfrm>
            <a:off x="3779912" y="551723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79" name="Gerade Verbindung mit Pfeil 78"/>
          <p:cNvCxnSpPr/>
          <p:nvPr/>
        </p:nvCxnSpPr>
        <p:spPr>
          <a:xfrm>
            <a:off x="3707904"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a:xfrm flipV="1">
            <a:off x="3707904" y="342900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3779912"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84" name="Rechteck 83"/>
          <p:cNvSpPr/>
          <p:nvPr/>
        </p:nvSpPr>
        <p:spPr>
          <a:xfrm>
            <a:off x="3707904"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85" name="Gerade Verbindung 84"/>
          <p:cNvCxnSpPr/>
          <p:nvPr/>
        </p:nvCxnSpPr>
        <p:spPr>
          <a:xfrm flipV="1">
            <a:off x="3707904" y="558924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Gerade Verbindung mit Pfeil 89"/>
          <p:cNvCxnSpPr/>
          <p:nvPr/>
        </p:nvCxnSpPr>
        <p:spPr>
          <a:xfrm>
            <a:off x="5004048" y="299695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4644008"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92" name="Gerade Verbindung mit Pfeil 91"/>
          <p:cNvCxnSpPr/>
          <p:nvPr/>
        </p:nvCxnSpPr>
        <p:spPr>
          <a:xfrm>
            <a:off x="5004048" y="515719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Rechteck 92"/>
          <p:cNvSpPr/>
          <p:nvPr/>
        </p:nvSpPr>
        <p:spPr>
          <a:xfrm>
            <a:off x="4644008"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sp>
        <p:nvSpPr>
          <p:cNvPr id="52" name="Rechteck 51"/>
          <p:cNvSpPr/>
          <p:nvPr/>
        </p:nvSpPr>
        <p:spPr>
          <a:xfrm>
            <a:off x="5220072" y="551723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3" name="Rechteck 52"/>
          <p:cNvSpPr/>
          <p:nvPr/>
        </p:nvSpPr>
        <p:spPr>
          <a:xfrm>
            <a:off x="5220072" y="443711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sp>
        <p:nvSpPr>
          <p:cNvPr id="57" name="Rechteck 56"/>
          <p:cNvSpPr/>
          <p:nvPr/>
        </p:nvSpPr>
        <p:spPr>
          <a:xfrm>
            <a:off x="5220072" y="335699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8" name="Rechteck 57"/>
          <p:cNvSpPr/>
          <p:nvPr/>
        </p:nvSpPr>
        <p:spPr>
          <a:xfrm>
            <a:off x="5220072" y="227687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cxnSp>
        <p:nvCxnSpPr>
          <p:cNvPr id="65" name="Gerade Verbindung 64"/>
          <p:cNvCxnSpPr/>
          <p:nvPr/>
        </p:nvCxnSpPr>
        <p:spPr>
          <a:xfrm flipV="1">
            <a:off x="2267744" y="508518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hteck 68"/>
          <p:cNvSpPr/>
          <p:nvPr/>
        </p:nvSpPr>
        <p:spPr>
          <a:xfrm>
            <a:off x="1907704"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73" name="Gerade Verbindung 72"/>
          <p:cNvCxnSpPr/>
          <p:nvPr/>
        </p:nvCxnSpPr>
        <p:spPr>
          <a:xfrm flipV="1">
            <a:off x="2267744" y="292494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Rechteck 73"/>
          <p:cNvSpPr/>
          <p:nvPr/>
        </p:nvSpPr>
        <p:spPr>
          <a:xfrm>
            <a:off x="1547664" y="198884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76" name="Gerade Verbindung mit Pfeil 75"/>
          <p:cNvCxnSpPr/>
          <p:nvPr/>
        </p:nvCxnSpPr>
        <p:spPr>
          <a:xfrm flipH="1">
            <a:off x="1547664" y="198884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1547664" y="22048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1547664" y="414908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81" name="Gerade Verbindung mit Pfeil 80"/>
          <p:cNvCxnSpPr/>
          <p:nvPr/>
        </p:nvCxnSpPr>
        <p:spPr>
          <a:xfrm flipH="1">
            <a:off x="1547664" y="414908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1547664" y="43651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flipV="1">
            <a:off x="2483768"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248376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4" name="Gerade Verbindung mit Pfeil 93"/>
          <p:cNvCxnSpPr/>
          <p:nvPr/>
        </p:nvCxnSpPr>
        <p:spPr>
          <a:xfrm flipV="1">
            <a:off x="2483768"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5" name="Rechteck 94"/>
          <p:cNvSpPr/>
          <p:nvPr/>
        </p:nvSpPr>
        <p:spPr>
          <a:xfrm>
            <a:off x="2483768"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6" name="Gerade Verbindung mit Pfeil 95"/>
          <p:cNvCxnSpPr/>
          <p:nvPr/>
        </p:nvCxnSpPr>
        <p:spPr>
          <a:xfrm>
            <a:off x="3707904"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3491880"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9" name="Rechteck 98"/>
          <p:cNvSpPr/>
          <p:nvPr/>
        </p:nvSpPr>
        <p:spPr>
          <a:xfrm>
            <a:off x="3059832" y="198884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0" name="Gerade Verbindung 99"/>
          <p:cNvCxnSpPr/>
          <p:nvPr/>
        </p:nvCxnSpPr>
        <p:spPr>
          <a:xfrm flipH="1" flipV="1">
            <a:off x="3419872" y="206084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3059832" y="414908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2" name="Gerade Verbindung 101"/>
          <p:cNvCxnSpPr/>
          <p:nvPr/>
        </p:nvCxnSpPr>
        <p:spPr>
          <a:xfrm flipH="1" flipV="1">
            <a:off x="3419872" y="422108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059832" y="220486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sp>
        <p:nvSpPr>
          <p:cNvPr id="104" name="Rechteck 103"/>
          <p:cNvSpPr/>
          <p:nvPr/>
        </p:nvSpPr>
        <p:spPr>
          <a:xfrm>
            <a:off x="3059832" y="436510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cxnSp>
        <p:nvCxnSpPr>
          <p:cNvPr id="105" name="Gerade Verbindung 104"/>
          <p:cNvCxnSpPr/>
          <p:nvPr/>
        </p:nvCxnSpPr>
        <p:spPr>
          <a:xfrm flipV="1">
            <a:off x="3419872" y="436510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p:nvCxnSpPr>
        <p:spPr>
          <a:xfrm flipV="1">
            <a:off x="3419872" y="220486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Rechteck 106"/>
          <p:cNvSpPr/>
          <p:nvPr/>
        </p:nvSpPr>
        <p:spPr>
          <a:xfrm>
            <a:off x="827584"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rogram start</a:t>
            </a:r>
          </a:p>
        </p:txBody>
      </p:sp>
      <p:cxnSp>
        <p:nvCxnSpPr>
          <p:cNvPr id="108" name="Gerade Verbindung mit Pfeil 107"/>
          <p:cNvCxnSpPr/>
          <p:nvPr/>
        </p:nvCxnSpPr>
        <p:spPr>
          <a:xfrm>
            <a:off x="3347864"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a:off x="2987824"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cxnSp>
        <p:nvCxnSpPr>
          <p:cNvPr id="110" name="Gerade Verbindung mit Pfeil 109"/>
          <p:cNvCxnSpPr/>
          <p:nvPr/>
        </p:nvCxnSpPr>
        <p:spPr>
          <a:xfrm>
            <a:off x="3347864" y="1412776"/>
            <a:ext cx="0" cy="5040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p:nvPr/>
        </p:nvCxnSpPr>
        <p:spPr>
          <a:xfrm>
            <a:off x="3347864" y="5229200"/>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2987824" y="522920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spTree>
    <p:extLst>
      <p:ext uri="{BB962C8B-B14F-4D97-AF65-F5344CB8AC3E}">
        <p14:creationId xmlns:p14="http://schemas.microsoft.com/office/powerpoint/2010/main" val="24778717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Access Modes</a:t>
            </a:r>
          </a:p>
        </p:txBody>
      </p:sp>
      <p:sp>
        <p:nvSpPr>
          <p:cNvPr id="6" name="Textplatzhalter 5"/>
          <p:cNvSpPr>
            <a:spLocks noGrp="1"/>
          </p:cNvSpPr>
          <p:nvPr>
            <p:ph type="body" sz="quarter" idx="16"/>
          </p:nvPr>
        </p:nvSpPr>
        <p:spPr/>
        <p:txBody>
          <a:bodyPr/>
          <a:lstStyle/>
          <a:p>
            <a:endParaRPr lang="en-US" dirty="0"/>
          </a:p>
        </p:txBody>
      </p:sp>
      <p:sp>
        <p:nvSpPr>
          <p:cNvPr id="184" name="Rechteck 183"/>
          <p:cNvSpPr/>
          <p:nvPr/>
        </p:nvSpPr>
        <p:spPr>
          <a:xfrm>
            <a:off x="46743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7554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p:cNvSpPr/>
          <p:nvPr/>
        </p:nvSpPr>
        <p:spPr>
          <a:xfrm>
            <a:off x="241170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6" name="Rechteck 195"/>
          <p:cNvSpPr/>
          <p:nvPr/>
        </p:nvSpPr>
        <p:spPr>
          <a:xfrm>
            <a:off x="29157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p:cNvSpPr/>
          <p:nvPr/>
        </p:nvSpPr>
        <p:spPr>
          <a:xfrm>
            <a:off x="30597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1" name="Rechteck 240"/>
          <p:cNvSpPr/>
          <p:nvPr/>
        </p:nvSpPr>
        <p:spPr>
          <a:xfrm>
            <a:off x="32038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2" name="Rechteck 241"/>
          <p:cNvSpPr/>
          <p:nvPr/>
        </p:nvSpPr>
        <p:spPr>
          <a:xfrm>
            <a:off x="334783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3" name="Rechteck 242"/>
          <p:cNvSpPr/>
          <p:nvPr/>
        </p:nvSpPr>
        <p:spPr>
          <a:xfrm>
            <a:off x="435597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p:cNvSpPr/>
          <p:nvPr/>
        </p:nvSpPr>
        <p:spPr>
          <a:xfrm>
            <a:off x="44999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9320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52200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4918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36358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56521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46743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62" name="Rechteck 261"/>
          <p:cNvSpPr/>
          <p:nvPr/>
        </p:nvSpPr>
        <p:spPr>
          <a:xfrm>
            <a:off x="241170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1)</a:t>
            </a:r>
          </a:p>
        </p:txBody>
      </p:sp>
      <p:sp>
        <p:nvSpPr>
          <p:cNvPr id="263" name="Rechteck 262"/>
          <p:cNvSpPr/>
          <p:nvPr/>
        </p:nvSpPr>
        <p:spPr>
          <a:xfrm>
            <a:off x="435597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2)</a:t>
            </a:r>
          </a:p>
        </p:txBody>
      </p:sp>
      <p:sp>
        <p:nvSpPr>
          <p:cNvPr id="264" name="Rechteck 263"/>
          <p:cNvSpPr/>
          <p:nvPr/>
        </p:nvSpPr>
        <p:spPr>
          <a:xfrm>
            <a:off x="46743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7554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p:cNvSpPr/>
          <p:nvPr/>
        </p:nvSpPr>
        <p:spPr>
          <a:xfrm>
            <a:off x="7554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p:cNvSpPr/>
          <p:nvPr/>
        </p:nvSpPr>
        <p:spPr>
          <a:xfrm>
            <a:off x="46743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p:cNvSpPr/>
          <p:nvPr/>
        </p:nvSpPr>
        <p:spPr>
          <a:xfrm>
            <a:off x="46743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1)</a:t>
            </a:r>
          </a:p>
        </p:txBody>
      </p:sp>
      <p:sp>
        <p:nvSpPr>
          <p:cNvPr id="285" name="Rechteck 284"/>
          <p:cNvSpPr/>
          <p:nvPr/>
        </p:nvSpPr>
        <p:spPr>
          <a:xfrm>
            <a:off x="46743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2)</a:t>
            </a:r>
          </a:p>
        </p:txBody>
      </p:sp>
      <p:sp>
        <p:nvSpPr>
          <p:cNvPr id="286" name="Rechteck 285"/>
          <p:cNvSpPr/>
          <p:nvPr/>
        </p:nvSpPr>
        <p:spPr>
          <a:xfrm>
            <a:off x="7554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7554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8" name="Rechteck 287"/>
          <p:cNvSpPr/>
          <p:nvPr/>
        </p:nvSpPr>
        <p:spPr>
          <a:xfrm>
            <a:off x="7554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9" name="Rechteck 288"/>
          <p:cNvSpPr/>
          <p:nvPr/>
        </p:nvSpPr>
        <p:spPr>
          <a:xfrm>
            <a:off x="7554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241170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241170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1)</a:t>
            </a:r>
          </a:p>
        </p:txBody>
      </p:sp>
      <p:sp>
        <p:nvSpPr>
          <p:cNvPr id="342" name="Rechteck 341"/>
          <p:cNvSpPr/>
          <p:nvPr/>
        </p:nvSpPr>
        <p:spPr>
          <a:xfrm>
            <a:off x="29157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3" name="Rechteck 342"/>
          <p:cNvSpPr/>
          <p:nvPr/>
        </p:nvSpPr>
        <p:spPr>
          <a:xfrm>
            <a:off x="30597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4" name="Rechteck 343"/>
          <p:cNvSpPr/>
          <p:nvPr/>
        </p:nvSpPr>
        <p:spPr>
          <a:xfrm>
            <a:off x="32038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34783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4918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7" name="Rechteck 346"/>
          <p:cNvSpPr/>
          <p:nvPr/>
        </p:nvSpPr>
        <p:spPr>
          <a:xfrm>
            <a:off x="36358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p:cNvSpPr/>
          <p:nvPr/>
        </p:nvSpPr>
        <p:spPr>
          <a:xfrm>
            <a:off x="29157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9" name="Rechteck 348"/>
          <p:cNvSpPr/>
          <p:nvPr/>
        </p:nvSpPr>
        <p:spPr>
          <a:xfrm>
            <a:off x="30597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0" name="Rechteck 349"/>
          <p:cNvSpPr/>
          <p:nvPr/>
        </p:nvSpPr>
        <p:spPr>
          <a:xfrm>
            <a:off x="32038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1" name="Rechteck 350"/>
          <p:cNvSpPr/>
          <p:nvPr/>
        </p:nvSpPr>
        <p:spPr>
          <a:xfrm>
            <a:off x="334783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2" name="Rechteck 351"/>
          <p:cNvSpPr/>
          <p:nvPr/>
        </p:nvSpPr>
        <p:spPr>
          <a:xfrm>
            <a:off x="34918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3" name="Rechteck 352"/>
          <p:cNvSpPr/>
          <p:nvPr/>
        </p:nvSpPr>
        <p:spPr>
          <a:xfrm>
            <a:off x="36358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4" name="Rechteck 353"/>
          <p:cNvSpPr/>
          <p:nvPr/>
        </p:nvSpPr>
        <p:spPr>
          <a:xfrm>
            <a:off x="29157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5" name="Rechteck 354"/>
          <p:cNvSpPr/>
          <p:nvPr/>
        </p:nvSpPr>
        <p:spPr>
          <a:xfrm>
            <a:off x="30597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6" name="Rechteck 355"/>
          <p:cNvSpPr/>
          <p:nvPr/>
        </p:nvSpPr>
        <p:spPr>
          <a:xfrm>
            <a:off x="32038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7" name="Rechteck 356"/>
          <p:cNvSpPr/>
          <p:nvPr/>
        </p:nvSpPr>
        <p:spPr>
          <a:xfrm>
            <a:off x="334783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8" name="Rechteck 357"/>
          <p:cNvSpPr/>
          <p:nvPr/>
        </p:nvSpPr>
        <p:spPr>
          <a:xfrm>
            <a:off x="34918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9" name="Rechteck 358"/>
          <p:cNvSpPr/>
          <p:nvPr/>
        </p:nvSpPr>
        <p:spPr>
          <a:xfrm>
            <a:off x="36358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0" name="Rechteck 359"/>
          <p:cNvSpPr/>
          <p:nvPr/>
        </p:nvSpPr>
        <p:spPr>
          <a:xfrm>
            <a:off x="29157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1" name="Rechteck 360"/>
          <p:cNvSpPr/>
          <p:nvPr/>
        </p:nvSpPr>
        <p:spPr>
          <a:xfrm>
            <a:off x="30597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32038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334783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4918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29157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30597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8" name="Rechteck 367"/>
          <p:cNvSpPr/>
          <p:nvPr/>
        </p:nvSpPr>
        <p:spPr>
          <a:xfrm>
            <a:off x="32038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9" name="Rechteck 368"/>
          <p:cNvSpPr/>
          <p:nvPr/>
        </p:nvSpPr>
        <p:spPr>
          <a:xfrm>
            <a:off x="334783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0" name="Rechteck 369"/>
          <p:cNvSpPr/>
          <p:nvPr/>
        </p:nvSpPr>
        <p:spPr>
          <a:xfrm>
            <a:off x="34918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1" name="Rechteck 370"/>
          <p:cNvSpPr/>
          <p:nvPr/>
        </p:nvSpPr>
        <p:spPr>
          <a:xfrm>
            <a:off x="36358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29157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0597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32038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5" name="Rechteck 374"/>
          <p:cNvSpPr/>
          <p:nvPr/>
        </p:nvSpPr>
        <p:spPr>
          <a:xfrm>
            <a:off x="334783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6" name="Rechteck 375"/>
          <p:cNvSpPr/>
          <p:nvPr/>
        </p:nvSpPr>
        <p:spPr>
          <a:xfrm>
            <a:off x="34918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7" name="Rechteck 376"/>
          <p:cNvSpPr/>
          <p:nvPr/>
        </p:nvSpPr>
        <p:spPr>
          <a:xfrm>
            <a:off x="36358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8" name="Rechteck 377"/>
          <p:cNvSpPr/>
          <p:nvPr/>
        </p:nvSpPr>
        <p:spPr>
          <a:xfrm>
            <a:off x="68346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9" name="Rechteck 378"/>
          <p:cNvSpPr/>
          <p:nvPr/>
        </p:nvSpPr>
        <p:spPr>
          <a:xfrm>
            <a:off x="68346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0" name="Rechteck 379"/>
          <p:cNvSpPr/>
          <p:nvPr/>
        </p:nvSpPr>
        <p:spPr>
          <a:xfrm>
            <a:off x="68346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1" name="Rechteck 380"/>
          <p:cNvSpPr/>
          <p:nvPr/>
        </p:nvSpPr>
        <p:spPr>
          <a:xfrm>
            <a:off x="68346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2" name="Rechteck 381"/>
          <p:cNvSpPr/>
          <p:nvPr/>
        </p:nvSpPr>
        <p:spPr>
          <a:xfrm>
            <a:off x="68346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3" name="Rechteck 382"/>
          <p:cNvSpPr/>
          <p:nvPr/>
        </p:nvSpPr>
        <p:spPr>
          <a:xfrm>
            <a:off x="68346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4" name="Rechteck 383"/>
          <p:cNvSpPr/>
          <p:nvPr/>
        </p:nvSpPr>
        <p:spPr>
          <a:xfrm>
            <a:off x="46440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p:cNvSpPr/>
          <p:nvPr/>
        </p:nvSpPr>
        <p:spPr>
          <a:xfrm>
            <a:off x="435597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6" name="Rechteck 385"/>
          <p:cNvSpPr/>
          <p:nvPr/>
        </p:nvSpPr>
        <p:spPr>
          <a:xfrm>
            <a:off x="435597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2)</a:t>
            </a:r>
          </a:p>
        </p:txBody>
      </p:sp>
      <p:sp>
        <p:nvSpPr>
          <p:cNvPr id="387" name="Rechteck 386"/>
          <p:cNvSpPr/>
          <p:nvPr/>
        </p:nvSpPr>
        <p:spPr>
          <a:xfrm>
            <a:off x="44999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8" name="Rechteck 387"/>
          <p:cNvSpPr/>
          <p:nvPr/>
        </p:nvSpPr>
        <p:spPr>
          <a:xfrm>
            <a:off x="46440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49320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0" name="Rechteck 389"/>
          <p:cNvSpPr/>
          <p:nvPr/>
        </p:nvSpPr>
        <p:spPr>
          <a:xfrm>
            <a:off x="52200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1" name="Rechteck 390"/>
          <p:cNvSpPr/>
          <p:nvPr/>
        </p:nvSpPr>
        <p:spPr>
          <a:xfrm>
            <a:off x="56521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3" name="Rechteck 392"/>
          <p:cNvSpPr/>
          <p:nvPr/>
        </p:nvSpPr>
        <p:spPr>
          <a:xfrm>
            <a:off x="44999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46440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49320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2200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56521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p:cNvSpPr/>
          <p:nvPr/>
        </p:nvSpPr>
        <p:spPr>
          <a:xfrm>
            <a:off x="44999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46440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1" name="Rechteck 400"/>
          <p:cNvSpPr/>
          <p:nvPr/>
        </p:nvSpPr>
        <p:spPr>
          <a:xfrm>
            <a:off x="49320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52200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3" name="Rechteck 402"/>
          <p:cNvSpPr/>
          <p:nvPr/>
        </p:nvSpPr>
        <p:spPr>
          <a:xfrm>
            <a:off x="56521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5" name="Rechteck 404"/>
          <p:cNvSpPr/>
          <p:nvPr/>
        </p:nvSpPr>
        <p:spPr>
          <a:xfrm>
            <a:off x="44999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46440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7" name="Rechteck 406"/>
          <p:cNvSpPr/>
          <p:nvPr/>
        </p:nvSpPr>
        <p:spPr>
          <a:xfrm>
            <a:off x="49320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52200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56521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1" name="Rechteck 410"/>
          <p:cNvSpPr/>
          <p:nvPr/>
        </p:nvSpPr>
        <p:spPr>
          <a:xfrm>
            <a:off x="44999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46440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49320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52200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56521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44999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46440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49320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52200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56521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68346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4" name="Rechteck 423"/>
          <p:cNvSpPr/>
          <p:nvPr/>
        </p:nvSpPr>
        <p:spPr>
          <a:xfrm>
            <a:off x="241170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241170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3)</a:t>
            </a:r>
          </a:p>
        </p:txBody>
      </p:sp>
      <p:sp>
        <p:nvSpPr>
          <p:cNvPr id="468" name="Rechteck 467"/>
          <p:cNvSpPr/>
          <p:nvPr/>
        </p:nvSpPr>
        <p:spPr>
          <a:xfrm>
            <a:off x="29157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9" name="Rechteck 468"/>
          <p:cNvSpPr/>
          <p:nvPr/>
        </p:nvSpPr>
        <p:spPr>
          <a:xfrm>
            <a:off x="29157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0" name="Rechteck 469"/>
          <p:cNvSpPr/>
          <p:nvPr/>
        </p:nvSpPr>
        <p:spPr>
          <a:xfrm>
            <a:off x="29157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1" name="Rechteck 470"/>
          <p:cNvSpPr/>
          <p:nvPr/>
        </p:nvSpPr>
        <p:spPr>
          <a:xfrm>
            <a:off x="29157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2" name="Rechteck 471"/>
          <p:cNvSpPr/>
          <p:nvPr/>
        </p:nvSpPr>
        <p:spPr>
          <a:xfrm>
            <a:off x="29157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3" name="Rechteck 472"/>
          <p:cNvSpPr/>
          <p:nvPr/>
        </p:nvSpPr>
        <p:spPr>
          <a:xfrm>
            <a:off x="29157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4" name="Rechteck 473"/>
          <p:cNvSpPr/>
          <p:nvPr/>
        </p:nvSpPr>
        <p:spPr>
          <a:xfrm>
            <a:off x="29157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5" name="Rechteck 474"/>
          <p:cNvSpPr/>
          <p:nvPr/>
        </p:nvSpPr>
        <p:spPr>
          <a:xfrm>
            <a:off x="30597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6" name="Rechteck 475"/>
          <p:cNvSpPr/>
          <p:nvPr/>
        </p:nvSpPr>
        <p:spPr>
          <a:xfrm>
            <a:off x="30597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7" name="Rechteck 476"/>
          <p:cNvSpPr/>
          <p:nvPr/>
        </p:nvSpPr>
        <p:spPr>
          <a:xfrm>
            <a:off x="30597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8" name="Rechteck 477"/>
          <p:cNvSpPr/>
          <p:nvPr/>
        </p:nvSpPr>
        <p:spPr>
          <a:xfrm>
            <a:off x="30597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30597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30597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30597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32038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3" name="Rechteck 482"/>
          <p:cNvSpPr/>
          <p:nvPr/>
        </p:nvSpPr>
        <p:spPr>
          <a:xfrm>
            <a:off x="32038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32038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5" name="Rechteck 484"/>
          <p:cNvSpPr/>
          <p:nvPr/>
        </p:nvSpPr>
        <p:spPr>
          <a:xfrm>
            <a:off x="32038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32038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32038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8" name="Rechteck 487"/>
          <p:cNvSpPr/>
          <p:nvPr/>
        </p:nvSpPr>
        <p:spPr>
          <a:xfrm>
            <a:off x="32038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9" name="Rechteck 488"/>
          <p:cNvSpPr/>
          <p:nvPr/>
        </p:nvSpPr>
        <p:spPr>
          <a:xfrm>
            <a:off x="334783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334783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334783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334783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334783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334783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334783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34918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34918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34918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34918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34918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34918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34918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3" name="Rechteck 502"/>
          <p:cNvSpPr/>
          <p:nvPr/>
        </p:nvSpPr>
        <p:spPr>
          <a:xfrm>
            <a:off x="36358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4" name="Rechteck 503"/>
          <p:cNvSpPr/>
          <p:nvPr/>
        </p:nvSpPr>
        <p:spPr>
          <a:xfrm>
            <a:off x="36358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5" name="Rechteck 504"/>
          <p:cNvSpPr/>
          <p:nvPr/>
        </p:nvSpPr>
        <p:spPr>
          <a:xfrm>
            <a:off x="36358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6" name="Rechteck 505"/>
          <p:cNvSpPr/>
          <p:nvPr/>
        </p:nvSpPr>
        <p:spPr>
          <a:xfrm>
            <a:off x="36358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36358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8" name="Rechteck 507"/>
          <p:cNvSpPr/>
          <p:nvPr/>
        </p:nvSpPr>
        <p:spPr>
          <a:xfrm>
            <a:off x="36358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9" name="Rechteck 508"/>
          <p:cNvSpPr/>
          <p:nvPr/>
        </p:nvSpPr>
        <p:spPr>
          <a:xfrm>
            <a:off x="36358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0" name="Rechteck 509"/>
          <p:cNvSpPr/>
          <p:nvPr/>
        </p:nvSpPr>
        <p:spPr>
          <a:xfrm>
            <a:off x="435597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1" name="Rechteck 510"/>
          <p:cNvSpPr/>
          <p:nvPr/>
        </p:nvSpPr>
        <p:spPr>
          <a:xfrm>
            <a:off x="435597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4)</a:t>
            </a:r>
          </a:p>
        </p:txBody>
      </p:sp>
      <p:sp>
        <p:nvSpPr>
          <p:cNvPr id="512" name="Rechteck 511"/>
          <p:cNvSpPr/>
          <p:nvPr/>
        </p:nvSpPr>
        <p:spPr>
          <a:xfrm>
            <a:off x="44999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3" name="Rechteck 512"/>
          <p:cNvSpPr/>
          <p:nvPr/>
        </p:nvSpPr>
        <p:spPr>
          <a:xfrm>
            <a:off x="44999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4" name="Rechteck 513"/>
          <p:cNvSpPr/>
          <p:nvPr/>
        </p:nvSpPr>
        <p:spPr>
          <a:xfrm>
            <a:off x="44999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5" name="Rechteck 514"/>
          <p:cNvSpPr/>
          <p:nvPr/>
        </p:nvSpPr>
        <p:spPr>
          <a:xfrm>
            <a:off x="44999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6" name="Rechteck 515"/>
          <p:cNvSpPr/>
          <p:nvPr/>
        </p:nvSpPr>
        <p:spPr>
          <a:xfrm>
            <a:off x="44999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7" name="Rechteck 516"/>
          <p:cNvSpPr/>
          <p:nvPr/>
        </p:nvSpPr>
        <p:spPr>
          <a:xfrm>
            <a:off x="44999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8" name="Rechteck 517"/>
          <p:cNvSpPr/>
          <p:nvPr/>
        </p:nvSpPr>
        <p:spPr>
          <a:xfrm>
            <a:off x="44999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9" name="Rechteck 518"/>
          <p:cNvSpPr/>
          <p:nvPr/>
        </p:nvSpPr>
        <p:spPr>
          <a:xfrm>
            <a:off x="46440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0" name="Rechteck 519"/>
          <p:cNvSpPr/>
          <p:nvPr/>
        </p:nvSpPr>
        <p:spPr>
          <a:xfrm>
            <a:off x="46440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1" name="Rechteck 520"/>
          <p:cNvSpPr/>
          <p:nvPr/>
        </p:nvSpPr>
        <p:spPr>
          <a:xfrm>
            <a:off x="46440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2" name="Rechteck 521"/>
          <p:cNvSpPr/>
          <p:nvPr/>
        </p:nvSpPr>
        <p:spPr>
          <a:xfrm>
            <a:off x="46440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3" name="Rechteck 522"/>
          <p:cNvSpPr/>
          <p:nvPr/>
        </p:nvSpPr>
        <p:spPr>
          <a:xfrm>
            <a:off x="46440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4" name="Rechteck 523"/>
          <p:cNvSpPr/>
          <p:nvPr/>
        </p:nvSpPr>
        <p:spPr>
          <a:xfrm>
            <a:off x="46440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5" name="Rechteck 524"/>
          <p:cNvSpPr/>
          <p:nvPr/>
        </p:nvSpPr>
        <p:spPr>
          <a:xfrm>
            <a:off x="46440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49320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49320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49320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49320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49320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49320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49320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52200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52200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5" name="Rechteck 534"/>
          <p:cNvSpPr/>
          <p:nvPr/>
        </p:nvSpPr>
        <p:spPr>
          <a:xfrm>
            <a:off x="52200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6" name="Rechteck 535"/>
          <p:cNvSpPr/>
          <p:nvPr/>
        </p:nvSpPr>
        <p:spPr>
          <a:xfrm>
            <a:off x="52200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7" name="Rechteck 536"/>
          <p:cNvSpPr/>
          <p:nvPr/>
        </p:nvSpPr>
        <p:spPr>
          <a:xfrm>
            <a:off x="52200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8" name="Rechteck 537"/>
          <p:cNvSpPr/>
          <p:nvPr/>
        </p:nvSpPr>
        <p:spPr>
          <a:xfrm>
            <a:off x="52200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9" name="Rechteck 538"/>
          <p:cNvSpPr/>
          <p:nvPr/>
        </p:nvSpPr>
        <p:spPr>
          <a:xfrm>
            <a:off x="52200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56521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1" name="Rechteck 540"/>
          <p:cNvSpPr/>
          <p:nvPr/>
        </p:nvSpPr>
        <p:spPr>
          <a:xfrm>
            <a:off x="56521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2" name="Rechteck 541"/>
          <p:cNvSpPr/>
          <p:nvPr/>
        </p:nvSpPr>
        <p:spPr>
          <a:xfrm>
            <a:off x="56521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56521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4" name="Rechteck 543"/>
          <p:cNvSpPr/>
          <p:nvPr/>
        </p:nvSpPr>
        <p:spPr>
          <a:xfrm>
            <a:off x="56521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5" name="Rechteck 544"/>
          <p:cNvSpPr/>
          <p:nvPr/>
        </p:nvSpPr>
        <p:spPr>
          <a:xfrm>
            <a:off x="56521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6" name="Rechteck 545"/>
          <p:cNvSpPr/>
          <p:nvPr/>
        </p:nvSpPr>
        <p:spPr>
          <a:xfrm>
            <a:off x="56521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4" name="Gerade Verbindung 94"/>
          <p:cNvCxnSpPr/>
          <p:nvPr/>
        </p:nvCxnSpPr>
        <p:spPr>
          <a:xfrm>
            <a:off x="46743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5" name="Gerade Verbindung 94"/>
          <p:cNvCxnSpPr/>
          <p:nvPr/>
        </p:nvCxnSpPr>
        <p:spPr>
          <a:xfrm>
            <a:off x="241170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6" name="Gerade Verbindung 94"/>
          <p:cNvCxnSpPr/>
          <p:nvPr/>
        </p:nvCxnSpPr>
        <p:spPr>
          <a:xfrm>
            <a:off x="435597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7" name="Gerade Verbindung 94"/>
          <p:cNvCxnSpPr/>
          <p:nvPr/>
        </p:nvCxnSpPr>
        <p:spPr>
          <a:xfrm>
            <a:off x="46743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8" name="Gerade Verbindung 94"/>
          <p:cNvCxnSpPr/>
          <p:nvPr/>
        </p:nvCxnSpPr>
        <p:spPr>
          <a:xfrm>
            <a:off x="241170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9" name="Gerade Verbindung 94"/>
          <p:cNvCxnSpPr/>
          <p:nvPr/>
        </p:nvCxnSpPr>
        <p:spPr>
          <a:xfrm>
            <a:off x="435597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0" name="Gerade Verbindung 94"/>
          <p:cNvCxnSpPr/>
          <p:nvPr/>
        </p:nvCxnSpPr>
        <p:spPr>
          <a:xfrm>
            <a:off x="46743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1" name="Gerade Verbindung 94"/>
          <p:cNvCxnSpPr/>
          <p:nvPr/>
        </p:nvCxnSpPr>
        <p:spPr>
          <a:xfrm>
            <a:off x="241170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2" name="Gerade Verbindung 94"/>
          <p:cNvCxnSpPr/>
          <p:nvPr/>
        </p:nvCxnSpPr>
        <p:spPr>
          <a:xfrm>
            <a:off x="435597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73169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Simple Access – Ful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5 ]</a:t>
            </a:r>
          </a:p>
          <a:p>
            <a:pPr>
              <a:lnSpc>
                <a:spcPct val="95000"/>
              </a:lnSpc>
            </a:pPr>
            <a:r>
              <a:rPr lang="en-US" sz="1000" dirty="0">
                <a:solidFill>
                  <a:schemeClr val="tx1"/>
                </a:solidFill>
              </a:rPr>
              <a:t>[ table: -7, -10 ]</a:t>
            </a:r>
          </a:p>
          <a:p>
            <a:pPr>
              <a:lnSpc>
                <a:spcPct val="95000"/>
              </a:lnSpc>
            </a:pPr>
            <a:r>
              <a:rPr lang="en-US" sz="1000" dirty="0">
                <a:solidFill>
                  <a:schemeClr val="tx1"/>
                </a:solidFill>
              </a:rPr>
              <a:t>[ table:  1, -10 ]</a:t>
            </a:r>
          </a:p>
          <a:p>
            <a:pPr>
              <a:lnSpc>
                <a:spcPct val="95000"/>
              </a:lnSpc>
            </a:pPr>
            <a:r>
              <a:rPr lang="en-US" sz="1000" dirty="0">
                <a:solidFill>
                  <a:schemeClr val="tx1"/>
                </a:solidFill>
              </a:rPr>
              <a:t>[ table: -7,    5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a:t>
            </a:r>
          </a:p>
          <a:p>
            <a:pPr>
              <a:lnSpc>
                <a:spcPct val="95000"/>
              </a:lnSpc>
            </a:pPr>
            <a:r>
              <a:rPr lang="en-US" sz="1000" dirty="0">
                <a:solidFill>
                  <a:schemeClr val="tx1"/>
                </a:solidFill>
              </a:rPr>
              <a:t>[ table: 1, San Francisco]</a:t>
            </a:r>
          </a:p>
          <a:p>
            <a:pPr>
              <a:lnSpc>
                <a:spcPct val="95000"/>
              </a:lnSpc>
            </a:pPr>
            <a:r>
              <a:rPr lang="en-US" sz="1000" dirty="0">
                <a:solidFill>
                  <a:schemeClr val="tx1"/>
                </a:solidFill>
              </a:rPr>
              <a:t>[ table: -7, San Francisco]</a:t>
            </a:r>
          </a:p>
          <a:p>
            <a:pPr>
              <a:lnSpc>
                <a:spcPct val="95000"/>
              </a:lnSpc>
            </a:pPr>
            <a:endParaRPr lang="en-US" sz="1000" dirty="0">
              <a:solidFill>
                <a:schemeClr val="tx1"/>
              </a:solidFill>
            </a:endParaRP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5 ]</a:t>
            </a:r>
          </a:p>
          <a:p>
            <a:pPr>
              <a:lnSpc>
                <a:spcPct val="95000"/>
              </a:lnSpc>
            </a:pPr>
            <a:r>
              <a:rPr lang="en-US" sz="1000" dirty="0">
                <a:solidFill>
                  <a:schemeClr val="tx1"/>
                </a:solidFill>
              </a:rPr>
              <a:t>[ table: City, -10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famous attraction]</a:t>
            </a:r>
          </a:p>
          <a:p>
            <a:pPr>
              <a:lnSpc>
                <a:spcPct val="95000"/>
              </a:lnSpc>
            </a:pPr>
            <a:r>
              <a:rPr lang="en-US" sz="1000" dirty="0">
                <a:solidFill>
                  <a:schemeClr val="tx1"/>
                </a:solidFill>
              </a:rPr>
              <a:t>[ table: 1, 5, 4]</a:t>
            </a:r>
          </a:p>
          <a:p>
            <a:pPr>
              <a:lnSpc>
                <a:spcPct val="95000"/>
              </a:lnSpc>
            </a:pPr>
            <a:r>
              <a:rPr lang="en-US" sz="1000" dirty="0">
                <a:solidFill>
                  <a:schemeClr val="tx1"/>
                </a:solidFill>
              </a:rPr>
              <a:t>[ table: -7, -10,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4183998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CD31ACD9-02AB-487B-B4D1-CEA11910056C}"/>
              </a:ext>
            </a:extLst>
          </p:cNvPr>
          <p:cNvSpPr/>
          <p:nvPr/>
        </p:nvSpPr>
        <p:spPr>
          <a:xfrm>
            <a:off x="396000" y="213303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3F5EAFC2-72F8-4D18-AB4D-C5022D0ACC67}"/>
              </a:ext>
            </a:extLst>
          </p:cNvPr>
          <p:cNvSpPr/>
          <p:nvPr/>
        </p:nvSpPr>
        <p:spPr>
          <a:xfrm>
            <a:off x="2268000" y="213300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Simple Access – Partia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1 ]</a:t>
            </a:r>
          </a:p>
          <a:p>
            <a:pPr>
              <a:lnSpc>
                <a:spcPct val="95000"/>
              </a:lnSpc>
            </a:pPr>
            <a:r>
              <a:rPr lang="en-US" sz="1000" dirty="0">
                <a:solidFill>
                  <a:schemeClr val="tx1"/>
                </a:solidFill>
              </a:rPr>
              <a:t>[ -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City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 famous attraction]</a:t>
            </a:r>
          </a:p>
          <a:p>
            <a:pPr>
              <a:lnSpc>
                <a:spcPct val="95000"/>
              </a:lnSpc>
            </a:pPr>
            <a:r>
              <a:rPr lang="en-US" sz="1000" dirty="0">
                <a:solidFill>
                  <a:schemeClr val="tx1"/>
                </a:solidFill>
              </a:rPr>
              <a:t>[ 1, row(), 4 ]</a:t>
            </a:r>
          </a:p>
          <a:p>
            <a:pPr>
              <a:lnSpc>
                <a:spcPct val="95000"/>
              </a:lnSpc>
            </a:pPr>
            <a:r>
              <a:rPr lang="en-US" sz="1000" dirty="0">
                <a:solidFill>
                  <a:schemeClr val="tx1"/>
                </a:solidFill>
              </a:rPr>
              <a:t>[-7, row(),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3645630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with</a:t>
            </a:r>
          </a:p>
          <a:p>
            <a:pPr>
              <a:lnSpc>
                <a:spcPct val="90000"/>
              </a:lnSpc>
            </a:pPr>
            <a:r>
              <a:rPr lang="en-US" sz="1000" dirty="0">
                <a:solidFill>
                  <a:schemeClr val="tx1"/>
                </a:solidFill>
              </a:rPr>
              <a:t>column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match 1</a:t>
            </a:r>
            <a:r>
              <a:rPr lang="en-US" sz="1000" baseline="30000" dirty="0">
                <a:solidFill>
                  <a:schemeClr val="tx1"/>
                </a:solidFill>
              </a:rPr>
              <a:t>st</a:t>
            </a:r>
            <a:endParaRPr lang="en-US" sz="1000" dirty="0">
              <a:solidFill>
                <a:schemeClr val="tx1"/>
              </a:solidFill>
            </a:endParaRPr>
          </a:p>
          <a:p>
            <a:pPr>
              <a:lnSpc>
                <a:spcPct val="90000"/>
              </a:lnSpc>
            </a:pPr>
            <a:r>
              <a:rPr lang="en-US" sz="1000" dirty="0">
                <a:solidFill>
                  <a:schemeClr val="tx1"/>
                </a:solidFill>
              </a:rPr>
              <a:t>element with data below</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in 2</a:t>
            </a:r>
            <a:r>
              <a:rPr lang="en-US" sz="1000" baseline="30000" dirty="0">
                <a:solidFill>
                  <a:schemeClr val="tx1"/>
                </a:solidFill>
              </a:rPr>
              <a:t>nd</a:t>
            </a:r>
            <a:r>
              <a:rPr lang="en-US" sz="1000" dirty="0">
                <a:solidFill>
                  <a:schemeClr val="tx1"/>
                </a:solidFill>
              </a:rPr>
              <a:t> column</a:t>
            </a:r>
          </a:p>
          <a:p>
            <a:pPr>
              <a:lnSpc>
                <a:spcPct val="90000"/>
              </a:lnSpc>
            </a:pPr>
            <a:r>
              <a:rPr lang="en-US" sz="1000" dirty="0">
                <a:solidFill>
                  <a:schemeClr val="tx1"/>
                </a:solidFill>
              </a:rPr>
              <a:t>specifier to retrieve multiple item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7,-4},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a:t>
            </a:r>
          </a:p>
          <a:p>
            <a:pPr>
              <a:lnSpc>
                <a:spcPct val="95000"/>
              </a:lnSpc>
            </a:pPr>
            <a:r>
              <a:rPr lang="en-US" sz="1000" dirty="0">
                <a:solidFill>
                  <a:schemeClr val="tx1"/>
                </a:solidFill>
              </a:rPr>
              <a:t>  San Francisco ]</a:t>
            </a:r>
          </a:p>
          <a:p>
            <a:pPr>
              <a:lnSpc>
                <a:spcPct val="95000"/>
              </a:lnSpc>
            </a:pPr>
            <a:r>
              <a:rPr lang="en-US" sz="1000" dirty="0">
                <a:solidFill>
                  <a:schemeClr val="tx1"/>
                </a:solidFill>
              </a:rPr>
              <a:t>Returns row number 5</a:t>
            </a:r>
          </a:p>
          <a:p>
            <a:pPr>
              <a:lnSpc>
                <a:spcPct val="95000"/>
              </a:lnSpc>
            </a:pPr>
            <a:r>
              <a:rPr lang="en-US" sz="1000" dirty="0">
                <a:solidFill>
                  <a:schemeClr val="tx1"/>
                </a:solidFill>
              </a:rPr>
              <a:t>(Only 1</a:t>
            </a:r>
            <a:r>
              <a:rPr lang="en-US" sz="1000" baseline="30000" dirty="0">
                <a:solidFill>
                  <a:schemeClr val="tx1"/>
                </a:solidFill>
              </a:rPr>
              <a:t>st</a:t>
            </a:r>
            <a:r>
              <a:rPr lang="en-US" sz="1000" dirty="0">
                <a:solidFill>
                  <a:schemeClr val="tx1"/>
                </a:solidFill>
              </a:rPr>
              <a:t> element compared)</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s with</a:t>
            </a:r>
          </a:p>
          <a:p>
            <a:pPr>
              <a:lnSpc>
                <a:spcPct val="90000"/>
              </a:lnSpc>
            </a:pPr>
            <a:r>
              <a:rPr lang="en-US" sz="1000" dirty="0">
                <a:solidFill>
                  <a:schemeClr val="tx1"/>
                </a:solidFill>
              </a:rPr>
              <a:t>header names or column</a:t>
            </a:r>
          </a:p>
          <a:p>
            <a:pPr>
              <a:lnSpc>
                <a:spcPct val="90000"/>
              </a:lnSpc>
            </a:pPr>
            <a:r>
              <a:rPr lang="en-US" sz="1000" dirty="0">
                <a:solidFill>
                  <a:schemeClr val="tx1"/>
                </a:solidFill>
              </a:rPr>
              <a:t>number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5 ]</a:t>
            </a:r>
          </a:p>
          <a:p>
            <a:pPr>
              <a:lnSpc>
                <a:spcPct val="95000"/>
              </a:lnSpc>
            </a:pPr>
            <a:r>
              <a:rPr lang="en-US" sz="1000" dirty="0">
                <a:solidFill>
                  <a:schemeClr val="tx1"/>
                </a:solidFill>
              </a:rPr>
              <a:t>[ table: { City, 4 }, -10 ]</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a:t>
            </a:r>
          </a:p>
          <a:p>
            <a:pPr>
              <a:lnSpc>
                <a:spcPct val="95000"/>
              </a:lnSpc>
            </a:pPr>
            <a:r>
              <a:rPr lang="en-US" sz="1000" dirty="0">
                <a:solidFill>
                  <a:schemeClr val="tx1"/>
                </a:solidFill>
              </a:rPr>
              <a:t>  { Famous attraction,</a:t>
            </a:r>
          </a:p>
          <a:p>
            <a:pPr>
              <a:lnSpc>
                <a:spcPct val="95000"/>
              </a:lnSpc>
            </a:pPr>
            <a:r>
              <a:rPr lang="en-US" sz="1000" dirty="0">
                <a:solidFill>
                  <a:schemeClr val="tx1"/>
                </a:solidFill>
              </a:rPr>
              <a:t>    Country }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USA</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2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5" name="Rechteck 124">
            <a:extLst>
              <a:ext uri="{FF2B5EF4-FFF2-40B4-BE49-F238E27FC236}">
                <a16:creationId xmlns:a16="http://schemas.microsoft.com/office/drawing/2014/main" id="{433DF6AF-511D-47C6-9139-A1D5E1F1A0D3}"/>
              </a:ext>
            </a:extLst>
          </p:cNvPr>
          <p:cNvSpPr/>
          <p:nvPr/>
        </p:nvSpPr>
        <p:spPr>
          <a:xfrm>
            <a:off x="6012000" y="2133000"/>
            <a:ext cx="144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a:extLst>
              <a:ext uri="{FF2B5EF4-FFF2-40B4-BE49-F238E27FC236}">
                <a16:creationId xmlns:a16="http://schemas.microsoft.com/office/drawing/2014/main" id="{4FF78091-EB2D-4CFA-B9BB-C9ACF0FA92CB}"/>
              </a:ext>
            </a:extLst>
          </p:cNvPr>
          <p:cNvSpPr/>
          <p:nvPr/>
        </p:nvSpPr>
        <p:spPr>
          <a:xfrm>
            <a:off x="58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27" name="Gerade Verbindung mit Pfeil 126">
            <a:extLst>
              <a:ext uri="{FF2B5EF4-FFF2-40B4-BE49-F238E27FC236}">
                <a16:creationId xmlns:a16="http://schemas.microsoft.com/office/drawing/2014/main" id="{00CA427A-B89E-4FD1-A2DB-1A8C7952F7C2}"/>
              </a:ext>
            </a:extLst>
          </p:cNvPr>
          <p:cNvCxnSpPr>
            <a:cxnSpLocks/>
          </p:cNvCxnSpPr>
          <p:nvPr/>
        </p:nvCxnSpPr>
        <p:spPr>
          <a:xfrm flipH="1">
            <a:off x="6228000" y="2061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8" name="Rechteck 127">
            <a:extLst>
              <a:ext uri="{FF2B5EF4-FFF2-40B4-BE49-F238E27FC236}">
                <a16:creationId xmlns:a16="http://schemas.microsoft.com/office/drawing/2014/main" id="{DD23C8F8-B52C-49EC-AB8C-D9D76899A439}"/>
              </a:ext>
            </a:extLst>
          </p:cNvPr>
          <p:cNvSpPr/>
          <p:nvPr/>
        </p:nvSpPr>
        <p:spPr>
          <a:xfrm>
            <a:off x="6372000" y="2421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 Gate, USA} returned</a:t>
            </a:r>
          </a:p>
        </p:txBody>
      </p:sp>
      <p:sp>
        <p:nvSpPr>
          <p:cNvPr id="129" name="Rechteck 128">
            <a:extLst>
              <a:ext uri="{FF2B5EF4-FFF2-40B4-BE49-F238E27FC236}">
                <a16:creationId xmlns:a16="http://schemas.microsoft.com/office/drawing/2014/main" id="{BAF218A9-6B80-4FE2-B554-07876A060B78}"/>
              </a:ext>
            </a:extLst>
          </p:cNvPr>
          <p:cNvSpPr/>
          <p:nvPr/>
        </p:nvSpPr>
        <p:spPr>
          <a:xfrm>
            <a:off x="51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30" name="Rechteck 129">
            <a:extLst>
              <a:ext uri="{FF2B5EF4-FFF2-40B4-BE49-F238E27FC236}">
                <a16:creationId xmlns:a16="http://schemas.microsoft.com/office/drawing/2014/main" id="{1C0B259F-D96D-4B01-A498-F517A0624068}"/>
              </a:ext>
            </a:extLst>
          </p:cNvPr>
          <p:cNvSpPr/>
          <p:nvPr/>
        </p:nvSpPr>
        <p:spPr>
          <a:xfrm>
            <a:off x="5004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132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1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4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2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943767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Wildcard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76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981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a:t>
            </a:r>
          </a:p>
        </p:txBody>
      </p:sp>
      <p:sp>
        <p:nvSpPr>
          <p:cNvPr id="238" name="Rechteck 237"/>
          <p:cNvSpPr/>
          <p:nvPr/>
        </p:nvSpPr>
        <p:spPr>
          <a:xfrm>
            <a:off x="413906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39" name="Rechteck 238"/>
          <p:cNvSpPr/>
          <p:nvPr/>
        </p:nvSpPr>
        <p:spPr>
          <a:xfrm>
            <a:off x="413906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 specifier,</a:t>
            </a:r>
          </a:p>
          <a:p>
            <a:pPr>
              <a:lnSpc>
                <a:spcPct val="90000"/>
              </a:lnSpc>
            </a:pPr>
            <a:r>
              <a:rPr lang="en-US" sz="1000" dirty="0">
                <a:solidFill>
                  <a:schemeClr val="tx1"/>
                </a:solidFill>
              </a:rPr>
              <a:t>parameter set in 2</a:t>
            </a:r>
            <a:r>
              <a:rPr lang="en-US" sz="1000" baseline="30000" dirty="0">
                <a:solidFill>
                  <a:schemeClr val="tx1"/>
                </a:solidFill>
              </a:rPr>
              <a:t>nd</a:t>
            </a:r>
            <a:r>
              <a:rPr lang="en-US" sz="1000" dirty="0">
                <a:solidFill>
                  <a:schemeClr val="tx1"/>
                </a:solidFill>
              </a:rPr>
              <a:t> specifier</a:t>
            </a:r>
          </a:p>
        </p:txBody>
      </p:sp>
      <p:sp>
        <p:nvSpPr>
          <p:cNvPr id="270" name="Rechteck 269"/>
          <p:cNvSpPr/>
          <p:nvPr/>
        </p:nvSpPr>
        <p:spPr>
          <a:xfrm>
            <a:off x="601158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2</a:t>
            </a:r>
            <a:r>
              <a:rPr lang="en-US" sz="1000" baseline="30000" dirty="0">
                <a:solidFill>
                  <a:schemeClr val="tx1"/>
                </a:solidFill>
              </a:rPr>
              <a:t>nd</a:t>
            </a:r>
            <a:r>
              <a:rPr lang="en-US" sz="1000" dirty="0">
                <a:solidFill>
                  <a:schemeClr val="tx1"/>
                </a:solidFill>
              </a:rPr>
              <a:t> column specifier</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5 ]</a:t>
            </a:r>
          </a:p>
          <a:p>
            <a:pPr>
              <a:lnSpc>
                <a:spcPct val="95000"/>
              </a:lnSpc>
            </a:pPr>
            <a:r>
              <a:rPr lang="en-US" sz="1000" dirty="0">
                <a:solidFill>
                  <a:schemeClr val="tx1"/>
                </a:solidFill>
              </a:rPr>
              <a:t>[ table:  :'F*',-10 ]</a:t>
            </a:r>
          </a:p>
          <a:p>
            <a:pPr>
              <a:lnSpc>
                <a:spcPct val="95000"/>
              </a:lnSpc>
            </a:pPr>
            <a:endParaRPr lang="en-US" sz="1000" dirty="0">
              <a:solidFill>
                <a:schemeClr val="tx1"/>
              </a:solidFill>
            </a:endParaRPr>
          </a:p>
        </p:txBody>
      </p:sp>
      <p:sp>
        <p:nvSpPr>
          <p:cNvPr id="78" name="Rechteck 77"/>
          <p:cNvSpPr/>
          <p:nvPr/>
        </p:nvSpPr>
        <p:spPr>
          <a:xfrm>
            <a:off x="2268020" y="765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981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 search</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Golden Gate]</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San Francisco, :'F*' ]</a:t>
            </a:r>
          </a:p>
          <a:p>
            <a:pPr>
              <a:lnSpc>
                <a:spcPct val="95000"/>
              </a:lnSpc>
            </a:pPr>
            <a:r>
              <a:rPr lang="en-US" sz="1000" dirty="0">
                <a:solidFill>
                  <a:schemeClr val="tx1"/>
                </a:solidFill>
              </a:rPr>
              <a:t>[ table : City, 5, :'F*' ]</a:t>
            </a:r>
          </a:p>
          <a:p>
            <a:pPr>
              <a:lnSpc>
                <a:spcPct val="95000"/>
              </a:lnSpc>
            </a:pPr>
            <a:r>
              <a:rPr lang="en-US" sz="1000" dirty="0">
                <a:solidFill>
                  <a:schemeClr val="tx1"/>
                </a:solidFill>
              </a:rPr>
              <a:t>[ table : 1, 5, :'F*' ]</a:t>
            </a:r>
          </a:p>
          <a:p>
            <a:pPr>
              <a:lnSpc>
                <a:spcPct val="95000"/>
              </a:lnSpc>
            </a:pPr>
            <a:r>
              <a:rPr lang="en-US" sz="1000" dirty="0">
                <a:solidFill>
                  <a:schemeClr val="tx1"/>
                </a:solidFill>
              </a:rPr>
              <a:t>[ table : -7, -10, :'F*']</a:t>
            </a:r>
          </a:p>
          <a:p>
            <a:pPr>
              <a:lnSpc>
                <a:spcPct val="95000"/>
              </a:lnSpc>
            </a:pPr>
            <a:endParaRPr lang="en-US" sz="1000" dirty="0">
              <a:solidFill>
                <a:schemeClr val="tx1"/>
              </a:solidFill>
            </a:endParaRPr>
          </a:p>
        </p:txBody>
      </p:sp>
      <p:sp>
        <p:nvSpPr>
          <p:cNvPr id="62" name="Rechteck 61">
            <a:extLst>
              <a:ext uri="{FF2B5EF4-FFF2-40B4-BE49-F238E27FC236}">
                <a16:creationId xmlns:a16="http://schemas.microsoft.com/office/drawing/2014/main" id="{4E1376F1-70AE-4BDA-8DD0-C0B423209ECA}"/>
              </a:ext>
            </a:extLst>
          </p:cNvPr>
          <p:cNvSpPr/>
          <p:nvPr/>
        </p:nvSpPr>
        <p:spPr>
          <a:xfrm>
            <a:off x="1188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18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80" name="Gerade Verbindung 94">
            <a:extLst>
              <a:ext uri="{FF2B5EF4-FFF2-40B4-BE49-F238E27FC236}">
                <a16:creationId xmlns:a16="http://schemas.microsoft.com/office/drawing/2014/main" id="{39FB2146-D7B7-4BD4-A25C-1E8FD146B309}"/>
              </a:ext>
            </a:extLst>
          </p:cNvPr>
          <p:cNvCxnSpPr/>
          <p:nvPr/>
        </p:nvCxnSpPr>
        <p:spPr>
          <a:xfrm>
            <a:off x="1548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Gerade Verbindung 94">
            <a:extLst>
              <a:ext uri="{FF2B5EF4-FFF2-40B4-BE49-F238E27FC236}">
                <a16:creationId xmlns:a16="http://schemas.microsoft.com/office/drawing/2014/main" id="{EC62C8AF-5279-41F7-A11B-AA47122A8410}"/>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a:extLst>
              <a:ext uri="{FF2B5EF4-FFF2-40B4-BE49-F238E27FC236}">
                <a16:creationId xmlns:a16="http://schemas.microsoft.com/office/drawing/2014/main" id="{F28B33CB-7433-433F-8392-539F66B6A2CE}"/>
              </a:ext>
            </a:extLst>
          </p:cNvPr>
          <p:cNvSpPr/>
          <p:nvPr/>
        </p:nvSpPr>
        <p:spPr>
          <a:xfrm>
            <a:off x="1548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F8546368-2B93-4BD2-BD6B-A017E60DD039}"/>
              </a:ext>
            </a:extLst>
          </p:cNvPr>
          <p:cNvSpPr/>
          <p:nvPr/>
        </p:nvSpPr>
        <p:spPr>
          <a:xfrm>
            <a:off x="1692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86" name="Rechteck 85">
            <a:extLst>
              <a:ext uri="{FF2B5EF4-FFF2-40B4-BE49-F238E27FC236}">
                <a16:creationId xmlns:a16="http://schemas.microsoft.com/office/drawing/2014/main" id="{70C47781-15EA-4CC4-BAE4-65B7212C5F8B}"/>
              </a:ext>
            </a:extLst>
          </p:cNvPr>
          <p:cNvSpPr/>
          <p:nvPr/>
        </p:nvSpPr>
        <p:spPr>
          <a:xfrm>
            <a:off x="154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3" name="Rechteck 2">
            <a:extLst>
              <a:ext uri="{FF2B5EF4-FFF2-40B4-BE49-F238E27FC236}">
                <a16:creationId xmlns:a16="http://schemas.microsoft.com/office/drawing/2014/main" id="{112287FA-BE91-4955-BCD2-9B37A45CBFA7}"/>
              </a:ext>
            </a:extLst>
          </p:cNvPr>
          <p:cNvSpPr/>
          <p:nvPr/>
        </p:nvSpPr>
        <p:spPr>
          <a:xfrm>
            <a:off x="2412000" y="2133000"/>
            <a:ext cx="288020" cy="721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56EC43EC-11A9-464B-B402-7BA278FD6044}"/>
              </a:ext>
            </a:extLst>
          </p:cNvPr>
          <p:cNvSpPr/>
          <p:nvPr/>
        </p:nvSpPr>
        <p:spPr>
          <a:xfrm>
            <a:off x="2340000"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7" name="Rechteck 6">
            <a:extLst>
              <a:ext uri="{FF2B5EF4-FFF2-40B4-BE49-F238E27FC236}">
                <a16:creationId xmlns:a16="http://schemas.microsoft.com/office/drawing/2014/main" id="{DCB851AE-4C53-4259-874B-F2F6E540896E}"/>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A2579EB-D53C-4B8A-916B-18CC0F82BDC9}"/>
              </a:ext>
            </a:extLst>
          </p:cNvPr>
          <p:cNvSpPr/>
          <p:nvPr/>
        </p:nvSpPr>
        <p:spPr>
          <a:xfrm>
            <a:off x="306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9" name="Rechteck 8">
            <a:extLst>
              <a:ext uri="{FF2B5EF4-FFF2-40B4-BE49-F238E27FC236}">
                <a16:creationId xmlns:a16="http://schemas.microsoft.com/office/drawing/2014/main" id="{B208DC48-BE61-4A77-8423-A8B037AD3083}"/>
              </a:ext>
            </a:extLst>
          </p:cNvPr>
          <p:cNvSpPr/>
          <p:nvPr/>
        </p:nvSpPr>
        <p:spPr>
          <a:xfrm>
            <a:off x="3420000" y="213301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 name="Rechteck 9">
            <a:extLst>
              <a:ext uri="{FF2B5EF4-FFF2-40B4-BE49-F238E27FC236}">
                <a16:creationId xmlns:a16="http://schemas.microsoft.com/office/drawing/2014/main" id="{EF69B028-0331-4228-90D2-886110C76338}"/>
              </a:ext>
            </a:extLst>
          </p:cNvPr>
          <p:cNvSpPr/>
          <p:nvPr/>
        </p:nvSpPr>
        <p:spPr>
          <a:xfrm>
            <a:off x="342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11" name="Rechteck 110">
            <a:extLst>
              <a:ext uri="{FF2B5EF4-FFF2-40B4-BE49-F238E27FC236}">
                <a16:creationId xmlns:a16="http://schemas.microsoft.com/office/drawing/2014/main" id="{43A55F76-ACEB-4AF2-B4BD-25E16E9D819C}"/>
              </a:ext>
            </a:extLst>
          </p:cNvPr>
          <p:cNvSpPr/>
          <p:nvPr/>
        </p:nvSpPr>
        <p:spPr>
          <a:xfrm>
            <a:off x="3060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12" name="Gerade Verbindung 94">
            <a:extLst>
              <a:ext uri="{FF2B5EF4-FFF2-40B4-BE49-F238E27FC236}">
                <a16:creationId xmlns:a16="http://schemas.microsoft.com/office/drawing/2014/main" id="{C68C69E3-6D41-454D-9124-B045D72D206B}"/>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Gerade Verbindung 94">
            <a:extLst>
              <a:ext uri="{FF2B5EF4-FFF2-40B4-BE49-F238E27FC236}">
                <a16:creationId xmlns:a16="http://schemas.microsoft.com/office/drawing/2014/main" id="{C40D6DE1-6E95-49BF-91FD-7D6E34A56CA7}"/>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Gerade Verbindung 94">
            <a:extLst>
              <a:ext uri="{FF2B5EF4-FFF2-40B4-BE49-F238E27FC236}">
                <a16:creationId xmlns:a16="http://schemas.microsoft.com/office/drawing/2014/main" id="{E7984C40-8AFB-4E5E-8E72-0FA85C1B7CB3}"/>
              </a:ext>
            </a:extLst>
          </p:cNvPr>
          <p:cNvCxnSpPr/>
          <p:nvPr/>
        </p:nvCxnSpPr>
        <p:spPr>
          <a:xfrm>
            <a:off x="3420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Gerade Verbindung 94">
            <a:extLst>
              <a:ext uri="{FF2B5EF4-FFF2-40B4-BE49-F238E27FC236}">
                <a16:creationId xmlns:a16="http://schemas.microsoft.com/office/drawing/2014/main" id="{42BD60C8-5889-4E20-B7E1-E83BE73EF2EC}"/>
              </a:ext>
            </a:extLst>
          </p:cNvPr>
          <p:cNvCxnSpPr/>
          <p:nvPr/>
        </p:nvCxnSpPr>
        <p:spPr>
          <a:xfrm>
            <a:off x="3708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16" name="Rechteck 115">
            <a:extLst>
              <a:ext uri="{FF2B5EF4-FFF2-40B4-BE49-F238E27FC236}">
                <a16:creationId xmlns:a16="http://schemas.microsoft.com/office/drawing/2014/main" id="{574BC955-BCD9-4A6D-83A5-5A206C2D4929}"/>
              </a:ext>
            </a:extLst>
          </p:cNvPr>
          <p:cNvSpPr/>
          <p:nvPr/>
        </p:nvSpPr>
        <p:spPr>
          <a:xfrm>
            <a:off x="3564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17" name="Rechteck 116">
            <a:extLst>
              <a:ext uri="{FF2B5EF4-FFF2-40B4-BE49-F238E27FC236}">
                <a16:creationId xmlns:a16="http://schemas.microsoft.com/office/drawing/2014/main" id="{D688F9F5-8F98-446F-8998-568906F29D7A}"/>
              </a:ext>
            </a:extLst>
          </p:cNvPr>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F*', Golden Gate,</a:t>
            </a:r>
          </a:p>
          <a:p>
            <a:pPr>
              <a:lnSpc>
                <a:spcPct val="95000"/>
              </a:lnSpc>
            </a:pPr>
            <a:r>
              <a:rPr lang="en-US" sz="1000" dirty="0">
                <a:solidFill>
                  <a:schemeClr val="tx1"/>
                </a:solidFill>
              </a:rPr>
              <a:t> { City, Famous cultural place } ]</a:t>
            </a:r>
          </a:p>
        </p:txBody>
      </p:sp>
      <p:sp>
        <p:nvSpPr>
          <p:cNvPr id="119" name="Rechteck 118">
            <a:extLst>
              <a:ext uri="{FF2B5EF4-FFF2-40B4-BE49-F238E27FC236}">
                <a16:creationId xmlns:a16="http://schemas.microsoft.com/office/drawing/2014/main" id="{E50584F2-5FB2-4CA6-9626-3BDB9AB6B80E}"/>
              </a:ext>
            </a:extLst>
          </p:cNvPr>
          <p:cNvSpPr/>
          <p:nvPr/>
        </p:nvSpPr>
        <p:spPr>
          <a:xfrm>
            <a:off x="4140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0" name="Gerade Verbindung 94">
            <a:extLst>
              <a:ext uri="{FF2B5EF4-FFF2-40B4-BE49-F238E27FC236}">
                <a16:creationId xmlns:a16="http://schemas.microsoft.com/office/drawing/2014/main" id="{B5E4C638-FC63-4E5C-B3CC-9A4B4EF418A8}"/>
              </a:ext>
            </a:extLst>
          </p:cNvPr>
          <p:cNvCxnSpPr/>
          <p:nvPr/>
        </p:nvCxnSpPr>
        <p:spPr>
          <a:xfrm>
            <a:off x="4140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Gerade Verbindung 94">
            <a:extLst>
              <a:ext uri="{FF2B5EF4-FFF2-40B4-BE49-F238E27FC236}">
                <a16:creationId xmlns:a16="http://schemas.microsoft.com/office/drawing/2014/main" id="{6CB3CCF6-7FAC-43BA-9EC5-DCBFCF8112B6}"/>
              </a:ext>
            </a:extLst>
          </p:cNvPr>
          <p:cNvCxnSpPr/>
          <p:nvPr/>
        </p:nvCxnSpPr>
        <p:spPr>
          <a:xfrm>
            <a:off x="4572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Gerade Verbindung 94">
            <a:extLst>
              <a:ext uri="{FF2B5EF4-FFF2-40B4-BE49-F238E27FC236}">
                <a16:creationId xmlns:a16="http://schemas.microsoft.com/office/drawing/2014/main" id="{C7CECED2-A05C-46F1-9278-EFABC9C82A4E}"/>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7" name="Rechteck 136">
            <a:extLst>
              <a:ext uri="{FF2B5EF4-FFF2-40B4-BE49-F238E27FC236}">
                <a16:creationId xmlns:a16="http://schemas.microsoft.com/office/drawing/2014/main" id="{35B7CAD8-5D02-413F-A403-EC862ED13078}"/>
              </a:ext>
            </a:extLst>
          </p:cNvPr>
          <p:cNvSpPr/>
          <p:nvPr/>
        </p:nvSpPr>
        <p:spPr>
          <a:xfrm>
            <a:off x="43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38" name="Rechteck 137">
            <a:extLst>
              <a:ext uri="{FF2B5EF4-FFF2-40B4-BE49-F238E27FC236}">
                <a16:creationId xmlns:a16="http://schemas.microsoft.com/office/drawing/2014/main" id="{475BC683-24E2-4035-AE56-5713AE538BA2}"/>
              </a:ext>
            </a:extLst>
          </p:cNvPr>
          <p:cNvSpPr/>
          <p:nvPr/>
        </p:nvSpPr>
        <p:spPr>
          <a:xfrm>
            <a:off x="40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39" name="Rechteck 138">
            <a:extLst>
              <a:ext uri="{FF2B5EF4-FFF2-40B4-BE49-F238E27FC236}">
                <a16:creationId xmlns:a16="http://schemas.microsoft.com/office/drawing/2014/main" id="{7BA8A35D-87C2-4959-9D29-0DD821D54923}"/>
              </a:ext>
            </a:extLst>
          </p:cNvPr>
          <p:cNvSpPr/>
          <p:nvPr/>
        </p:nvSpPr>
        <p:spPr>
          <a:xfrm>
            <a:off x="4284000" y="2133000"/>
            <a:ext cx="288222" cy="7216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06CF89F1-9586-47FB-BA32-BD35F4EB93AC}"/>
              </a:ext>
            </a:extLst>
          </p:cNvPr>
          <p:cNvSpPr/>
          <p:nvPr/>
        </p:nvSpPr>
        <p:spPr>
          <a:xfrm>
            <a:off x="4212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41" name="Rechteck 140">
            <a:extLst>
              <a:ext uri="{FF2B5EF4-FFF2-40B4-BE49-F238E27FC236}">
                <a16:creationId xmlns:a16="http://schemas.microsoft.com/office/drawing/2014/main" id="{463D1EEF-3701-4B14-8F28-5741E9D16F16}"/>
              </a:ext>
            </a:extLst>
          </p:cNvPr>
          <p:cNvSpPr/>
          <p:nvPr/>
        </p:nvSpPr>
        <p:spPr>
          <a:xfrm>
            <a:off x="4932202"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a:extLst>
              <a:ext uri="{FF2B5EF4-FFF2-40B4-BE49-F238E27FC236}">
                <a16:creationId xmlns:a16="http://schemas.microsoft.com/office/drawing/2014/main" id="{CA16B9CC-C17C-4103-A446-57F107EF3D7B}"/>
              </a:ext>
            </a:extLst>
          </p:cNvPr>
          <p:cNvSpPr/>
          <p:nvPr/>
        </p:nvSpPr>
        <p:spPr>
          <a:xfrm>
            <a:off x="493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43" name="Rechteck 142">
            <a:extLst>
              <a:ext uri="{FF2B5EF4-FFF2-40B4-BE49-F238E27FC236}">
                <a16:creationId xmlns:a16="http://schemas.microsoft.com/office/drawing/2014/main" id="{462DEB31-CF57-4F7F-9637-88313195E2A2}"/>
              </a:ext>
            </a:extLst>
          </p:cNvPr>
          <p:cNvSpPr/>
          <p:nvPr/>
        </p:nvSpPr>
        <p:spPr>
          <a:xfrm>
            <a:off x="5292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C4EF173F-9025-4711-9304-9EB87084EEA0}"/>
              </a:ext>
            </a:extLst>
          </p:cNvPr>
          <p:cNvSpPr/>
          <p:nvPr/>
        </p:nvSpPr>
        <p:spPr>
          <a:xfrm>
            <a:off x="529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45" name="Rechteck 144">
            <a:extLst>
              <a:ext uri="{FF2B5EF4-FFF2-40B4-BE49-F238E27FC236}">
                <a16:creationId xmlns:a16="http://schemas.microsoft.com/office/drawing/2014/main" id="{42DB5288-AC18-44F3-8E97-90B7C8297319}"/>
              </a:ext>
            </a:extLst>
          </p:cNvPr>
          <p:cNvSpPr/>
          <p:nvPr/>
        </p:nvSpPr>
        <p:spPr>
          <a:xfrm>
            <a:off x="4932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46" name="Gerade Verbindung 94">
            <a:extLst>
              <a:ext uri="{FF2B5EF4-FFF2-40B4-BE49-F238E27FC236}">
                <a16:creationId xmlns:a16="http://schemas.microsoft.com/office/drawing/2014/main" id="{F369FB22-BF6A-4419-B9C6-6ADEBA624601}"/>
              </a:ext>
            </a:extLst>
          </p:cNvPr>
          <p:cNvCxnSpPr/>
          <p:nvPr/>
        </p:nvCxnSpPr>
        <p:spPr>
          <a:xfrm>
            <a:off x="4932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7" name="Gerade Verbindung 94">
            <a:extLst>
              <a:ext uri="{FF2B5EF4-FFF2-40B4-BE49-F238E27FC236}">
                <a16:creationId xmlns:a16="http://schemas.microsoft.com/office/drawing/2014/main" id="{DA45C47E-624B-45C4-96F7-91F43AD0D5CA}"/>
              </a:ext>
            </a:extLst>
          </p:cNvPr>
          <p:cNvCxnSpPr/>
          <p:nvPr/>
        </p:nvCxnSpPr>
        <p:spPr>
          <a:xfrm>
            <a:off x="5220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Gerade Verbindung 94">
            <a:extLst>
              <a:ext uri="{FF2B5EF4-FFF2-40B4-BE49-F238E27FC236}">
                <a16:creationId xmlns:a16="http://schemas.microsoft.com/office/drawing/2014/main" id="{C80C313B-CF15-4817-AEA8-E5DE1889F035}"/>
              </a:ext>
            </a:extLst>
          </p:cNvPr>
          <p:cNvCxnSpPr/>
          <p:nvPr/>
        </p:nvCxnSpPr>
        <p:spPr>
          <a:xfrm>
            <a:off x="5292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Gerade Verbindung 94">
            <a:extLst>
              <a:ext uri="{FF2B5EF4-FFF2-40B4-BE49-F238E27FC236}">
                <a16:creationId xmlns:a16="http://schemas.microsoft.com/office/drawing/2014/main" id="{634E4EE6-42ED-402F-9C0D-1DBC1305B4B1}"/>
              </a:ext>
            </a:extLst>
          </p:cNvPr>
          <p:cNvCxnSpPr/>
          <p:nvPr/>
        </p:nvCxnSpPr>
        <p:spPr>
          <a:xfrm>
            <a:off x="5580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0" name="Rechteck 149">
            <a:extLst>
              <a:ext uri="{FF2B5EF4-FFF2-40B4-BE49-F238E27FC236}">
                <a16:creationId xmlns:a16="http://schemas.microsoft.com/office/drawing/2014/main" id="{2A26ADCD-344D-4F0A-BFB7-F0D6E973884B}"/>
              </a:ext>
            </a:extLst>
          </p:cNvPr>
          <p:cNvSpPr/>
          <p:nvPr/>
        </p:nvSpPr>
        <p:spPr>
          <a:xfrm>
            <a:off x="5436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52" name="Rechteck 151">
            <a:extLst>
              <a:ext uri="{FF2B5EF4-FFF2-40B4-BE49-F238E27FC236}">
                <a16:creationId xmlns:a16="http://schemas.microsoft.com/office/drawing/2014/main" id="{127EBF7E-1110-4E93-9EA1-278EBDE08E4E}"/>
              </a:ext>
            </a:extLst>
          </p:cNvPr>
          <p:cNvSpPr/>
          <p:nvPr/>
        </p:nvSpPr>
        <p:spPr>
          <a:xfrm>
            <a:off x="6012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53" name="Gerade Verbindung 94">
            <a:extLst>
              <a:ext uri="{FF2B5EF4-FFF2-40B4-BE49-F238E27FC236}">
                <a16:creationId xmlns:a16="http://schemas.microsoft.com/office/drawing/2014/main" id="{DD9C2043-2B64-46CA-8EB9-796D35BD49BE}"/>
              </a:ext>
            </a:extLst>
          </p:cNvPr>
          <p:cNvCxnSpPr/>
          <p:nvPr/>
        </p:nvCxnSpPr>
        <p:spPr>
          <a:xfrm>
            <a:off x="6012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Gerade Verbindung 94">
            <a:extLst>
              <a:ext uri="{FF2B5EF4-FFF2-40B4-BE49-F238E27FC236}">
                <a16:creationId xmlns:a16="http://schemas.microsoft.com/office/drawing/2014/main" id="{0EEC4613-9FEA-41B6-AEF1-046526807A16}"/>
              </a:ext>
            </a:extLst>
          </p:cNvPr>
          <p:cNvCxnSpPr/>
          <p:nvPr/>
        </p:nvCxnSpPr>
        <p:spPr>
          <a:xfrm>
            <a:off x="6444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5" name="Gerade Verbindung 94">
            <a:extLst>
              <a:ext uri="{FF2B5EF4-FFF2-40B4-BE49-F238E27FC236}">
                <a16:creationId xmlns:a16="http://schemas.microsoft.com/office/drawing/2014/main" id="{5483A056-C668-4D25-A15B-EFCCF81B22A7}"/>
              </a:ext>
            </a:extLst>
          </p:cNvPr>
          <p:cNvCxnSpPr/>
          <p:nvPr/>
        </p:nvCxnSpPr>
        <p:spPr>
          <a:xfrm>
            <a:off x="61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6" name="Rechteck 155">
            <a:extLst>
              <a:ext uri="{FF2B5EF4-FFF2-40B4-BE49-F238E27FC236}">
                <a16:creationId xmlns:a16="http://schemas.microsoft.com/office/drawing/2014/main" id="{B6AE057A-B82D-4CB9-BDA8-F1B36E8FEECE}"/>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57" name="Rechteck 156">
            <a:extLst>
              <a:ext uri="{FF2B5EF4-FFF2-40B4-BE49-F238E27FC236}">
                <a16:creationId xmlns:a16="http://schemas.microsoft.com/office/drawing/2014/main" id="{8D8B1484-C4C5-463B-BCEF-F53C494D4792}"/>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58" name="Rechteck 157">
            <a:extLst>
              <a:ext uri="{FF2B5EF4-FFF2-40B4-BE49-F238E27FC236}">
                <a16:creationId xmlns:a16="http://schemas.microsoft.com/office/drawing/2014/main" id="{963BC756-FA02-49BE-9044-C9657D7F1DEE}"/>
              </a:ext>
            </a:extLst>
          </p:cNvPr>
          <p:cNvSpPr/>
          <p:nvPr/>
        </p:nvSpPr>
        <p:spPr>
          <a:xfrm>
            <a:off x="6156000" y="2133150"/>
            <a:ext cx="288222" cy="718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a:extLst>
              <a:ext uri="{FF2B5EF4-FFF2-40B4-BE49-F238E27FC236}">
                <a16:creationId xmlns:a16="http://schemas.microsoft.com/office/drawing/2014/main" id="{7AB49888-BFA9-488B-8849-912063B0DB50}"/>
              </a:ext>
            </a:extLst>
          </p:cNvPr>
          <p:cNvSpPr/>
          <p:nvPr/>
        </p:nvSpPr>
        <p:spPr>
          <a:xfrm>
            <a:off x="6084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63" name="Rechteck 162">
            <a:extLst>
              <a:ext uri="{FF2B5EF4-FFF2-40B4-BE49-F238E27FC236}">
                <a16:creationId xmlns:a16="http://schemas.microsoft.com/office/drawing/2014/main" id="{58D7842E-D3DA-4DE5-B823-67737A9B7AEF}"/>
              </a:ext>
            </a:extLst>
          </p:cNvPr>
          <p:cNvSpPr/>
          <p:nvPr/>
        </p:nvSpPr>
        <p:spPr>
          <a:xfrm>
            <a:off x="6804202" y="213300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2EDBD23-08ED-4AEE-BB19-4F5D525F3BE5}"/>
              </a:ext>
            </a:extLst>
          </p:cNvPr>
          <p:cNvSpPr/>
          <p:nvPr/>
        </p:nvSpPr>
        <p:spPr>
          <a:xfrm>
            <a:off x="680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65" name="Rechteck 164">
            <a:extLst>
              <a:ext uri="{FF2B5EF4-FFF2-40B4-BE49-F238E27FC236}">
                <a16:creationId xmlns:a16="http://schemas.microsoft.com/office/drawing/2014/main" id="{C98E9124-0B87-4A0A-B788-ED17CC4FF45A}"/>
              </a:ext>
            </a:extLst>
          </p:cNvPr>
          <p:cNvSpPr/>
          <p:nvPr/>
        </p:nvSpPr>
        <p:spPr>
          <a:xfrm>
            <a:off x="7164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8016856C-1314-4DE7-B3EB-66A7EE52677F}"/>
              </a:ext>
            </a:extLst>
          </p:cNvPr>
          <p:cNvSpPr/>
          <p:nvPr/>
        </p:nvSpPr>
        <p:spPr>
          <a:xfrm>
            <a:off x="716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67" name="Rechteck 166">
            <a:extLst>
              <a:ext uri="{FF2B5EF4-FFF2-40B4-BE49-F238E27FC236}">
                <a16:creationId xmlns:a16="http://schemas.microsoft.com/office/drawing/2014/main" id="{B52AE1DE-E2D6-40AE-A21A-981224553F24}"/>
              </a:ext>
            </a:extLst>
          </p:cNvPr>
          <p:cNvSpPr/>
          <p:nvPr/>
        </p:nvSpPr>
        <p:spPr>
          <a:xfrm>
            <a:off x="6804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68" name="Gerade Verbindung 94">
            <a:extLst>
              <a:ext uri="{FF2B5EF4-FFF2-40B4-BE49-F238E27FC236}">
                <a16:creationId xmlns:a16="http://schemas.microsoft.com/office/drawing/2014/main" id="{6F0A7244-05A3-4418-B5D4-C17B458B42EE}"/>
              </a:ext>
            </a:extLst>
          </p:cNvPr>
          <p:cNvCxnSpPr/>
          <p:nvPr/>
        </p:nvCxnSpPr>
        <p:spPr>
          <a:xfrm>
            <a:off x="6804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9" name="Gerade Verbindung 94">
            <a:extLst>
              <a:ext uri="{FF2B5EF4-FFF2-40B4-BE49-F238E27FC236}">
                <a16:creationId xmlns:a16="http://schemas.microsoft.com/office/drawing/2014/main" id="{7C95766C-761D-4152-9F76-4ED4D298CD09}"/>
              </a:ext>
            </a:extLst>
          </p:cNvPr>
          <p:cNvCxnSpPr/>
          <p:nvPr/>
        </p:nvCxnSpPr>
        <p:spPr>
          <a:xfrm>
            <a:off x="7092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0" name="Gerade Verbindung 94">
            <a:extLst>
              <a:ext uri="{FF2B5EF4-FFF2-40B4-BE49-F238E27FC236}">
                <a16:creationId xmlns:a16="http://schemas.microsoft.com/office/drawing/2014/main" id="{EC502272-471F-4885-B97E-897006B74C87}"/>
              </a:ext>
            </a:extLst>
          </p:cNvPr>
          <p:cNvCxnSpPr/>
          <p:nvPr/>
        </p:nvCxnSpPr>
        <p:spPr>
          <a:xfrm>
            <a:off x="7164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1" name="Gerade Verbindung 94">
            <a:extLst>
              <a:ext uri="{FF2B5EF4-FFF2-40B4-BE49-F238E27FC236}">
                <a16:creationId xmlns:a16="http://schemas.microsoft.com/office/drawing/2014/main" id="{A12126F6-6192-425D-888D-CF0AB31CEA69}"/>
              </a:ext>
            </a:extLst>
          </p:cNvPr>
          <p:cNvCxnSpPr/>
          <p:nvPr/>
        </p:nvCxnSpPr>
        <p:spPr>
          <a:xfrm>
            <a:off x="7452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72" name="Rechteck 171">
            <a:extLst>
              <a:ext uri="{FF2B5EF4-FFF2-40B4-BE49-F238E27FC236}">
                <a16:creationId xmlns:a16="http://schemas.microsoft.com/office/drawing/2014/main" id="{6EFDBEF4-A75B-498A-AFFA-40129418022E}"/>
              </a:ext>
            </a:extLst>
          </p:cNvPr>
          <p:cNvSpPr/>
          <p:nvPr/>
        </p:nvSpPr>
        <p:spPr>
          <a:xfrm>
            <a:off x="7308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cxnSp>
        <p:nvCxnSpPr>
          <p:cNvPr id="173" name="Gerade Verbindung mit Pfeil 172">
            <a:extLst>
              <a:ext uri="{FF2B5EF4-FFF2-40B4-BE49-F238E27FC236}">
                <a16:creationId xmlns:a16="http://schemas.microsoft.com/office/drawing/2014/main" id="{4C3D7769-1600-44E2-9815-3EFB59078009}"/>
              </a:ext>
            </a:extLst>
          </p:cNvPr>
          <p:cNvCxnSpPr>
            <a:cxnSpLocks/>
          </p:cNvCxnSpPr>
          <p:nvPr/>
        </p:nvCxnSpPr>
        <p:spPr>
          <a:xfrm>
            <a:off x="6372000" y="2061000"/>
            <a:ext cx="57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4846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Range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 and</a:t>
            </a:r>
          </a:p>
          <a:p>
            <a:pPr>
              <a:lnSpc>
                <a:spcPct val="90000"/>
              </a:lnSpc>
            </a:pPr>
            <a:r>
              <a:rPr lang="en-US" sz="1000" dirty="0">
                <a:solidFill>
                  <a:schemeClr val="tx1"/>
                </a:solidFill>
              </a:rPr>
              <a:t>From .. ranges</a:t>
            </a:r>
          </a:p>
        </p:txBody>
      </p:sp>
      <p:sp>
        <p:nvSpPr>
          <p:cNvPr id="252" name="Rechteck 251"/>
          <p:cNvSpPr/>
          <p:nvPr/>
        </p:nvSpPr>
        <p:spPr>
          <a:xfrm>
            <a:off x="435600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rows accessed</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1..-4,   5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4, 5 ]</a:t>
            </a:r>
          </a:p>
          <a:p>
            <a:pPr>
              <a:lnSpc>
                <a:spcPct val="95000"/>
              </a:lnSpc>
            </a:pPr>
            <a:r>
              <a:rPr lang="en-US" sz="1000" dirty="0">
                <a:solidFill>
                  <a:schemeClr val="tx1"/>
                </a:solidFill>
              </a:rPr>
              <a:t>[ table: 1.., Vienna]</a:t>
            </a:r>
          </a:p>
          <a:p>
            <a:pPr>
              <a:lnSpc>
                <a:spcPct val="95000"/>
              </a:lnSpc>
            </a:pPr>
            <a:r>
              <a:rPr lang="en-US" sz="1000" dirty="0">
                <a:solidFill>
                  <a:schemeClr val="tx1"/>
                </a:solidFill>
              </a:rPr>
              <a:t>[ table: 1.., 10]</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 searching</a:t>
            </a:r>
          </a:p>
          <a:p>
            <a:pPr>
              <a:lnSpc>
                <a:spcPct val="90000"/>
              </a:lnSpc>
            </a:pPr>
            <a:r>
              <a:rPr lang="en-US" sz="1000" dirty="0">
                <a:solidFill>
                  <a:schemeClr val="tx1"/>
                </a:solidFill>
              </a:rPr>
              <a:t>for matching data</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San Francisco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a:t>
            </a:r>
            <a:br>
              <a:rPr lang="en-US" sz="1000" dirty="0">
                <a:solidFill>
                  <a:schemeClr val="tx1"/>
                </a:solidFill>
              </a:rPr>
            </a:br>
            <a:r>
              <a:rPr lang="en-US" sz="1000" dirty="0">
                <a:solidFill>
                  <a:schemeClr val="tx1"/>
                </a:solidFill>
              </a:rPr>
              <a:t>  San Francisco  ]</a:t>
            </a:r>
            <a:br>
              <a:rPr lang="en-US" sz="1000" dirty="0">
                <a:solidFill>
                  <a:schemeClr val="tx1"/>
                </a:solidFill>
              </a:rPr>
            </a:b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3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556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372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5 ]</a:t>
            </a:r>
          </a:p>
          <a:p>
            <a:pPr>
              <a:lnSpc>
                <a:spcPct val="95000"/>
              </a:lnSpc>
            </a:pPr>
            <a:r>
              <a:rPr lang="en-US" sz="1000" dirty="0">
                <a:solidFill>
                  <a:schemeClr val="tx1"/>
                </a:solidFill>
              </a:rPr>
              <a:t>[ table, City, San Francisco, .. ]</a:t>
            </a:r>
          </a:p>
          <a:p>
            <a:pPr>
              <a:lnSpc>
                <a:spcPct val="95000"/>
              </a:lnSpc>
            </a:pPr>
            <a:r>
              <a:rPr lang="en-US" sz="1000" dirty="0">
                <a:solidFill>
                  <a:schemeClr val="tx1"/>
                </a:solidFill>
              </a:rPr>
              <a:t>(till last column with header name)</a:t>
            </a:r>
          </a:p>
          <a:p>
            <a:pPr>
              <a:lnSpc>
                <a:spcPct val="95000"/>
              </a:lnSpc>
            </a:pPr>
            <a:r>
              <a:rPr lang="en-US" sz="1000" dirty="0">
                <a:solidFill>
                  <a:schemeClr val="tx1"/>
                </a:solidFill>
              </a:rPr>
              <a:t>[ table, City, 10, .. ] (till end of row)</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6" name="Rechteck 125">
            <a:extLst>
              <a:ext uri="{FF2B5EF4-FFF2-40B4-BE49-F238E27FC236}">
                <a16:creationId xmlns:a16="http://schemas.microsoft.com/office/drawing/2014/main" id="{4FF78091-EB2D-4CFA-B9BB-C9ACF0FA92CB}"/>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9" name="Rechteck 128">
            <a:extLst>
              <a:ext uri="{FF2B5EF4-FFF2-40B4-BE49-F238E27FC236}">
                <a16:creationId xmlns:a16="http://schemas.microsoft.com/office/drawing/2014/main" id="{BAF218A9-6B80-4FE2-B554-07876A060B78}"/>
              </a:ext>
            </a:extLst>
          </p:cNvPr>
          <p:cNvSpPr/>
          <p:nvPr/>
        </p:nvSpPr>
        <p:spPr>
          <a:xfrm>
            <a:off x="50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49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0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132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0" name="Rechteck 79">
            <a:extLst>
              <a:ext uri="{FF2B5EF4-FFF2-40B4-BE49-F238E27FC236}">
                <a16:creationId xmlns:a16="http://schemas.microsoft.com/office/drawing/2014/main" id="{3325940D-9401-45D7-AEAB-048D60BDB054}"/>
              </a:ext>
            </a:extLst>
          </p:cNvPr>
          <p:cNvSpPr/>
          <p:nvPr/>
        </p:nvSpPr>
        <p:spPr>
          <a:xfrm>
            <a:off x="828000" y="2133000"/>
            <a:ext cx="360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AB2F15FE-2410-4D3D-B3D1-17DF69551E93}"/>
              </a:ext>
            </a:extLst>
          </p:cNvPr>
          <p:cNvSpPr/>
          <p:nvPr/>
        </p:nvSpPr>
        <p:spPr>
          <a:xfrm>
            <a:off x="2700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73394BED-EF90-422E-97F7-7478D1B544EC}"/>
              </a:ext>
            </a:extLst>
          </p:cNvPr>
          <p:cNvSpPr/>
          <p:nvPr/>
        </p:nvSpPr>
        <p:spPr>
          <a:xfrm>
            <a:off x="4284000" y="213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FFD5F837-EE75-486A-82CF-93AAAD6A6CE9}"/>
              </a:ext>
            </a:extLst>
          </p:cNvPr>
          <p:cNvSpPr/>
          <p:nvPr/>
        </p:nvSpPr>
        <p:spPr>
          <a:xfrm>
            <a:off x="4284000" y="220506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7" name="Rechteck 86">
            <a:extLst>
              <a:ext uri="{FF2B5EF4-FFF2-40B4-BE49-F238E27FC236}">
                <a16:creationId xmlns:a16="http://schemas.microsoft.com/office/drawing/2014/main" id="{2D54C469-8062-48CD-AB24-CB185F073965}"/>
              </a:ext>
            </a:extLst>
          </p:cNvPr>
          <p:cNvSpPr/>
          <p:nvPr/>
        </p:nvSpPr>
        <p:spPr>
          <a:xfrm>
            <a:off x="4932000" y="213306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DB2A9655-CB82-470E-B78F-0C931296320D}"/>
              </a:ext>
            </a:extLst>
          </p:cNvPr>
          <p:cNvSpPr/>
          <p:nvPr/>
        </p:nvSpPr>
        <p:spPr>
          <a:xfrm>
            <a:off x="4572000" y="2133060"/>
            <a:ext cx="360000" cy="7194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5D1E09A6-5763-40D6-863B-33F6BC9734A1}"/>
              </a:ext>
            </a:extLst>
          </p:cNvPr>
          <p:cNvSpPr/>
          <p:nvPr/>
        </p:nvSpPr>
        <p:spPr>
          <a:xfrm>
            <a:off x="4140000" y="2133000"/>
            <a:ext cx="14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148EA218-EFA2-4E2A-A058-CBA7B0AB4881}"/>
              </a:ext>
            </a:extLst>
          </p:cNvPr>
          <p:cNvSpPr/>
          <p:nvPr/>
        </p:nvSpPr>
        <p:spPr>
          <a:xfrm>
            <a:off x="4284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99F3CC76-9BFD-447A-99AA-C1D3983D14D8}"/>
              </a:ext>
            </a:extLst>
          </p:cNvPr>
          <p:cNvSpPr/>
          <p:nvPr/>
        </p:nvSpPr>
        <p:spPr>
          <a:xfrm>
            <a:off x="3995980" y="2565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0/-5</a:t>
            </a:r>
          </a:p>
        </p:txBody>
      </p:sp>
      <p:sp>
        <p:nvSpPr>
          <p:cNvPr id="110" name="Rechteck 109">
            <a:extLst>
              <a:ext uri="{FF2B5EF4-FFF2-40B4-BE49-F238E27FC236}">
                <a16:creationId xmlns:a16="http://schemas.microsoft.com/office/drawing/2014/main" id="{3E3A3D56-D94F-4F12-BEC8-DE17626E6B30}"/>
              </a:ext>
            </a:extLst>
          </p:cNvPr>
          <p:cNvSpPr/>
          <p:nvPr/>
        </p:nvSpPr>
        <p:spPr>
          <a:xfrm>
            <a:off x="4932000" y="2565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E8F40E2D-D559-4D4D-BC96-09F26611318D}"/>
              </a:ext>
            </a:extLst>
          </p:cNvPr>
          <p:cNvSpPr/>
          <p:nvPr/>
        </p:nvSpPr>
        <p:spPr>
          <a:xfrm>
            <a:off x="4572000" y="2565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A286CFD-FBE2-4814-872B-9967D4AF1C75}"/>
              </a:ext>
            </a:extLst>
          </p:cNvPr>
          <p:cNvSpPr/>
          <p:nvPr/>
        </p:nvSpPr>
        <p:spPr>
          <a:xfrm>
            <a:off x="5220000" y="2565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5DAA6EF0-4ED0-4A8C-8F54-3C9A6B7399E0}"/>
              </a:ext>
            </a:extLst>
          </p:cNvPr>
          <p:cNvSpPr/>
          <p:nvPr/>
        </p:nvSpPr>
        <p:spPr>
          <a:xfrm>
            <a:off x="6156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72A6ED87-43BC-4274-B9D2-D549AA339045}"/>
              </a:ext>
            </a:extLst>
          </p:cNvPr>
          <p:cNvSpPr/>
          <p:nvPr/>
        </p:nvSpPr>
        <p:spPr>
          <a:xfrm>
            <a:off x="6804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E268974A-6551-4DB3-92B6-2CC5081CBBEA}"/>
              </a:ext>
            </a:extLst>
          </p:cNvPr>
          <p:cNvSpPr/>
          <p:nvPr/>
        </p:nvSpPr>
        <p:spPr>
          <a:xfrm>
            <a:off x="6444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44A5EAC0-BC5E-4E4D-A43D-3A277F4DABEC}"/>
              </a:ext>
            </a:extLst>
          </p:cNvPr>
          <p:cNvSpPr/>
          <p:nvPr/>
        </p:nvSpPr>
        <p:spPr>
          <a:xfrm>
            <a:off x="6012000" y="2132940"/>
            <a:ext cx="14400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a:extLst>
              <a:ext uri="{FF2B5EF4-FFF2-40B4-BE49-F238E27FC236}">
                <a16:creationId xmlns:a16="http://schemas.microsoft.com/office/drawing/2014/main" id="{8778CB1A-0915-40DD-B2F0-61660D61BE27}"/>
              </a:ext>
            </a:extLst>
          </p:cNvPr>
          <p:cNvSpPr/>
          <p:nvPr/>
        </p:nvSpPr>
        <p:spPr>
          <a:xfrm>
            <a:off x="630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19" name="Rechteck 118">
            <a:extLst>
              <a:ext uri="{FF2B5EF4-FFF2-40B4-BE49-F238E27FC236}">
                <a16:creationId xmlns:a16="http://schemas.microsoft.com/office/drawing/2014/main" id="{7855B94E-C270-4D9B-B0C1-C037821CBC47}"/>
              </a:ext>
            </a:extLst>
          </p:cNvPr>
          <p:cNvSpPr/>
          <p:nvPr/>
        </p:nvSpPr>
        <p:spPr>
          <a:xfrm>
            <a:off x="7092000" y="2133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ABD2773-2A15-404B-A4F2-4049740969BA}"/>
              </a:ext>
            </a:extLst>
          </p:cNvPr>
          <p:cNvSpPr/>
          <p:nvPr/>
        </p:nvSpPr>
        <p:spPr>
          <a:xfrm>
            <a:off x="6156000" y="2564930"/>
            <a:ext cx="28802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4C5E80EE-7EF0-49D2-8F05-DD653C63FF18}"/>
              </a:ext>
            </a:extLst>
          </p:cNvPr>
          <p:cNvSpPr/>
          <p:nvPr/>
        </p:nvSpPr>
        <p:spPr>
          <a:xfrm>
            <a:off x="6804000" y="2564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6B0D2439-89E5-4662-B247-6AA88B83720F}"/>
              </a:ext>
            </a:extLst>
          </p:cNvPr>
          <p:cNvSpPr/>
          <p:nvPr/>
        </p:nvSpPr>
        <p:spPr>
          <a:xfrm>
            <a:off x="6444000" y="256499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45649C52-8ABE-4756-B1BE-DD32B87DB9ED}"/>
              </a:ext>
            </a:extLst>
          </p:cNvPr>
          <p:cNvSpPr/>
          <p:nvPr/>
        </p:nvSpPr>
        <p:spPr>
          <a:xfrm>
            <a:off x="6012000" y="256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2FB08956-B7CC-4A72-B32C-935D439F403F}"/>
              </a:ext>
            </a:extLst>
          </p:cNvPr>
          <p:cNvSpPr/>
          <p:nvPr/>
        </p:nvSpPr>
        <p:spPr>
          <a:xfrm>
            <a:off x="7092000" y="256499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F6BFF6A7-E3FB-4292-92F5-CC8F6D180AD1}"/>
              </a:ext>
            </a:extLst>
          </p:cNvPr>
          <p:cNvSpPr/>
          <p:nvPr/>
        </p:nvSpPr>
        <p:spPr>
          <a:xfrm>
            <a:off x="7596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9040F880-9EA1-4D24-AC32-9EFEC84F3FCB}"/>
              </a:ext>
            </a:extLst>
          </p:cNvPr>
          <p:cNvSpPr/>
          <p:nvPr/>
        </p:nvSpPr>
        <p:spPr>
          <a:xfrm>
            <a:off x="7596000" y="2133000"/>
            <a:ext cx="288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36816958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4,8} ]</a:t>
            </a:r>
          </a:p>
          <a:p>
            <a:pPr>
              <a:lnSpc>
                <a:spcPct val="95000"/>
              </a:lnSpc>
            </a:pPr>
            <a:r>
              <a:rPr lang="en-US" sz="1000" dirty="0">
                <a:solidFill>
                  <a:schemeClr val="tx1"/>
                </a:solidFill>
              </a:rPr>
              <a:t>[ table: -7, {-3,-11,-7}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table: City, </a:t>
            </a:r>
          </a:p>
          <a:p>
            <a:pPr>
              <a:lnSpc>
                <a:spcPct val="95000"/>
              </a:lnSpc>
            </a:pPr>
            <a:r>
              <a:rPr lang="en-US" sz="1000" dirty="0">
                <a:solidFill>
                  <a:schemeClr val="tx1"/>
                </a:solidFill>
              </a:rPr>
              <a:t>  { Zürich, Boston, Venice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 { 12,4,8}, -1 ]</a:t>
            </a:r>
          </a:p>
          <a:p>
            <a:pPr>
              <a:lnSpc>
                <a:spcPct val="95000"/>
              </a:lnSpc>
            </a:pPr>
            <a:r>
              <a:rPr lang="en-US" sz="1000" dirty="0">
                <a:solidFill>
                  <a:schemeClr val="tx1"/>
                </a:solidFill>
              </a:rPr>
              <a:t>[ table : -7, {-3,-11,-7},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540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42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86" name="Rechteck 85">
            <a:extLst>
              <a:ext uri="{FF2B5EF4-FFF2-40B4-BE49-F238E27FC236}">
                <a16:creationId xmlns:a16="http://schemas.microsoft.com/office/drawing/2014/main" id="{765AC7D5-FD7C-4D22-93C1-51AEBBA36839}"/>
              </a:ext>
            </a:extLst>
          </p:cNvPr>
          <p:cNvSpPr/>
          <p:nvPr/>
        </p:nvSpPr>
        <p:spPr>
          <a:xfrm>
            <a:off x="540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90" name="Rechteck 89">
            <a:extLst>
              <a:ext uri="{FF2B5EF4-FFF2-40B4-BE49-F238E27FC236}">
                <a16:creationId xmlns:a16="http://schemas.microsoft.com/office/drawing/2014/main" id="{4A479F58-D056-4698-A3E9-98BE17BE0152}"/>
              </a:ext>
            </a:extLst>
          </p:cNvPr>
          <p:cNvSpPr/>
          <p:nvPr/>
        </p:nvSpPr>
        <p:spPr>
          <a:xfrm>
            <a:off x="252000" y="278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07" name="Rechteck 106">
            <a:extLst>
              <a:ext uri="{FF2B5EF4-FFF2-40B4-BE49-F238E27FC236}">
                <a16:creationId xmlns:a16="http://schemas.microsoft.com/office/drawing/2014/main" id="{B1E8F178-0D03-41B1-8618-B3A206F4FE93}"/>
              </a:ext>
            </a:extLst>
          </p:cNvPr>
          <p:cNvSpPr/>
          <p:nvPr/>
        </p:nvSpPr>
        <p:spPr>
          <a:xfrm>
            <a:off x="540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3DA49A50-4A82-487F-BCEF-BF5943B3BBF6}"/>
              </a:ext>
            </a:extLst>
          </p:cNvPr>
          <p:cNvSpPr/>
          <p:nvPr/>
        </p:nvSpPr>
        <p:spPr>
          <a:xfrm>
            <a:off x="90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09" name="Rechteck 108">
            <a:extLst>
              <a:ext uri="{FF2B5EF4-FFF2-40B4-BE49-F238E27FC236}">
                <a16:creationId xmlns:a16="http://schemas.microsoft.com/office/drawing/2014/main" id="{AA50E779-4270-491C-980A-FFB4FF4C8D67}"/>
              </a:ext>
            </a:extLst>
          </p:cNvPr>
          <p:cNvSpPr/>
          <p:nvPr/>
        </p:nvSpPr>
        <p:spPr>
          <a:xfrm>
            <a:off x="2412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4163BA97-3D5D-4D28-A529-7F16A9DAE8D1}"/>
              </a:ext>
            </a:extLst>
          </p:cNvPr>
          <p:cNvSpPr/>
          <p:nvPr/>
        </p:nvSpPr>
        <p:spPr>
          <a:xfrm>
            <a:off x="2772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1" name="Rechteck 110">
            <a:extLst>
              <a:ext uri="{FF2B5EF4-FFF2-40B4-BE49-F238E27FC236}">
                <a16:creationId xmlns:a16="http://schemas.microsoft.com/office/drawing/2014/main" id="{F65A2C47-7C7D-40C7-A4AF-9961847BCAEB}"/>
              </a:ext>
            </a:extLst>
          </p:cNvPr>
          <p:cNvSpPr/>
          <p:nvPr/>
        </p:nvSpPr>
        <p:spPr>
          <a:xfrm>
            <a:off x="2412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1D1020FD-1BAF-40E5-B6CA-A6B508A009A6}"/>
              </a:ext>
            </a:extLst>
          </p:cNvPr>
          <p:cNvSpPr/>
          <p:nvPr/>
        </p:nvSpPr>
        <p:spPr>
          <a:xfrm>
            <a:off x="2772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13" name="Rechteck 112">
            <a:extLst>
              <a:ext uri="{FF2B5EF4-FFF2-40B4-BE49-F238E27FC236}">
                <a16:creationId xmlns:a16="http://schemas.microsoft.com/office/drawing/2014/main" id="{6F37A99F-C92D-4DFB-BC12-88E75B58F796}"/>
              </a:ext>
            </a:extLst>
          </p:cNvPr>
          <p:cNvSpPr/>
          <p:nvPr/>
        </p:nvSpPr>
        <p:spPr>
          <a:xfrm>
            <a:off x="2412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175292A2-D8DE-4311-97F3-8EFF7495237F}"/>
              </a:ext>
            </a:extLst>
          </p:cNvPr>
          <p:cNvSpPr/>
          <p:nvPr/>
        </p:nvSpPr>
        <p:spPr>
          <a:xfrm>
            <a:off x="2772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16" name="Rechteck 115">
            <a:extLst>
              <a:ext uri="{FF2B5EF4-FFF2-40B4-BE49-F238E27FC236}">
                <a16:creationId xmlns:a16="http://schemas.microsoft.com/office/drawing/2014/main" id="{CAB2F2E2-2BEF-418F-9B05-177DB8986F50}"/>
              </a:ext>
            </a:extLst>
          </p:cNvPr>
          <p:cNvSpPr/>
          <p:nvPr/>
        </p:nvSpPr>
        <p:spPr>
          <a:xfrm>
            <a:off x="4284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1D6C5D69-9AFA-4E05-B49F-33DDDFECE083}"/>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8" name="Rechteck 117">
            <a:extLst>
              <a:ext uri="{FF2B5EF4-FFF2-40B4-BE49-F238E27FC236}">
                <a16:creationId xmlns:a16="http://schemas.microsoft.com/office/drawing/2014/main" id="{A5FA8DE2-1722-4BA2-BF07-BE6AC2574702}"/>
              </a:ext>
            </a:extLst>
          </p:cNvPr>
          <p:cNvSpPr/>
          <p:nvPr/>
        </p:nvSpPr>
        <p:spPr>
          <a:xfrm>
            <a:off x="4284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11981B65-6967-40D3-8011-B6EDEDAB5179}"/>
              </a:ext>
            </a:extLst>
          </p:cNvPr>
          <p:cNvSpPr/>
          <p:nvPr/>
        </p:nvSpPr>
        <p:spPr>
          <a:xfrm>
            <a:off x="4644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20" name="Rechteck 119">
            <a:extLst>
              <a:ext uri="{FF2B5EF4-FFF2-40B4-BE49-F238E27FC236}">
                <a16:creationId xmlns:a16="http://schemas.microsoft.com/office/drawing/2014/main" id="{13680F03-31DE-4069-B1AF-F29ADF6B3B20}"/>
              </a:ext>
            </a:extLst>
          </p:cNvPr>
          <p:cNvSpPr/>
          <p:nvPr/>
        </p:nvSpPr>
        <p:spPr>
          <a:xfrm>
            <a:off x="4284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6800C77B-2180-4BBD-AB02-70BF14C53A6C}"/>
              </a:ext>
            </a:extLst>
          </p:cNvPr>
          <p:cNvSpPr/>
          <p:nvPr/>
        </p:nvSpPr>
        <p:spPr>
          <a:xfrm>
            <a:off x="4644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362114E1-1DEB-4D3E-94D8-16F4BCA28751}"/>
              </a:ext>
            </a:extLst>
          </p:cNvPr>
          <p:cNvSpPr/>
          <p:nvPr/>
        </p:nvSpPr>
        <p:spPr>
          <a:xfrm>
            <a:off x="5579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41" name="Rechteck 140">
            <a:extLst>
              <a:ext uri="{FF2B5EF4-FFF2-40B4-BE49-F238E27FC236}">
                <a16:creationId xmlns:a16="http://schemas.microsoft.com/office/drawing/2014/main" id="{F1E1919F-1666-4F20-B36C-EC4DA049BC5D}"/>
              </a:ext>
            </a:extLst>
          </p:cNvPr>
          <p:cNvSpPr/>
          <p:nvPr/>
        </p:nvSpPr>
        <p:spPr>
          <a:xfrm>
            <a:off x="5148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a:endCxn id="139" idx="2"/>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46" name="Rechteck 145">
            <a:extLst>
              <a:ext uri="{FF2B5EF4-FFF2-40B4-BE49-F238E27FC236}">
                <a16:creationId xmlns:a16="http://schemas.microsoft.com/office/drawing/2014/main" id="{41533D66-3EBF-4231-85AD-DDDCE8532D16}"/>
              </a:ext>
            </a:extLst>
          </p:cNvPr>
          <p:cNvSpPr/>
          <p:nvPr/>
        </p:nvSpPr>
        <p:spPr>
          <a:xfrm>
            <a:off x="6156000" y="2061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E52ED857-B6B0-4671-844C-651C0BF5ED52}"/>
              </a:ext>
            </a:extLst>
          </p:cNvPr>
          <p:cNvSpPr/>
          <p:nvPr/>
        </p:nvSpPr>
        <p:spPr>
          <a:xfrm>
            <a:off x="6516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48" name="Rechteck 147">
            <a:extLst>
              <a:ext uri="{FF2B5EF4-FFF2-40B4-BE49-F238E27FC236}">
                <a16:creationId xmlns:a16="http://schemas.microsoft.com/office/drawing/2014/main" id="{FB31A416-E649-456C-9178-66BBEADD55EA}"/>
              </a:ext>
            </a:extLst>
          </p:cNvPr>
          <p:cNvSpPr/>
          <p:nvPr/>
        </p:nvSpPr>
        <p:spPr>
          <a:xfrm>
            <a:off x="6156000" y="242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A63CEFE0-F9CB-459B-A8B1-41353A5CE4AA}"/>
              </a:ext>
            </a:extLst>
          </p:cNvPr>
          <p:cNvSpPr/>
          <p:nvPr/>
        </p:nvSpPr>
        <p:spPr>
          <a:xfrm>
            <a:off x="6516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50" name="Rechteck 149">
            <a:extLst>
              <a:ext uri="{FF2B5EF4-FFF2-40B4-BE49-F238E27FC236}">
                <a16:creationId xmlns:a16="http://schemas.microsoft.com/office/drawing/2014/main" id="{69E6820F-E5AF-4938-8FF2-7DCB8C72BF71}"/>
              </a:ext>
            </a:extLst>
          </p:cNvPr>
          <p:cNvSpPr/>
          <p:nvPr/>
        </p:nvSpPr>
        <p:spPr>
          <a:xfrm>
            <a:off x="6156000" y="278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A853CAF5-C4B3-4B2B-B6AF-BE489FD29556}"/>
              </a:ext>
            </a:extLst>
          </p:cNvPr>
          <p:cNvSpPr/>
          <p:nvPr/>
        </p:nvSpPr>
        <p:spPr>
          <a:xfrm>
            <a:off x="6516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52" name="Rechteck 151">
            <a:extLst>
              <a:ext uri="{FF2B5EF4-FFF2-40B4-BE49-F238E27FC236}">
                <a16:creationId xmlns:a16="http://schemas.microsoft.com/office/drawing/2014/main" id="{78D46DF5-62ED-4DB7-807D-3C0002F5E08F}"/>
              </a:ext>
            </a:extLst>
          </p:cNvPr>
          <p:cNvSpPr/>
          <p:nvPr/>
        </p:nvSpPr>
        <p:spPr>
          <a:xfrm>
            <a:off x="7451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9351522E-7C79-4B1A-98CF-70383BF72DBC}"/>
              </a:ext>
            </a:extLst>
          </p:cNvPr>
          <p:cNvSpPr/>
          <p:nvPr/>
        </p:nvSpPr>
        <p:spPr>
          <a:xfrm>
            <a:off x="7451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BC4E6F36-A425-40E8-B550-B2081C75DB23}"/>
              </a:ext>
            </a:extLst>
          </p:cNvPr>
          <p:cNvSpPr/>
          <p:nvPr/>
        </p:nvSpPr>
        <p:spPr>
          <a:xfrm>
            <a:off x="7451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5" name="Rechteck 154">
            <a:extLst>
              <a:ext uri="{FF2B5EF4-FFF2-40B4-BE49-F238E27FC236}">
                <a16:creationId xmlns:a16="http://schemas.microsoft.com/office/drawing/2014/main" id="{EAD9F1BB-8C20-489F-AEDA-3CFB2648B829}"/>
              </a:ext>
            </a:extLst>
          </p:cNvPr>
          <p:cNvSpPr/>
          <p:nvPr/>
        </p:nvSpPr>
        <p:spPr>
          <a:xfrm>
            <a:off x="702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56" name="Rechteck 155">
            <a:extLst>
              <a:ext uri="{FF2B5EF4-FFF2-40B4-BE49-F238E27FC236}">
                <a16:creationId xmlns:a16="http://schemas.microsoft.com/office/drawing/2014/main" id="{C946E28A-90AF-4EB9-920E-4565E85DD40F}"/>
              </a:ext>
            </a:extLst>
          </p:cNvPr>
          <p:cNvSpPr/>
          <p:nvPr/>
        </p:nvSpPr>
        <p:spPr>
          <a:xfrm>
            <a:off x="702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57" name="Rechteck 156">
            <a:extLst>
              <a:ext uri="{FF2B5EF4-FFF2-40B4-BE49-F238E27FC236}">
                <a16:creationId xmlns:a16="http://schemas.microsoft.com/office/drawing/2014/main" id="{508A4267-A16D-4DD4-9C12-32D1F9602E29}"/>
              </a:ext>
            </a:extLst>
          </p:cNvPr>
          <p:cNvSpPr/>
          <p:nvPr/>
        </p:nvSpPr>
        <p:spPr>
          <a:xfrm>
            <a:off x="702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58" name="Gerade Verbindung mit Pfeil 157">
            <a:extLst>
              <a:ext uri="{FF2B5EF4-FFF2-40B4-BE49-F238E27FC236}">
                <a16:creationId xmlns:a16="http://schemas.microsoft.com/office/drawing/2014/main" id="{15D18BA7-2E20-49B4-A16F-CE072C6A41C2}"/>
              </a:ext>
            </a:extLst>
          </p:cNvPr>
          <p:cNvCxnSpPr>
            <a:cxnSpLocks/>
            <a:endCxn id="155" idx="2"/>
          </p:cNvCxnSpPr>
          <p:nvPr/>
        </p:nvCxnSpPr>
        <p:spPr>
          <a:xfrm>
            <a:off x="6660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5272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358D4-6466-8140-2E25-2A104BBA8F0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B54019B-4AF8-B4B9-DD90-7F46818E6B7E}"/>
              </a:ext>
            </a:extLst>
          </p:cNvPr>
          <p:cNvSpPr>
            <a:spLocks noGrp="1"/>
          </p:cNvSpPr>
          <p:nvPr>
            <p:ph type="title"/>
          </p:nvPr>
        </p:nvSpPr>
        <p:spPr/>
        <p:txBody>
          <a:bodyPr/>
          <a:lstStyle/>
          <a:p>
            <a:r>
              <a:rPr lang="en-US" dirty="0"/>
              <a:t>Introduction</a:t>
            </a:r>
            <a:br>
              <a:rPr lang="en-US" dirty="0"/>
            </a:br>
            <a:r>
              <a:rPr lang="en-US" dirty="0"/>
              <a:t>Problem Statement</a:t>
            </a:r>
          </a:p>
        </p:txBody>
      </p:sp>
      <p:sp>
        <p:nvSpPr>
          <p:cNvPr id="22" name="Rechteck 15">
            <a:extLst>
              <a:ext uri="{FF2B5EF4-FFF2-40B4-BE49-F238E27FC236}">
                <a16:creationId xmlns:a16="http://schemas.microsoft.com/office/drawing/2014/main" id="{14969173-7857-AF46-9FAA-6DCC101D7E75}"/>
              </a:ext>
            </a:extLst>
          </p:cNvPr>
          <p:cNvSpPr/>
          <p:nvPr/>
        </p:nvSpPr>
        <p:spPr>
          <a:xfrm>
            <a:off x="828000" y="2007064"/>
            <a:ext cx="1620000" cy="91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050" b="1" dirty="0">
                <a:solidFill>
                  <a:schemeClr val="tx1"/>
                </a:solidFill>
              </a:rPr>
              <a:t> </a:t>
            </a:r>
            <a:r>
              <a:rPr lang="en-US" sz="1200" b="1" i="1" dirty="0">
                <a:solidFill>
                  <a:schemeClr val="tx1"/>
                </a:solidFill>
              </a:rPr>
              <a:t>Unsafe</a:t>
            </a:r>
            <a:endParaRPr lang="en-US" sz="1200" b="1" dirty="0">
              <a:solidFill>
                <a:schemeClr val="tx1"/>
              </a:solidFill>
            </a:endParaRPr>
          </a:p>
          <a:p>
            <a:pPr algn="ctr">
              <a:lnSpc>
                <a:spcPct val="90000"/>
              </a:lnSpc>
              <a:spcBef>
                <a:spcPts val="225"/>
              </a:spcBef>
              <a:spcAft>
                <a:spcPts val="225"/>
              </a:spcAft>
              <a:buClr>
                <a:srgbClr val="003399"/>
              </a:buClr>
            </a:pPr>
            <a:r>
              <a:rPr lang="en-US" sz="1050" b="1" dirty="0">
                <a:solidFill>
                  <a:schemeClr val="tx1">
                    <a:lumMod val="50000"/>
                    <a:lumOff val="50000"/>
                  </a:schemeClr>
                </a:solidFill>
              </a:rPr>
              <a:t>Excel Macros</a:t>
            </a:r>
          </a:p>
          <a:p>
            <a:pPr algn="ctr">
              <a:lnSpc>
                <a:spcPct val="90000"/>
              </a:lnSpc>
              <a:spcBef>
                <a:spcPts val="225"/>
              </a:spcBef>
              <a:spcAft>
                <a:spcPts val="225"/>
              </a:spcAft>
              <a:buClr>
                <a:srgbClr val="003399"/>
              </a:buClr>
            </a:pPr>
            <a:r>
              <a:rPr lang="en-US" sz="750" dirty="0">
                <a:solidFill>
                  <a:schemeClr val="tx1">
                    <a:lumMod val="50000"/>
                    <a:lumOff val="50000"/>
                  </a:schemeClr>
                </a:solidFill>
              </a:rPr>
              <a:t>(Visual Basic)</a:t>
            </a:r>
          </a:p>
        </p:txBody>
      </p:sp>
      <p:sp>
        <p:nvSpPr>
          <p:cNvPr id="23" name="Rechteck 16">
            <a:extLst>
              <a:ext uri="{FF2B5EF4-FFF2-40B4-BE49-F238E27FC236}">
                <a16:creationId xmlns:a16="http://schemas.microsoft.com/office/drawing/2014/main" id="{7F032587-FC83-F14B-A293-12126FF292E1}"/>
              </a:ext>
            </a:extLst>
          </p:cNvPr>
          <p:cNvSpPr/>
          <p:nvPr/>
        </p:nvSpPr>
        <p:spPr>
          <a:xfrm>
            <a:off x="828000" y="3141064"/>
            <a:ext cx="1620000" cy="124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br>
              <a:rPr lang="en-US" sz="1050" b="1" dirty="0">
                <a:solidFill>
                  <a:schemeClr val="tx1"/>
                </a:solidFill>
              </a:rPr>
            </a:br>
            <a:r>
              <a:rPr lang="en-US" sz="1200" b="1" i="1" dirty="0">
                <a:solidFill>
                  <a:schemeClr val="tx1"/>
                </a:solidFill>
              </a:rPr>
              <a:t>Complex</a:t>
            </a:r>
            <a:endParaRPr lang="en-US" sz="1200" b="1" dirty="0">
              <a:solidFill>
                <a:schemeClr val="tx1"/>
              </a:solidFill>
            </a:endParaRPr>
          </a:p>
          <a:p>
            <a:pPr algn="ctr">
              <a:lnSpc>
                <a:spcPct val="90000"/>
              </a:lnSpc>
              <a:spcBef>
                <a:spcPts val="225"/>
              </a:spcBef>
              <a:spcAft>
                <a:spcPts val="225"/>
              </a:spcAft>
              <a:buClr>
                <a:srgbClr val="003399"/>
              </a:buClr>
            </a:pPr>
            <a:r>
              <a:rPr lang="en-US" sz="1050" b="1" dirty="0">
                <a:solidFill>
                  <a:schemeClr val="tx1">
                    <a:lumMod val="50000"/>
                    <a:lumOff val="50000"/>
                  </a:schemeClr>
                </a:solidFill>
              </a:rPr>
              <a:t>Programming </a:t>
            </a:r>
          </a:p>
          <a:p>
            <a:pPr algn="ctr">
              <a:lnSpc>
                <a:spcPct val="90000"/>
              </a:lnSpc>
              <a:spcBef>
                <a:spcPts val="225"/>
              </a:spcBef>
              <a:spcAft>
                <a:spcPts val="225"/>
              </a:spcAft>
              <a:buClr>
                <a:srgbClr val="003399"/>
              </a:buClr>
            </a:pPr>
            <a:r>
              <a:rPr lang="en-US" sz="750" dirty="0">
                <a:solidFill>
                  <a:schemeClr val="tx1">
                    <a:lumMod val="50000"/>
                    <a:lumOff val="50000"/>
                  </a:schemeClr>
                </a:solidFill>
              </a:rPr>
              <a:t>(Python, R,  SAS etc.)</a:t>
            </a:r>
          </a:p>
        </p:txBody>
      </p:sp>
      <p:sp>
        <p:nvSpPr>
          <p:cNvPr id="24" name="Rechteck 17">
            <a:extLst>
              <a:ext uri="{FF2B5EF4-FFF2-40B4-BE49-F238E27FC236}">
                <a16:creationId xmlns:a16="http://schemas.microsoft.com/office/drawing/2014/main" id="{BECC104A-E10C-F747-8EDF-8A079576A5A8}"/>
              </a:ext>
            </a:extLst>
          </p:cNvPr>
          <p:cNvSpPr/>
          <p:nvPr/>
        </p:nvSpPr>
        <p:spPr>
          <a:xfrm>
            <a:off x="828000" y="4599064"/>
            <a:ext cx="1620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200" b="1" i="1" dirty="0">
                <a:solidFill>
                  <a:schemeClr val="tx1"/>
                </a:solidFill>
              </a:rPr>
              <a:t>Expensive</a:t>
            </a:r>
            <a:endParaRPr lang="en-US" sz="1200" b="1" dirty="0">
              <a:solidFill>
                <a:schemeClr val="tx1"/>
              </a:solidFill>
            </a:endParaRPr>
          </a:p>
          <a:p>
            <a:pPr algn="ctr">
              <a:lnSpc>
                <a:spcPct val="90000"/>
              </a:lnSpc>
              <a:spcBef>
                <a:spcPts val="225"/>
              </a:spcBef>
              <a:spcAft>
                <a:spcPts val="225"/>
              </a:spcAft>
              <a:buClr>
                <a:srgbClr val="003399"/>
              </a:buClr>
            </a:pPr>
            <a:r>
              <a:rPr lang="en-US" sz="1050" b="1" dirty="0">
                <a:solidFill>
                  <a:schemeClr val="tx1">
                    <a:lumMod val="50000"/>
                    <a:lumOff val="50000"/>
                  </a:schemeClr>
                </a:solidFill>
              </a:rPr>
              <a:t>Consultants</a:t>
            </a:r>
          </a:p>
        </p:txBody>
      </p:sp>
      <p:sp>
        <p:nvSpPr>
          <p:cNvPr id="25" name="Rechteck 18">
            <a:extLst>
              <a:ext uri="{FF2B5EF4-FFF2-40B4-BE49-F238E27FC236}">
                <a16:creationId xmlns:a16="http://schemas.microsoft.com/office/drawing/2014/main" id="{6C177216-1601-324D-ABDC-815858C2F028}"/>
              </a:ext>
            </a:extLst>
          </p:cNvPr>
          <p:cNvSpPr/>
          <p:nvPr/>
        </p:nvSpPr>
        <p:spPr>
          <a:xfrm>
            <a:off x="2556000" y="5463064"/>
            <a:ext cx="5634586"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a:spcBef>
                <a:spcPts val="225"/>
              </a:spcBef>
              <a:spcAft>
                <a:spcPts val="225"/>
              </a:spcAft>
              <a:buClr>
                <a:srgbClr val="003399"/>
              </a:buClr>
            </a:pPr>
            <a:r>
              <a:rPr lang="en-US" sz="1050" b="1" dirty="0">
                <a:solidFill>
                  <a:schemeClr val="tx1"/>
                </a:solidFill>
              </a:rPr>
              <a:t>Solution is expensive with vendor lock-in and no long-term sustainability</a:t>
            </a:r>
          </a:p>
        </p:txBody>
      </p:sp>
      <p:sp>
        <p:nvSpPr>
          <p:cNvPr id="26" name="Rechteck 19">
            <a:extLst>
              <a:ext uri="{FF2B5EF4-FFF2-40B4-BE49-F238E27FC236}">
                <a16:creationId xmlns:a16="http://schemas.microsoft.com/office/drawing/2014/main" id="{17FC0536-8FAC-7846-BECA-84A925A93D0A}"/>
              </a:ext>
            </a:extLst>
          </p:cNvPr>
          <p:cNvSpPr/>
          <p:nvPr/>
        </p:nvSpPr>
        <p:spPr>
          <a:xfrm>
            <a:off x="2556000" y="4167064"/>
            <a:ext cx="5634586"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a:spcBef>
                <a:spcPts val="225"/>
              </a:spcBef>
              <a:spcAft>
                <a:spcPts val="225"/>
              </a:spcAft>
              <a:buClr>
                <a:srgbClr val="003399"/>
              </a:buClr>
            </a:pPr>
            <a:r>
              <a:rPr lang="en-US" sz="1050" b="1" dirty="0">
                <a:solidFill>
                  <a:schemeClr val="tx1"/>
                </a:solidFill>
              </a:rPr>
              <a:t>Code difficult to create, comprehend, share, manage, maintain, or adapt</a:t>
            </a:r>
          </a:p>
        </p:txBody>
      </p:sp>
      <p:sp>
        <p:nvSpPr>
          <p:cNvPr id="27" name="Rechteck 20">
            <a:extLst>
              <a:ext uri="{FF2B5EF4-FFF2-40B4-BE49-F238E27FC236}">
                <a16:creationId xmlns:a16="http://schemas.microsoft.com/office/drawing/2014/main" id="{FBF30DEC-2BB1-A24D-AD07-4BA9455E0275}"/>
              </a:ext>
            </a:extLst>
          </p:cNvPr>
          <p:cNvSpPr/>
          <p:nvPr/>
        </p:nvSpPr>
        <p:spPr>
          <a:xfrm>
            <a:off x="2556000" y="2709064"/>
            <a:ext cx="5202586" cy="27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a:spcBef>
                <a:spcPts val="225"/>
              </a:spcBef>
              <a:spcAft>
                <a:spcPts val="225"/>
              </a:spcAft>
              <a:buClr>
                <a:srgbClr val="003399"/>
              </a:buClr>
            </a:pPr>
            <a:r>
              <a:rPr lang="en-US" sz="1050" b="1" dirty="0">
                <a:solidFill>
                  <a:schemeClr val="tx1"/>
                </a:solidFill>
              </a:rPr>
              <a:t>Manual, opaque, un-auditable, poorly performing “code” with high risk for error</a:t>
            </a:r>
          </a:p>
        </p:txBody>
      </p:sp>
      <p:sp>
        <p:nvSpPr>
          <p:cNvPr id="28" name="Rechteck 21">
            <a:extLst>
              <a:ext uri="{FF2B5EF4-FFF2-40B4-BE49-F238E27FC236}">
                <a16:creationId xmlns:a16="http://schemas.microsoft.com/office/drawing/2014/main" id="{10B59A30-BA76-0D4B-94CD-111E14115F0B}"/>
              </a:ext>
            </a:extLst>
          </p:cNvPr>
          <p:cNvSpPr/>
          <p:nvPr/>
        </p:nvSpPr>
        <p:spPr>
          <a:xfrm>
            <a:off x="2556000" y="2025000"/>
            <a:ext cx="5202586" cy="75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Formulas are ‘hidden’ and opaque and not auditable. </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Macros are cumbersome and cryptic</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Performance extremely poor if working with large, real-world data sets.</a:t>
            </a:r>
          </a:p>
        </p:txBody>
      </p:sp>
      <p:sp>
        <p:nvSpPr>
          <p:cNvPr id="29" name="Rechteck 22">
            <a:extLst>
              <a:ext uri="{FF2B5EF4-FFF2-40B4-BE49-F238E27FC236}">
                <a16:creationId xmlns:a16="http://schemas.microsoft.com/office/drawing/2014/main" id="{92230A9B-879F-9A49-B440-F9B585B042A0}"/>
              </a:ext>
            </a:extLst>
          </p:cNvPr>
          <p:cNvSpPr/>
          <p:nvPr/>
        </p:nvSpPr>
        <p:spPr>
          <a:xfrm>
            <a:off x="2556000" y="3249064"/>
            <a:ext cx="5634586" cy="86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Requires programming expertise and complex development environment</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Runs fast, but requires years of programming experience to program, debug and optimize.</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Others may have difficulties to understand what is written.</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Large, complex code with many functional details coded by hand.</a:t>
            </a:r>
          </a:p>
        </p:txBody>
      </p:sp>
      <p:sp>
        <p:nvSpPr>
          <p:cNvPr id="30" name="Rechteck 23">
            <a:extLst>
              <a:ext uri="{FF2B5EF4-FFF2-40B4-BE49-F238E27FC236}">
                <a16:creationId xmlns:a16="http://schemas.microsoft.com/office/drawing/2014/main" id="{1DDB7D9A-F339-AE4D-8574-4BB20B9B2AA1}"/>
              </a:ext>
            </a:extLst>
          </p:cNvPr>
          <p:cNvSpPr/>
          <p:nvPr/>
        </p:nvSpPr>
        <p:spPr>
          <a:xfrm>
            <a:off x="2556000" y="4617000"/>
            <a:ext cx="5508000" cy="75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Consultants are happy to solve specific point problems … for a fee.  </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Solutions can be decent, but if you need any changes, you will need to hire them again.</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You end up depending on them, and you need to repeatedly convince management that the updates are worth the money.</a:t>
            </a:r>
          </a:p>
        </p:txBody>
      </p:sp>
      <p:sp>
        <p:nvSpPr>
          <p:cNvPr id="31" name="Textfeld 49">
            <a:extLst>
              <a:ext uri="{FF2B5EF4-FFF2-40B4-BE49-F238E27FC236}">
                <a16:creationId xmlns:a16="http://schemas.microsoft.com/office/drawing/2014/main" id="{AA884ED3-4567-D64A-851C-9BF3AE8D254D}"/>
              </a:ext>
            </a:extLst>
          </p:cNvPr>
          <p:cNvSpPr txBox="1"/>
          <p:nvPr/>
        </p:nvSpPr>
        <p:spPr>
          <a:xfrm>
            <a:off x="1980000" y="842053"/>
            <a:ext cx="4752000" cy="707886"/>
          </a:xfrm>
          <a:prstGeom prst="rect">
            <a:avLst/>
          </a:prstGeom>
          <a:noFill/>
        </p:spPr>
        <p:txBody>
          <a:bodyPr wrap="square">
            <a:spAutoFit/>
          </a:bodyPr>
          <a:lstStyle/>
          <a:p>
            <a:pPr algn="ctr"/>
            <a:r>
              <a:rPr lang="en-US" sz="2000" b="1" dirty="0">
                <a:solidFill>
                  <a:srgbClr val="3264C8"/>
                </a:solidFill>
                <a:latin typeface="+mj-lt"/>
              </a:rPr>
              <a:t>Current s</a:t>
            </a:r>
            <a:r>
              <a:rPr lang="en-US" sz="2000" b="1" i="0" dirty="0">
                <a:solidFill>
                  <a:srgbClr val="3264C8"/>
                </a:solidFill>
                <a:effectLst/>
                <a:latin typeface="+mj-lt"/>
              </a:rPr>
              <a:t>preadsheet </a:t>
            </a:r>
            <a:r>
              <a:rPr lang="en-US" sz="2000" b="1" dirty="0">
                <a:solidFill>
                  <a:srgbClr val="3264C8"/>
                </a:solidFill>
                <a:latin typeface="+mj-lt"/>
              </a:rPr>
              <a:t>t</a:t>
            </a:r>
            <a:r>
              <a:rPr lang="en-US" sz="2000" b="1" i="0" dirty="0">
                <a:solidFill>
                  <a:srgbClr val="3264C8"/>
                </a:solidFill>
                <a:effectLst/>
                <a:latin typeface="+mj-lt"/>
              </a:rPr>
              <a:t>ools are unsafe, complex, and expensive</a:t>
            </a:r>
          </a:p>
        </p:txBody>
      </p:sp>
    </p:spTree>
    <p:extLst>
      <p:ext uri="{BB962C8B-B14F-4D97-AF65-F5344CB8AC3E}">
        <p14:creationId xmlns:p14="http://schemas.microsoft.com/office/powerpoint/2010/main" val="24527456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Wildcard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a:t>
            </a:r>
          </a:p>
          <a:p>
            <a:pPr>
              <a:lnSpc>
                <a:spcPct val="95000"/>
              </a:lnSpc>
            </a:pPr>
            <a:r>
              <a:rPr lang="en-US" sz="1000" dirty="0">
                <a:solidFill>
                  <a:schemeClr val="tx1"/>
                </a:solidFill>
              </a:rPr>
              <a:t>[ table: -7, :'*n'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1 ]</a:t>
            </a:r>
          </a:p>
          <a:p>
            <a:pPr>
              <a:lnSpc>
                <a:spcPct val="95000"/>
              </a:lnSpc>
            </a:pPr>
            <a:r>
              <a:rPr lang="en-US" sz="1000" dirty="0">
                <a:solidFill>
                  <a:schemeClr val="tx1"/>
                </a:solidFill>
              </a:rPr>
              <a:t>[ table: -7, :'*n',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348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8</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1917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348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he Beast</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88" name="Rechteck 87">
            <a:extLst>
              <a:ext uri="{FF2B5EF4-FFF2-40B4-BE49-F238E27FC236}">
                <a16:creationId xmlns:a16="http://schemas.microsoft.com/office/drawing/2014/main" id="{F4C5C87D-0C5E-411B-9162-624CF1FC9E33}"/>
              </a:ext>
            </a:extLst>
          </p:cNvPr>
          <p:cNvSpPr/>
          <p:nvPr/>
        </p:nvSpPr>
        <p:spPr>
          <a:xfrm>
            <a:off x="684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AC7F5EEF-266D-45A5-81FB-350CD968ADDC}"/>
              </a:ext>
            </a:extLst>
          </p:cNvPr>
          <p:cNvSpPr/>
          <p:nvPr/>
        </p:nvSpPr>
        <p:spPr>
          <a:xfrm>
            <a:off x="900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91" name="Rechteck 90">
            <a:extLst>
              <a:ext uri="{FF2B5EF4-FFF2-40B4-BE49-F238E27FC236}">
                <a16:creationId xmlns:a16="http://schemas.microsoft.com/office/drawing/2014/main" id="{AEC29CE5-79D3-46C6-9584-BE84CE1FDBB6}"/>
              </a:ext>
            </a:extLst>
          </p:cNvPr>
          <p:cNvSpPr/>
          <p:nvPr/>
        </p:nvSpPr>
        <p:spPr>
          <a:xfrm>
            <a:off x="252000" y="1917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2/-13</a:t>
            </a:r>
          </a:p>
        </p:txBody>
      </p:sp>
      <p:sp>
        <p:nvSpPr>
          <p:cNvPr id="4" name="Rechteck 3">
            <a:extLst>
              <a:ext uri="{FF2B5EF4-FFF2-40B4-BE49-F238E27FC236}">
                <a16:creationId xmlns:a16="http://schemas.microsoft.com/office/drawing/2014/main" id="{277D6775-F68E-48E9-AF57-2781C4CAC3B4}"/>
              </a:ext>
            </a:extLst>
          </p:cNvPr>
          <p:cNvSpPr/>
          <p:nvPr/>
        </p:nvSpPr>
        <p:spPr>
          <a:xfrm>
            <a:off x="2556000" y="206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 name="Rechteck 4">
            <a:extLst>
              <a:ext uri="{FF2B5EF4-FFF2-40B4-BE49-F238E27FC236}">
                <a16:creationId xmlns:a16="http://schemas.microsoft.com/office/drawing/2014/main" id="{6D10E0EC-061D-4059-B563-95975F351D0F}"/>
              </a:ext>
            </a:extLst>
          </p:cNvPr>
          <p:cNvSpPr/>
          <p:nvPr/>
        </p:nvSpPr>
        <p:spPr>
          <a:xfrm>
            <a:off x="2772000" y="1988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7" name="Rechteck 6">
            <a:extLst>
              <a:ext uri="{FF2B5EF4-FFF2-40B4-BE49-F238E27FC236}">
                <a16:creationId xmlns:a16="http://schemas.microsoft.com/office/drawing/2014/main" id="{5FBAE078-6F00-42C7-8342-01BBA6EA9D6C}"/>
              </a:ext>
            </a:extLst>
          </p:cNvPr>
          <p:cNvSpPr/>
          <p:nvPr/>
        </p:nvSpPr>
        <p:spPr>
          <a:xfrm>
            <a:off x="2556000" y="23488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76C2AA0-8F2C-4074-BBFF-2B790799D8D7}"/>
              </a:ext>
            </a:extLst>
          </p:cNvPr>
          <p:cNvSpPr/>
          <p:nvPr/>
        </p:nvSpPr>
        <p:spPr>
          <a:xfrm>
            <a:off x="2772000" y="2276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9" name="Rechteck 8">
            <a:extLst>
              <a:ext uri="{FF2B5EF4-FFF2-40B4-BE49-F238E27FC236}">
                <a16:creationId xmlns:a16="http://schemas.microsoft.com/office/drawing/2014/main" id="{AB8E3AF6-421E-4B35-919E-980ED42C0480}"/>
              </a:ext>
            </a:extLst>
          </p:cNvPr>
          <p:cNvSpPr/>
          <p:nvPr/>
        </p:nvSpPr>
        <p:spPr>
          <a:xfrm>
            <a:off x="2556000" y="1917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AE5A592-3404-459F-9002-A1B243150F16}"/>
              </a:ext>
            </a:extLst>
          </p:cNvPr>
          <p:cNvSpPr/>
          <p:nvPr/>
        </p:nvSpPr>
        <p:spPr>
          <a:xfrm>
            <a:off x="2772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104" name="Rechteck 103">
            <a:extLst>
              <a:ext uri="{FF2B5EF4-FFF2-40B4-BE49-F238E27FC236}">
                <a16:creationId xmlns:a16="http://schemas.microsoft.com/office/drawing/2014/main" id="{9825BC14-BC1F-4B4B-8B93-E62750F65027}"/>
              </a:ext>
            </a:extLst>
          </p:cNvPr>
          <p:cNvSpPr/>
          <p:nvPr/>
        </p:nvSpPr>
        <p:spPr>
          <a:xfrm>
            <a:off x="4428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5" name="Rechteck 104">
            <a:extLst>
              <a:ext uri="{FF2B5EF4-FFF2-40B4-BE49-F238E27FC236}">
                <a16:creationId xmlns:a16="http://schemas.microsoft.com/office/drawing/2014/main" id="{1ED4A254-5A91-442F-BA8E-4D9DF1A01E1A}"/>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15" name="Rechteck 114">
            <a:extLst>
              <a:ext uri="{FF2B5EF4-FFF2-40B4-BE49-F238E27FC236}">
                <a16:creationId xmlns:a16="http://schemas.microsoft.com/office/drawing/2014/main" id="{A2014FA3-DABF-441E-8D3A-8D4A0DD45194}"/>
              </a:ext>
            </a:extLst>
          </p:cNvPr>
          <p:cNvSpPr/>
          <p:nvPr/>
        </p:nvSpPr>
        <p:spPr>
          <a:xfrm>
            <a:off x="4428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a:extLst>
              <a:ext uri="{FF2B5EF4-FFF2-40B4-BE49-F238E27FC236}">
                <a16:creationId xmlns:a16="http://schemas.microsoft.com/office/drawing/2014/main" id="{E70B94B6-BEFB-4659-83CA-67003ADFBC96}"/>
              </a:ext>
            </a:extLst>
          </p:cNvPr>
          <p:cNvSpPr/>
          <p:nvPr/>
        </p:nvSpPr>
        <p:spPr>
          <a:xfrm>
            <a:off x="4644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24" name="Rechteck 123">
            <a:extLst>
              <a:ext uri="{FF2B5EF4-FFF2-40B4-BE49-F238E27FC236}">
                <a16:creationId xmlns:a16="http://schemas.microsoft.com/office/drawing/2014/main" id="{CB399FF6-B2A7-4060-B8F8-55AEA31DCC3A}"/>
              </a:ext>
            </a:extLst>
          </p:cNvPr>
          <p:cNvSpPr/>
          <p:nvPr/>
        </p:nvSpPr>
        <p:spPr>
          <a:xfrm>
            <a:off x="4428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a:extLst>
              <a:ext uri="{FF2B5EF4-FFF2-40B4-BE49-F238E27FC236}">
                <a16:creationId xmlns:a16="http://schemas.microsoft.com/office/drawing/2014/main" id="{CA7BFB73-D935-4D70-8C2C-DA8D88A2C5F0}"/>
              </a:ext>
            </a:extLst>
          </p:cNvPr>
          <p:cNvSpPr/>
          <p:nvPr/>
        </p:nvSpPr>
        <p:spPr>
          <a:xfrm>
            <a:off x="4644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a:t>
            </a:r>
            <a:endParaRPr lang="en-US" sz="800" u="sng" dirty="0">
              <a:solidFill>
                <a:schemeClr val="tx1"/>
              </a:solidFill>
            </a:endParaRPr>
          </a:p>
        </p:txBody>
      </p:sp>
      <p:sp>
        <p:nvSpPr>
          <p:cNvPr id="126" name="Rechteck 125">
            <a:extLst>
              <a:ext uri="{FF2B5EF4-FFF2-40B4-BE49-F238E27FC236}">
                <a16:creationId xmlns:a16="http://schemas.microsoft.com/office/drawing/2014/main" id="{4C19622F-2D4F-4425-BBF7-1B057BD1D5FC}"/>
              </a:ext>
            </a:extLst>
          </p:cNvPr>
          <p:cNvSpPr/>
          <p:nvPr/>
        </p:nvSpPr>
        <p:spPr>
          <a:xfrm>
            <a:off x="5579980" y="20694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0F265F1A-A828-4B03-B75E-43B8CEE36F14}"/>
              </a:ext>
            </a:extLst>
          </p:cNvPr>
          <p:cNvSpPr/>
          <p:nvPr/>
        </p:nvSpPr>
        <p:spPr>
          <a:xfrm>
            <a:off x="5148000" y="19974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28" name="Rechteck 127">
            <a:extLst>
              <a:ext uri="{FF2B5EF4-FFF2-40B4-BE49-F238E27FC236}">
                <a16:creationId xmlns:a16="http://schemas.microsoft.com/office/drawing/2014/main" id="{450F6E8E-9E64-46FE-9DC5-8A406EFCEBC0}"/>
              </a:ext>
            </a:extLst>
          </p:cNvPr>
          <p:cNvSpPr/>
          <p:nvPr/>
        </p:nvSpPr>
        <p:spPr>
          <a:xfrm>
            <a:off x="7451980" y="19170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a:extLst>
              <a:ext uri="{FF2B5EF4-FFF2-40B4-BE49-F238E27FC236}">
                <a16:creationId xmlns:a16="http://schemas.microsoft.com/office/drawing/2014/main" id="{C36DDA32-79F9-4F96-9CFD-BCCD4B09C9A5}"/>
              </a:ext>
            </a:extLst>
          </p:cNvPr>
          <p:cNvSpPr/>
          <p:nvPr/>
        </p:nvSpPr>
        <p:spPr>
          <a:xfrm>
            <a:off x="7451980" y="234886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60BD48C5-6A39-49CD-8AC8-BB925A74210A}"/>
              </a:ext>
            </a:extLst>
          </p:cNvPr>
          <p:cNvSpPr/>
          <p:nvPr/>
        </p:nvSpPr>
        <p:spPr>
          <a:xfrm>
            <a:off x="7020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32" name="Gerade Verbindung mit Pfeil 131">
            <a:extLst>
              <a:ext uri="{FF2B5EF4-FFF2-40B4-BE49-F238E27FC236}">
                <a16:creationId xmlns:a16="http://schemas.microsoft.com/office/drawing/2014/main" id="{4E45EC79-5397-41D3-B778-A64FF4BA5EC1}"/>
              </a:ext>
            </a:extLst>
          </p:cNvPr>
          <p:cNvCxnSpPr>
            <a:cxnSpLocks/>
          </p:cNvCxnSpPr>
          <p:nvPr/>
        </p:nvCxnSpPr>
        <p:spPr>
          <a:xfrm>
            <a:off x="6660000" y="220501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EB8F3FB0-8C6E-4599-97EC-42E80B7A8803}"/>
              </a:ext>
            </a:extLst>
          </p:cNvPr>
          <p:cNvSpPr/>
          <p:nvPr/>
        </p:nvSpPr>
        <p:spPr>
          <a:xfrm>
            <a:off x="6300000" y="2061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6" name="Rechteck 135">
            <a:extLst>
              <a:ext uri="{FF2B5EF4-FFF2-40B4-BE49-F238E27FC236}">
                <a16:creationId xmlns:a16="http://schemas.microsoft.com/office/drawing/2014/main" id="{63D77E64-01F8-492B-8640-C05351ECB76B}"/>
              </a:ext>
            </a:extLst>
          </p:cNvPr>
          <p:cNvSpPr/>
          <p:nvPr/>
        </p:nvSpPr>
        <p:spPr>
          <a:xfrm>
            <a:off x="6516000" y="1989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44" name="Rechteck 143">
            <a:extLst>
              <a:ext uri="{FF2B5EF4-FFF2-40B4-BE49-F238E27FC236}">
                <a16:creationId xmlns:a16="http://schemas.microsoft.com/office/drawing/2014/main" id="{7BE388AE-A4A0-4BF3-82EA-F117F67588FF}"/>
              </a:ext>
            </a:extLst>
          </p:cNvPr>
          <p:cNvSpPr/>
          <p:nvPr/>
        </p:nvSpPr>
        <p:spPr>
          <a:xfrm>
            <a:off x="6300000" y="2349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0" name="Rechteck 159">
            <a:extLst>
              <a:ext uri="{FF2B5EF4-FFF2-40B4-BE49-F238E27FC236}">
                <a16:creationId xmlns:a16="http://schemas.microsoft.com/office/drawing/2014/main" id="{0F132662-DABB-493B-B904-81FA384DBFE1}"/>
              </a:ext>
            </a:extLst>
          </p:cNvPr>
          <p:cNvSpPr/>
          <p:nvPr/>
        </p:nvSpPr>
        <p:spPr>
          <a:xfrm>
            <a:off x="6516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62" name="Rechteck 161">
            <a:extLst>
              <a:ext uri="{FF2B5EF4-FFF2-40B4-BE49-F238E27FC236}">
                <a16:creationId xmlns:a16="http://schemas.microsoft.com/office/drawing/2014/main" id="{9F9EF1FA-2131-4ADE-BEE9-B6C9AFF93DA5}"/>
              </a:ext>
            </a:extLst>
          </p:cNvPr>
          <p:cNvSpPr/>
          <p:nvPr/>
        </p:nvSpPr>
        <p:spPr>
          <a:xfrm>
            <a:off x="6300000" y="1917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a:extLst>
              <a:ext uri="{FF2B5EF4-FFF2-40B4-BE49-F238E27FC236}">
                <a16:creationId xmlns:a16="http://schemas.microsoft.com/office/drawing/2014/main" id="{0FCD97D1-8D17-450A-BD99-C3139D7728F4}"/>
              </a:ext>
            </a:extLst>
          </p:cNvPr>
          <p:cNvSpPr/>
          <p:nvPr/>
        </p:nvSpPr>
        <p:spPr>
          <a:xfrm>
            <a:off x="7451980" y="20694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FF77F0A-1A1D-49D3-A89C-D05F9A8B02CA}"/>
              </a:ext>
            </a:extLst>
          </p:cNvPr>
          <p:cNvSpPr/>
          <p:nvPr/>
        </p:nvSpPr>
        <p:spPr>
          <a:xfrm>
            <a:off x="7020000" y="19974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Tree>
    <p:extLst>
      <p:ext uri="{BB962C8B-B14F-4D97-AF65-F5344CB8AC3E}">
        <p14:creationId xmlns:p14="http://schemas.microsoft.com/office/powerpoint/2010/main" val="16247598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Range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6..12 ]</a:t>
            </a:r>
          </a:p>
          <a:p>
            <a:pPr>
              <a:lnSpc>
                <a:spcPct val="95000"/>
              </a:lnSpc>
            </a:pPr>
            <a:r>
              <a:rPr lang="en-US" sz="1000" dirty="0">
                <a:solidFill>
                  <a:schemeClr val="tx1"/>
                </a:solidFill>
              </a:rPr>
              <a:t>[ table:  1, -9..-3 ]</a:t>
            </a:r>
          </a:p>
          <a:p>
            <a:pPr>
              <a:lnSpc>
                <a:spcPct val="95000"/>
              </a:lnSpc>
            </a:pPr>
            <a:r>
              <a:rPr lang="en-US" sz="1000" dirty="0">
                <a:solidFill>
                  <a:schemeClr val="tx1"/>
                </a:solidFill>
              </a:rPr>
              <a:t>[ table: City, Montréal .. Zürich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 ]</a:t>
            </a:r>
          </a:p>
          <a:p>
            <a:pPr>
              <a:lnSpc>
                <a:spcPct val="95000"/>
              </a:lnSpc>
            </a:pPr>
            <a:r>
              <a:rPr lang="en-US" sz="1000" dirty="0">
                <a:solidFill>
                  <a:schemeClr val="tx1"/>
                </a:solidFill>
              </a:rPr>
              <a:t>[ table:  1,  -3.. ]</a:t>
            </a:r>
          </a:p>
          <a:p>
            <a:pPr>
              <a:lnSpc>
                <a:spcPct val="95000"/>
              </a:lnSpc>
            </a:pPr>
            <a:r>
              <a:rPr lang="en-US" sz="1000" dirty="0">
                <a:solidFill>
                  <a:schemeClr val="tx1"/>
                </a:solidFill>
              </a:rPr>
              <a:t>[ table: City, Zürich ..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6 ]</a:t>
            </a:r>
          </a:p>
          <a:p>
            <a:pPr>
              <a:lnSpc>
                <a:spcPct val="95000"/>
              </a:lnSpc>
            </a:pPr>
            <a:r>
              <a:rPr lang="en-US" sz="1000" dirty="0">
                <a:solidFill>
                  <a:schemeClr val="tx1"/>
                </a:solidFill>
              </a:rPr>
              <a:t>[ table:  1, ..-9 ]</a:t>
            </a:r>
          </a:p>
          <a:p>
            <a:pPr>
              <a:lnSpc>
                <a:spcPct val="95000"/>
              </a:lnSpc>
            </a:pPr>
            <a:r>
              <a:rPr lang="en-US" sz="1000" dirty="0">
                <a:solidFill>
                  <a:schemeClr val="tx1"/>
                </a:solidFill>
              </a:rPr>
              <a:t>[ table: City, .. Montréal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a:t>
            </a:r>
          </a:p>
          <a:p>
            <a:pPr>
              <a:lnSpc>
                <a:spcPct val="95000"/>
              </a:lnSpc>
            </a:pPr>
            <a:r>
              <a:rPr lang="en-US" sz="1000" dirty="0">
                <a:solidFill>
                  <a:schemeClr val="tx1"/>
                </a:solidFill>
              </a:rPr>
              <a:t>[ table:  City, .. ]</a:t>
            </a: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20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6/-9</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85" name="Rechteck 84">
            <a:extLst>
              <a:ext uri="{FF2B5EF4-FFF2-40B4-BE49-F238E27FC236}">
                <a16:creationId xmlns:a16="http://schemas.microsoft.com/office/drawing/2014/main" id="{43944257-21D3-4A7F-BCED-C1D8632406EE}"/>
              </a:ext>
            </a:extLst>
          </p:cNvPr>
          <p:cNvSpPr/>
          <p:nvPr/>
        </p:nvSpPr>
        <p:spPr>
          <a:xfrm>
            <a:off x="252000" y="292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90" name="Rechteck 89">
            <a:extLst>
              <a:ext uri="{FF2B5EF4-FFF2-40B4-BE49-F238E27FC236}">
                <a16:creationId xmlns:a16="http://schemas.microsoft.com/office/drawing/2014/main" id="{0F1C2FEC-F2AD-4859-9A9D-32E271326ED2}"/>
              </a:ext>
            </a:extLst>
          </p:cNvPr>
          <p:cNvSpPr/>
          <p:nvPr/>
        </p:nvSpPr>
        <p:spPr>
          <a:xfrm>
            <a:off x="684000" y="2277000"/>
            <a:ext cx="144020" cy="64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A29D592B-D655-4FB4-86A5-D928C04EFFA7}"/>
              </a:ext>
            </a:extLst>
          </p:cNvPr>
          <p:cNvSpPr/>
          <p:nvPr/>
        </p:nvSpPr>
        <p:spPr>
          <a:xfrm>
            <a:off x="2556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1497D70D-E381-4550-847E-759E04B1D9B2}"/>
              </a:ext>
            </a:extLst>
          </p:cNvPr>
          <p:cNvSpPr/>
          <p:nvPr/>
        </p:nvSpPr>
        <p:spPr>
          <a:xfrm>
            <a:off x="2772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100" name="Rechteck 99">
            <a:extLst>
              <a:ext uri="{FF2B5EF4-FFF2-40B4-BE49-F238E27FC236}">
                <a16:creationId xmlns:a16="http://schemas.microsoft.com/office/drawing/2014/main" id="{64257E95-4509-4619-9982-27625255302A}"/>
              </a:ext>
            </a:extLst>
          </p:cNvPr>
          <p:cNvSpPr/>
          <p:nvPr/>
        </p:nvSpPr>
        <p:spPr>
          <a:xfrm>
            <a:off x="68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0" name="Rechteck 9">
            <a:extLst>
              <a:ext uri="{FF2B5EF4-FFF2-40B4-BE49-F238E27FC236}">
                <a16:creationId xmlns:a16="http://schemas.microsoft.com/office/drawing/2014/main" id="{705104D4-2968-419F-A977-778584087C9E}"/>
              </a:ext>
            </a:extLst>
          </p:cNvPr>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11" name="Rechteck 10">
            <a:extLst>
              <a:ext uri="{FF2B5EF4-FFF2-40B4-BE49-F238E27FC236}">
                <a16:creationId xmlns:a16="http://schemas.microsoft.com/office/drawing/2014/main" id="{9CC396C3-87DD-4CC6-AC0A-12AE934C95E6}"/>
              </a:ext>
            </a:extLst>
          </p:cNvPr>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range</a:t>
            </a:r>
          </a:p>
        </p:txBody>
      </p:sp>
      <p:sp>
        <p:nvSpPr>
          <p:cNvPr id="12" name="Rechteck 11">
            <a:extLst>
              <a:ext uri="{FF2B5EF4-FFF2-40B4-BE49-F238E27FC236}">
                <a16:creationId xmlns:a16="http://schemas.microsoft.com/office/drawing/2014/main" id="{603A7117-937A-49BF-A7B6-130AEACD7A11}"/>
              </a:ext>
            </a:extLst>
          </p:cNvPr>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columns accessed</a:t>
            </a:r>
          </a:p>
        </p:txBody>
      </p:sp>
      <p:sp>
        <p:nvSpPr>
          <p:cNvPr id="13" name="Rechteck 12">
            <a:extLst>
              <a:ext uri="{FF2B5EF4-FFF2-40B4-BE49-F238E27FC236}">
                <a16:creationId xmlns:a16="http://schemas.microsoft.com/office/drawing/2014/main" id="{6E16EF74-6422-4C45-928E-05B8B8C2A077}"/>
              </a:ext>
            </a:extLst>
          </p:cNvPr>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a:t>
            </a:r>
          </a:p>
        </p:txBody>
      </p:sp>
      <p:sp>
        <p:nvSpPr>
          <p:cNvPr id="109" name="Rechteck 108">
            <a:extLst>
              <a:ext uri="{FF2B5EF4-FFF2-40B4-BE49-F238E27FC236}">
                <a16:creationId xmlns:a16="http://schemas.microsoft.com/office/drawing/2014/main" id="{BD7F5C09-1094-403C-8E98-77EDF104B686}"/>
              </a:ext>
            </a:extLst>
          </p:cNvPr>
          <p:cNvSpPr/>
          <p:nvPr/>
        </p:nvSpPr>
        <p:spPr>
          <a:xfrm>
            <a:off x="2556000" y="1845000"/>
            <a:ext cx="14400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D63719B8-E275-4AAB-AD3A-4AF4CC5AC57B}"/>
              </a:ext>
            </a:extLst>
          </p:cNvPr>
          <p:cNvSpPr/>
          <p:nvPr/>
        </p:nvSpPr>
        <p:spPr>
          <a:xfrm>
            <a:off x="4428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DA213D13-44F4-4342-B3EA-0ED212F75239}"/>
              </a:ext>
            </a:extLst>
          </p:cNvPr>
          <p:cNvSpPr/>
          <p:nvPr/>
        </p:nvSpPr>
        <p:spPr>
          <a:xfrm>
            <a:off x="4644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112" name="Rechteck 111">
            <a:extLst>
              <a:ext uri="{FF2B5EF4-FFF2-40B4-BE49-F238E27FC236}">
                <a16:creationId xmlns:a16="http://schemas.microsoft.com/office/drawing/2014/main" id="{00352E9A-45F9-4E0C-81FF-6D01F15E4806}"/>
              </a:ext>
            </a:extLst>
          </p:cNvPr>
          <p:cNvSpPr/>
          <p:nvPr/>
        </p:nvSpPr>
        <p:spPr>
          <a:xfrm>
            <a:off x="4428000" y="2997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59DFE656-DD76-434D-BC30-F8B698AA4F58}"/>
              </a:ext>
            </a:extLst>
          </p:cNvPr>
          <p:cNvSpPr/>
          <p:nvPr/>
        </p:nvSpPr>
        <p:spPr>
          <a:xfrm>
            <a:off x="4428000" y="314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7BD3DA4B-120C-4C13-BF85-81B58972DDEB}"/>
              </a:ext>
            </a:extLst>
          </p:cNvPr>
          <p:cNvSpPr/>
          <p:nvPr/>
        </p:nvSpPr>
        <p:spPr>
          <a:xfrm>
            <a:off x="4644000" y="306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Davos</a:t>
            </a:r>
            <a:endParaRPr lang="en-US" sz="800" u="sng" dirty="0">
              <a:solidFill>
                <a:schemeClr val="tx1"/>
              </a:solidFill>
            </a:endParaRPr>
          </a:p>
        </p:txBody>
      </p:sp>
      <p:sp>
        <p:nvSpPr>
          <p:cNvPr id="116" name="Rechteck 115">
            <a:extLst>
              <a:ext uri="{FF2B5EF4-FFF2-40B4-BE49-F238E27FC236}">
                <a16:creationId xmlns:a16="http://schemas.microsoft.com/office/drawing/2014/main" id="{E17DFB44-D1A0-4FE8-87C3-F6EC7AB0D6D9}"/>
              </a:ext>
            </a:extLst>
          </p:cNvPr>
          <p:cNvSpPr/>
          <p:nvPr/>
        </p:nvSpPr>
        <p:spPr>
          <a:xfrm>
            <a:off x="6300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FBD90E16-D7C9-42CE-8F45-C0FD59F9DC18}"/>
              </a:ext>
            </a:extLst>
          </p:cNvPr>
          <p:cNvSpPr/>
          <p:nvPr/>
        </p:nvSpPr>
        <p:spPr>
          <a:xfrm>
            <a:off x="7100200" y="3285000"/>
            <a:ext cx="17198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a:t>
            </a:r>
          </a:p>
          <a:p>
            <a:pPr>
              <a:lnSpc>
                <a:spcPct val="95000"/>
              </a:lnSpc>
            </a:pPr>
            <a:r>
              <a:rPr lang="en-US" sz="1000" dirty="0">
                <a:solidFill>
                  <a:schemeClr val="tx1"/>
                </a:solidFill>
              </a:rPr>
              <a:t>[ table: Moving along, ]</a:t>
            </a:r>
          </a:p>
        </p:txBody>
      </p:sp>
      <p:sp>
        <p:nvSpPr>
          <p:cNvPr id="118" name="Rechteck 117">
            <a:extLst>
              <a:ext uri="{FF2B5EF4-FFF2-40B4-BE49-F238E27FC236}">
                <a16:creationId xmlns:a16="http://schemas.microsoft.com/office/drawing/2014/main" id="{9001188A-D31E-4EC5-88C4-F13371C46447}"/>
              </a:ext>
            </a:extLst>
          </p:cNvPr>
          <p:cNvSpPr/>
          <p:nvPr/>
        </p:nvSpPr>
        <p:spPr>
          <a:xfrm>
            <a:off x="7452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98BACE5F-479A-49B6-A8A5-35B202D8D5EF}"/>
              </a:ext>
            </a:extLst>
          </p:cNvPr>
          <p:cNvSpPr/>
          <p:nvPr/>
        </p:nvSpPr>
        <p:spPr>
          <a:xfrm>
            <a:off x="7452000" y="1773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2991688D-B0F3-46A9-94FE-CD4A15EAF087}"/>
              </a:ext>
            </a:extLst>
          </p:cNvPr>
          <p:cNvSpPr/>
          <p:nvPr/>
        </p:nvSpPr>
        <p:spPr>
          <a:xfrm>
            <a:off x="396000" y="3789000"/>
            <a:ext cx="64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or lookups, add a 2</a:t>
            </a:r>
            <a:r>
              <a:rPr lang="en-US" sz="1000" baseline="30000" dirty="0">
                <a:solidFill>
                  <a:schemeClr val="tx1"/>
                </a:solidFill>
              </a:rPr>
              <a:t>nd</a:t>
            </a:r>
            <a:r>
              <a:rPr lang="en-US" sz="1000" dirty="0">
                <a:solidFill>
                  <a:schemeClr val="tx1"/>
                </a:solidFill>
              </a:rPr>
              <a:t> column specifier  at the end and the corresponding values will be read out instead. Example: [ table: 1, 12.., Moving along ]</a:t>
            </a:r>
          </a:p>
        </p:txBody>
      </p:sp>
    </p:spTree>
    <p:extLst>
      <p:ext uri="{BB962C8B-B14F-4D97-AF65-F5344CB8AC3E}">
        <p14:creationId xmlns:p14="http://schemas.microsoft.com/office/powerpoint/2010/main" val="36756359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Rechteck 186">
            <a:extLst>
              <a:ext uri="{FF2B5EF4-FFF2-40B4-BE49-F238E27FC236}">
                <a16:creationId xmlns:a16="http://schemas.microsoft.com/office/drawing/2014/main" id="{643A480D-E73D-462A-986C-52FEE163B673}"/>
              </a:ext>
            </a:extLst>
          </p:cNvPr>
          <p:cNvSpPr/>
          <p:nvPr/>
        </p:nvSpPr>
        <p:spPr>
          <a:xfrm>
            <a:off x="4716000" y="1845000"/>
            <a:ext cx="648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Matrix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40000" y="1845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Ranges</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Undelimited Range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7,4}, {12, 4, 8}]</a:t>
            </a:r>
          </a:p>
          <a:p>
            <a:pPr>
              <a:lnSpc>
                <a:spcPct val="95000"/>
              </a:lnSpc>
            </a:pPr>
            <a:r>
              <a:rPr lang="en-US" sz="1000" dirty="0">
                <a:solidFill>
                  <a:schemeClr val="tx1"/>
                </a:solidFill>
              </a:rPr>
              <a:t>[ table : {City, Moving along, </a:t>
            </a:r>
          </a:p>
          <a:p>
            <a:pPr>
              <a:lnSpc>
                <a:spcPct val="95000"/>
              </a:lnSpc>
            </a:pPr>
            <a:r>
              <a:rPr lang="en-US" sz="1000" dirty="0">
                <a:solidFill>
                  <a:schemeClr val="tx1"/>
                </a:solidFill>
              </a:rPr>
              <a:t>   Famous attraction}, </a:t>
            </a:r>
          </a:p>
          <a:p>
            <a:pPr>
              <a:lnSpc>
                <a:spcPct val="95000"/>
              </a:lnSpc>
            </a:pPr>
            <a:r>
              <a:rPr lang="en-US" sz="1000" dirty="0">
                <a:solidFill>
                  <a:schemeClr val="tx1"/>
                </a:solidFill>
              </a:rPr>
              <a:t>   {-</a:t>
            </a:r>
            <a:r>
              <a:rPr lang="en-US" sz="1000" dirty="0" err="1">
                <a:solidFill>
                  <a:schemeClr val="tx1"/>
                </a:solidFill>
              </a:rPr>
              <a:t>3,Boston</a:t>
            </a:r>
            <a:r>
              <a:rPr lang="en-US" sz="1000" dirty="0">
                <a:solidFill>
                  <a:schemeClr val="tx1"/>
                </a:solidFill>
              </a:rPr>
              <a:t>,-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State/Province', 12..]</a:t>
            </a:r>
          </a:p>
          <a:p>
            <a:pPr>
              <a:lnSpc>
                <a:spcPct val="95000"/>
              </a:lnSpc>
            </a:pPr>
            <a:r>
              <a:rPr lang="en-US" sz="1000" dirty="0">
                <a:solidFill>
                  <a:schemeClr val="tx1"/>
                </a:solidFill>
              </a:rPr>
              <a:t>[ table: </a:t>
            </a:r>
            <a:r>
              <a:rPr lang="en-US" sz="1000" dirty="0" err="1">
                <a:solidFill>
                  <a:schemeClr val="tx1"/>
                </a:solidFill>
              </a:rPr>
              <a:t>1..Inhabitants</a:t>
            </a:r>
            <a:r>
              <a:rPr lang="en-US" sz="1000" dirty="0">
                <a:solidFill>
                  <a:schemeClr val="tx1"/>
                </a:solidFill>
              </a:rPr>
              <a:t>, </a:t>
            </a:r>
          </a:p>
          <a:p>
            <a:pPr>
              <a:lnSpc>
                <a:spcPct val="95000"/>
              </a:lnSpc>
            </a:pPr>
            <a:r>
              <a:rPr lang="en-US" sz="1000" dirty="0">
                <a:solidFill>
                  <a:schemeClr val="tx1"/>
                </a:solidFill>
              </a:rPr>
              <a:t>   </a:t>
            </a:r>
            <a:r>
              <a:rPr lang="en-US" sz="1000" dirty="0" err="1">
                <a:solidFill>
                  <a:schemeClr val="tx1"/>
                </a:solidFill>
              </a:rPr>
              <a:t>Boston..6</a:t>
            </a:r>
            <a:r>
              <a:rPr lang="en-US" sz="1000" dirty="0">
                <a:solidFill>
                  <a:schemeClr val="tx1"/>
                </a:solidFill>
              </a:rPr>
              <a:t>] );</a:t>
            </a:r>
          </a:p>
          <a:p>
            <a:pPr>
              <a:lnSpc>
                <a:spcPct val="95000"/>
              </a:lnSpc>
            </a:pPr>
            <a:r>
              <a:rPr lang="en-US" sz="1000" dirty="0">
                <a:solidFill>
                  <a:schemeClr val="tx1"/>
                </a:solidFill>
              </a:rPr>
              <a:t>[ table: Inhabitants .. 'Alt. (m)',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 :'*T*'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4" name="Rechteck 193"/>
          <p:cNvSpPr/>
          <p:nvPr/>
        </p:nvSpPr>
        <p:spPr>
          <a:xfrm>
            <a:off x="25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268000" y="249294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oston</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 ]</a:t>
            </a:r>
          </a:p>
          <a:p>
            <a:pPr>
              <a:lnSpc>
                <a:spcPct val="95000"/>
              </a:lnSpc>
            </a:pPr>
            <a:r>
              <a:rPr lang="en-US" sz="1000" dirty="0">
                <a:solidFill>
                  <a:schemeClr val="tx1"/>
                </a:solidFill>
              </a:rPr>
              <a:t>[ table : .., .. ]</a:t>
            </a:r>
          </a:p>
          <a:p>
            <a:pPr>
              <a:lnSpc>
                <a:spcPct val="95000"/>
              </a:lnSpc>
            </a:pPr>
            <a:r>
              <a:rPr lang="en-US" sz="1000" dirty="0">
                <a:solidFill>
                  <a:schemeClr val="tx1"/>
                </a:solidFill>
              </a:rPr>
              <a:t>[ table : , ]  // includes header row</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90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Freedom trail</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87" name="Rechteck 86">
            <a:extLst>
              <a:ext uri="{FF2B5EF4-FFF2-40B4-BE49-F238E27FC236}">
                <a16:creationId xmlns:a16="http://schemas.microsoft.com/office/drawing/2014/main" id="{7E7F6AF2-7B5B-4F19-B572-3F8271C6ADA3}"/>
              </a:ext>
            </a:extLst>
          </p:cNvPr>
          <p:cNvSpPr/>
          <p:nvPr/>
        </p:nvSpPr>
        <p:spPr>
          <a:xfrm>
            <a:off x="540000" y="249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EA9B15D1-F70F-4AB2-ABC6-7D7C66E313CE}"/>
              </a:ext>
            </a:extLst>
          </p:cNvPr>
          <p:cNvSpPr/>
          <p:nvPr/>
        </p:nvSpPr>
        <p:spPr>
          <a:xfrm>
            <a:off x="252000" y="249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107" name="Rechteck 106">
            <a:extLst>
              <a:ext uri="{FF2B5EF4-FFF2-40B4-BE49-F238E27FC236}">
                <a16:creationId xmlns:a16="http://schemas.microsoft.com/office/drawing/2014/main" id="{BF944748-D1D0-448B-B6BF-1C0D53E9D34D}"/>
              </a:ext>
            </a:extLst>
          </p:cNvPr>
          <p:cNvSpPr/>
          <p:nvPr/>
        </p:nvSpPr>
        <p:spPr>
          <a:xfrm>
            <a:off x="46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08" name="Rechteck 107">
            <a:extLst>
              <a:ext uri="{FF2B5EF4-FFF2-40B4-BE49-F238E27FC236}">
                <a16:creationId xmlns:a16="http://schemas.microsoft.com/office/drawing/2014/main" id="{00016715-3018-46BC-BA97-920546BE3597}"/>
              </a:ext>
            </a:extLst>
          </p:cNvPr>
          <p:cNvSpPr/>
          <p:nvPr/>
        </p:nvSpPr>
        <p:spPr>
          <a:xfrm>
            <a:off x="1188000" y="249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75AF786D-D88B-4BB9-830A-CEB83178E4A6}"/>
              </a:ext>
            </a:extLst>
          </p:cNvPr>
          <p:cNvSpPr/>
          <p:nvPr/>
        </p:nvSpPr>
        <p:spPr>
          <a:xfrm>
            <a:off x="900000" y="256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Doge's Palace</a:t>
            </a:r>
          </a:p>
        </p:txBody>
      </p:sp>
      <p:sp>
        <p:nvSpPr>
          <p:cNvPr id="115" name="Rechteck 114">
            <a:extLst>
              <a:ext uri="{FF2B5EF4-FFF2-40B4-BE49-F238E27FC236}">
                <a16:creationId xmlns:a16="http://schemas.microsoft.com/office/drawing/2014/main" id="{953F5C71-BA3F-4C6B-9F22-CCF7CD5F60E2}"/>
              </a:ext>
            </a:extLst>
          </p:cNvPr>
          <p:cNvSpPr/>
          <p:nvPr/>
        </p:nvSpPr>
        <p:spPr>
          <a:xfrm>
            <a:off x="540000" y="285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DD9D410B-CA11-4F8A-82EF-E6302FE7082C}"/>
              </a:ext>
            </a:extLst>
          </p:cNvPr>
          <p:cNvSpPr/>
          <p:nvPr/>
        </p:nvSpPr>
        <p:spPr>
          <a:xfrm>
            <a:off x="252000" y="285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17" name="Rechteck 116">
            <a:extLst>
              <a:ext uri="{FF2B5EF4-FFF2-40B4-BE49-F238E27FC236}">
                <a16:creationId xmlns:a16="http://schemas.microsoft.com/office/drawing/2014/main" id="{7B1A0532-641B-432F-AC78-D26EBDE590D9}"/>
              </a:ext>
            </a:extLst>
          </p:cNvPr>
          <p:cNvSpPr/>
          <p:nvPr/>
        </p:nvSpPr>
        <p:spPr>
          <a:xfrm>
            <a:off x="468000" y="29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Zürich</a:t>
            </a:r>
          </a:p>
        </p:txBody>
      </p:sp>
      <p:sp>
        <p:nvSpPr>
          <p:cNvPr id="118" name="Rechteck 117">
            <a:extLst>
              <a:ext uri="{FF2B5EF4-FFF2-40B4-BE49-F238E27FC236}">
                <a16:creationId xmlns:a16="http://schemas.microsoft.com/office/drawing/2014/main" id="{E3578767-720C-42B4-8B3B-618790C48958}"/>
              </a:ext>
            </a:extLst>
          </p:cNvPr>
          <p:cNvSpPr/>
          <p:nvPr/>
        </p:nvSpPr>
        <p:spPr>
          <a:xfrm>
            <a:off x="1188000" y="285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5FB81284-2653-4D9B-BB00-78BD8C499492}"/>
              </a:ext>
            </a:extLst>
          </p:cNvPr>
          <p:cNvSpPr/>
          <p:nvPr/>
        </p:nvSpPr>
        <p:spPr>
          <a:xfrm>
            <a:off x="900000" y="292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treet Parade</a:t>
            </a:r>
          </a:p>
        </p:txBody>
      </p:sp>
      <p:sp>
        <p:nvSpPr>
          <p:cNvPr id="3" name="Rechteck 2">
            <a:extLst>
              <a:ext uri="{FF2B5EF4-FFF2-40B4-BE49-F238E27FC236}">
                <a16:creationId xmlns:a16="http://schemas.microsoft.com/office/drawing/2014/main" id="{7011C260-45CE-4CFC-8530-995A0325DA9B}"/>
              </a:ext>
            </a:extLst>
          </p:cNvPr>
          <p:cNvSpPr/>
          <p:nvPr/>
        </p:nvSpPr>
        <p:spPr>
          <a:xfrm>
            <a:off x="1835980" y="2133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8E4C74E5-5692-4912-BCA0-1A0A2061BBB8}"/>
              </a:ext>
            </a:extLst>
          </p:cNvPr>
          <p:cNvSpPr/>
          <p:nvPr/>
        </p:nvSpPr>
        <p:spPr>
          <a:xfrm>
            <a:off x="1835980" y="249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 name="Rechteck 6">
            <a:extLst>
              <a:ext uri="{FF2B5EF4-FFF2-40B4-BE49-F238E27FC236}">
                <a16:creationId xmlns:a16="http://schemas.microsoft.com/office/drawing/2014/main" id="{3F8FD71A-F90B-4DDF-BBA1-ACD3418FF18C}"/>
              </a:ext>
            </a:extLst>
          </p:cNvPr>
          <p:cNvSpPr/>
          <p:nvPr/>
        </p:nvSpPr>
        <p:spPr>
          <a:xfrm>
            <a:off x="1835980" y="285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CF7AB2FD-67BE-4774-85F9-39994E807F05}"/>
              </a:ext>
            </a:extLst>
          </p:cNvPr>
          <p:cNvSpPr/>
          <p:nvPr/>
        </p:nvSpPr>
        <p:spPr>
          <a:xfrm>
            <a:off x="1548000" y="191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9" name="Rechteck 8">
            <a:extLst>
              <a:ext uri="{FF2B5EF4-FFF2-40B4-BE49-F238E27FC236}">
                <a16:creationId xmlns:a16="http://schemas.microsoft.com/office/drawing/2014/main" id="{35A20C4E-6BB6-42A4-9069-1CF3CB973558}"/>
              </a:ext>
            </a:extLst>
          </p:cNvPr>
          <p:cNvSpPr/>
          <p:nvPr/>
        </p:nvSpPr>
        <p:spPr>
          <a:xfrm>
            <a:off x="15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0" name="Rechteck 9">
            <a:extLst>
              <a:ext uri="{FF2B5EF4-FFF2-40B4-BE49-F238E27FC236}">
                <a16:creationId xmlns:a16="http://schemas.microsoft.com/office/drawing/2014/main" id="{163BBBEF-5A24-43D9-B509-319F2D37F414}"/>
              </a:ext>
            </a:extLst>
          </p:cNvPr>
          <p:cNvSpPr/>
          <p:nvPr/>
        </p:nvSpPr>
        <p:spPr>
          <a:xfrm>
            <a:off x="1548000" y="263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sp>
        <p:nvSpPr>
          <p:cNvPr id="11" name="Rechteck 10">
            <a:extLst>
              <a:ext uri="{FF2B5EF4-FFF2-40B4-BE49-F238E27FC236}">
                <a16:creationId xmlns:a16="http://schemas.microsoft.com/office/drawing/2014/main" id="{5A9423C9-B3BD-4FAD-B8F0-2669F8CFFB2F}"/>
              </a:ext>
            </a:extLst>
          </p:cNvPr>
          <p:cNvSpPr/>
          <p:nvPr/>
        </p:nvSpPr>
        <p:spPr>
          <a:xfrm>
            <a:off x="1188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endParaRPr lang="en-US" sz="800" dirty="0">
              <a:solidFill>
                <a:schemeClr val="tx1"/>
              </a:solidFill>
            </a:endParaRPr>
          </a:p>
          <a:p>
            <a:pPr algn="ctr"/>
            <a:r>
              <a:rPr lang="en-US" sz="800" dirty="0">
                <a:solidFill>
                  <a:schemeClr val="tx1"/>
                </a:solidFill>
              </a:rPr>
              <a:t>4/4</a:t>
            </a: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141" name="Rechteck 140">
            <a:extLst>
              <a:ext uri="{FF2B5EF4-FFF2-40B4-BE49-F238E27FC236}">
                <a16:creationId xmlns:a16="http://schemas.microsoft.com/office/drawing/2014/main" id="{111852E9-11AF-4917-8D8E-E2937C3BCDED}"/>
              </a:ext>
            </a:extLst>
          </p:cNvPr>
          <p:cNvSpPr/>
          <p:nvPr/>
        </p:nvSpPr>
        <p:spPr>
          <a:xfrm>
            <a:off x="1692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7/-1</a:t>
            </a:r>
          </a:p>
          <a:p>
            <a:pPr algn="ctr"/>
            <a:r>
              <a:rPr lang="en-US" sz="800" dirty="0">
                <a:solidFill>
                  <a:schemeClr val="tx1"/>
                </a:solidFill>
              </a:rPr>
              <a:t>Moving</a:t>
            </a:r>
          </a:p>
          <a:p>
            <a:pPr algn="ctr"/>
            <a:r>
              <a:rPr lang="en-US" sz="800" dirty="0">
                <a:solidFill>
                  <a:schemeClr val="tx1"/>
                </a:solidFill>
              </a:rPr>
              <a:t>along</a:t>
            </a:r>
          </a:p>
        </p:txBody>
      </p:sp>
      <p:sp>
        <p:nvSpPr>
          <p:cNvPr id="142" name="Rechteck 141">
            <a:extLst>
              <a:ext uri="{FF2B5EF4-FFF2-40B4-BE49-F238E27FC236}">
                <a16:creationId xmlns:a16="http://schemas.microsoft.com/office/drawing/2014/main" id="{20A62F8A-A0C4-4506-8F3D-077C7F783323}"/>
              </a:ext>
            </a:extLst>
          </p:cNvPr>
          <p:cNvSpPr/>
          <p:nvPr/>
        </p:nvSpPr>
        <p:spPr>
          <a:xfrm>
            <a:off x="540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1/-7</a:t>
            </a:r>
          </a:p>
          <a:p>
            <a:pPr algn="ctr"/>
            <a:r>
              <a:rPr lang="en-US" sz="800" dirty="0">
                <a:solidFill>
                  <a:schemeClr val="tx1"/>
                </a:solidFill>
              </a:rPr>
              <a:t>City</a:t>
            </a:r>
          </a:p>
        </p:txBody>
      </p:sp>
      <p:sp>
        <p:nvSpPr>
          <p:cNvPr id="143" name="Rechteck 142">
            <a:extLst>
              <a:ext uri="{FF2B5EF4-FFF2-40B4-BE49-F238E27FC236}">
                <a16:creationId xmlns:a16="http://schemas.microsoft.com/office/drawing/2014/main" id="{69E93157-6E15-4A22-B53A-D81F5ED9EB7C}"/>
              </a:ext>
            </a:extLst>
          </p:cNvPr>
          <p:cNvSpPr/>
          <p:nvPr/>
        </p:nvSpPr>
        <p:spPr>
          <a:xfrm>
            <a:off x="262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45" name="Rechteck 144">
            <a:extLst>
              <a:ext uri="{FF2B5EF4-FFF2-40B4-BE49-F238E27FC236}">
                <a16:creationId xmlns:a16="http://schemas.microsoft.com/office/drawing/2014/main" id="{2F9A3FCC-E5AF-4EDE-89EE-FCB1D941D9D2}"/>
              </a:ext>
            </a:extLst>
          </p:cNvPr>
          <p:cNvSpPr/>
          <p:nvPr/>
        </p:nvSpPr>
        <p:spPr>
          <a:xfrm>
            <a:off x="2412000" y="249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3BE4E10E-4288-4F17-82D6-500BBFD35568}"/>
              </a:ext>
            </a:extLst>
          </p:cNvPr>
          <p:cNvSpPr/>
          <p:nvPr/>
        </p:nvSpPr>
        <p:spPr>
          <a:xfrm>
            <a:off x="2268000" y="256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ITA</a:t>
            </a:r>
          </a:p>
        </p:txBody>
      </p:sp>
      <p:sp>
        <p:nvSpPr>
          <p:cNvPr id="147" name="Rechteck 146">
            <a:extLst>
              <a:ext uri="{FF2B5EF4-FFF2-40B4-BE49-F238E27FC236}">
                <a16:creationId xmlns:a16="http://schemas.microsoft.com/office/drawing/2014/main" id="{A921F432-A159-421C-86B1-0CDEE36A9101}"/>
              </a:ext>
            </a:extLst>
          </p:cNvPr>
          <p:cNvSpPr/>
          <p:nvPr/>
        </p:nvSpPr>
        <p:spPr>
          <a:xfrm>
            <a:off x="2268000" y="292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8" name="Rechteck 147">
            <a:extLst>
              <a:ext uri="{FF2B5EF4-FFF2-40B4-BE49-F238E27FC236}">
                <a16:creationId xmlns:a16="http://schemas.microsoft.com/office/drawing/2014/main" id="{9B700E25-7A82-499F-B5EC-3DA4FEB1B5ED}"/>
              </a:ext>
            </a:extLst>
          </p:cNvPr>
          <p:cNvSpPr/>
          <p:nvPr/>
        </p:nvSpPr>
        <p:spPr>
          <a:xfrm>
            <a:off x="2412000" y="2924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90BACD2A-9571-4589-B6FC-D267DABB7E27}"/>
              </a:ext>
            </a:extLst>
          </p:cNvPr>
          <p:cNvSpPr/>
          <p:nvPr/>
        </p:nvSpPr>
        <p:spPr>
          <a:xfrm>
            <a:off x="2628000" y="270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ienna</a:t>
            </a:r>
          </a:p>
        </p:txBody>
      </p:sp>
      <p:sp>
        <p:nvSpPr>
          <p:cNvPr id="150" name="Rechteck 149">
            <a:extLst>
              <a:ext uri="{FF2B5EF4-FFF2-40B4-BE49-F238E27FC236}">
                <a16:creationId xmlns:a16="http://schemas.microsoft.com/office/drawing/2014/main" id="{98C3D945-A17E-4D29-AF38-62C2A438FF67}"/>
              </a:ext>
            </a:extLst>
          </p:cNvPr>
          <p:cNvSpPr/>
          <p:nvPr/>
        </p:nvSpPr>
        <p:spPr>
          <a:xfrm>
            <a:off x="2268000" y="270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AUT</a:t>
            </a:r>
          </a:p>
        </p:txBody>
      </p:sp>
      <p:sp>
        <p:nvSpPr>
          <p:cNvPr id="151" name="Rechteck 150">
            <a:extLst>
              <a:ext uri="{FF2B5EF4-FFF2-40B4-BE49-F238E27FC236}">
                <a16:creationId xmlns:a16="http://schemas.microsoft.com/office/drawing/2014/main" id="{D2A37FBC-F35B-483F-9C21-1B94068AB16F}"/>
              </a:ext>
            </a:extLst>
          </p:cNvPr>
          <p:cNvSpPr/>
          <p:nvPr/>
        </p:nvSpPr>
        <p:spPr>
          <a:xfrm>
            <a:off x="2268000" y="285300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C03D292F-738D-41AE-B417-679630C4DF05}"/>
              </a:ext>
            </a:extLst>
          </p:cNvPr>
          <p:cNvSpPr/>
          <p:nvPr/>
        </p:nvSpPr>
        <p:spPr>
          <a:xfrm>
            <a:off x="2412000" y="285306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E5E27AD1-51AF-456C-8362-AB8D821E5C9F}"/>
              </a:ext>
            </a:extLst>
          </p:cNvPr>
          <p:cNvSpPr/>
          <p:nvPr/>
        </p:nvSpPr>
        <p:spPr>
          <a:xfrm>
            <a:off x="2628000" y="299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angkok</a:t>
            </a:r>
          </a:p>
        </p:txBody>
      </p:sp>
      <p:sp>
        <p:nvSpPr>
          <p:cNvPr id="154" name="Rechteck 153">
            <a:extLst>
              <a:ext uri="{FF2B5EF4-FFF2-40B4-BE49-F238E27FC236}">
                <a16:creationId xmlns:a16="http://schemas.microsoft.com/office/drawing/2014/main" id="{B0A4C36A-E8F3-4B83-B963-CFBA4CBF747A}"/>
              </a:ext>
            </a:extLst>
          </p:cNvPr>
          <p:cNvSpPr/>
          <p:nvPr/>
        </p:nvSpPr>
        <p:spPr>
          <a:xfrm>
            <a:off x="2268000" y="299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err="1">
                <a:solidFill>
                  <a:schemeClr val="tx1"/>
                </a:solidFill>
              </a:rPr>
              <a:t>THA</a:t>
            </a:r>
            <a:endParaRPr lang="en-US" sz="800" dirty="0">
              <a:solidFill>
                <a:schemeClr val="tx1"/>
              </a:solidFill>
            </a:endParaRPr>
          </a:p>
        </p:txBody>
      </p:sp>
      <p:cxnSp>
        <p:nvCxnSpPr>
          <p:cNvPr id="155" name="Gerade Verbindung 94">
            <a:extLst>
              <a:ext uri="{FF2B5EF4-FFF2-40B4-BE49-F238E27FC236}">
                <a16:creationId xmlns:a16="http://schemas.microsoft.com/office/drawing/2014/main" id="{1EF80AA1-7552-4B15-AEBD-7480FC913B7B}"/>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Gerade Verbindung 94">
            <a:extLst>
              <a:ext uri="{FF2B5EF4-FFF2-40B4-BE49-F238E27FC236}">
                <a16:creationId xmlns:a16="http://schemas.microsoft.com/office/drawing/2014/main" id="{5EFEA6A6-C021-43D0-ABBE-A97F7F34E24F}"/>
              </a:ext>
            </a:extLst>
          </p:cNvPr>
          <p:cNvCxnSpPr/>
          <p:nvPr/>
        </p:nvCxnSpPr>
        <p:spPr>
          <a:xfrm>
            <a:off x="4572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7" name="Gerade Verbindung 94">
            <a:extLst>
              <a:ext uri="{FF2B5EF4-FFF2-40B4-BE49-F238E27FC236}">
                <a16:creationId xmlns:a16="http://schemas.microsoft.com/office/drawing/2014/main" id="{5A8124A7-ED9B-41FA-BFF7-2B452D7BDF39}"/>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8" name="Rechteck 157">
            <a:extLst>
              <a:ext uri="{FF2B5EF4-FFF2-40B4-BE49-F238E27FC236}">
                <a16:creationId xmlns:a16="http://schemas.microsoft.com/office/drawing/2014/main" id="{998BCDA0-F84E-4B45-A8BE-A0EC2ABAF003}"/>
              </a:ext>
            </a:extLst>
          </p:cNvPr>
          <p:cNvSpPr/>
          <p:nvPr/>
        </p:nvSpPr>
        <p:spPr>
          <a:xfrm>
            <a:off x="44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62" name="Rechteck 161">
            <a:extLst>
              <a:ext uri="{FF2B5EF4-FFF2-40B4-BE49-F238E27FC236}">
                <a16:creationId xmlns:a16="http://schemas.microsoft.com/office/drawing/2014/main" id="{F96D71AD-8946-4486-A2FB-B845F307A7D7}"/>
              </a:ext>
            </a:extLst>
          </p:cNvPr>
          <p:cNvSpPr/>
          <p:nvPr/>
        </p:nvSpPr>
        <p:spPr>
          <a:xfrm>
            <a:off x="41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63" name="Gerade Verbindung 94">
            <a:extLst>
              <a:ext uri="{FF2B5EF4-FFF2-40B4-BE49-F238E27FC236}">
                <a16:creationId xmlns:a16="http://schemas.microsoft.com/office/drawing/2014/main" id="{42D46F15-F171-4D0F-8E1F-C7C827C3D6E1}"/>
              </a:ext>
            </a:extLst>
          </p:cNvPr>
          <p:cNvCxnSpPr/>
          <p:nvPr/>
        </p:nvCxnSpPr>
        <p:spPr>
          <a:xfrm>
            <a:off x="471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96EECC82-E343-4468-84AB-9C7BBB7E23BC}"/>
              </a:ext>
            </a:extLst>
          </p:cNvPr>
          <p:cNvSpPr/>
          <p:nvPr/>
        </p:nvSpPr>
        <p:spPr>
          <a:xfrm>
            <a:off x="4572000" y="1341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State/</a:t>
            </a:r>
            <a:br>
              <a:rPr lang="en-US" sz="800" dirty="0">
                <a:solidFill>
                  <a:schemeClr val="tx1"/>
                </a:solidFill>
              </a:rPr>
            </a:br>
            <a:r>
              <a:rPr lang="en-US" sz="800" dirty="0">
                <a:solidFill>
                  <a:schemeClr val="tx1"/>
                </a:solidFill>
              </a:rPr>
              <a:t>Province</a:t>
            </a:r>
          </a:p>
        </p:txBody>
      </p:sp>
      <p:sp>
        <p:nvSpPr>
          <p:cNvPr id="165" name="Rechteck 164">
            <a:extLst>
              <a:ext uri="{FF2B5EF4-FFF2-40B4-BE49-F238E27FC236}">
                <a16:creationId xmlns:a16="http://schemas.microsoft.com/office/drawing/2014/main" id="{82DBD61F-8DBA-4FAF-AC10-86BE1ED30324}"/>
              </a:ext>
            </a:extLst>
          </p:cNvPr>
          <p:cNvSpPr/>
          <p:nvPr/>
        </p:nvSpPr>
        <p:spPr>
          <a:xfrm>
            <a:off x="4140000" y="314101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5BFA0279-CA5A-4474-82FD-9FE43EA7A4E1}"/>
              </a:ext>
            </a:extLst>
          </p:cNvPr>
          <p:cNvSpPr/>
          <p:nvPr/>
        </p:nvSpPr>
        <p:spPr>
          <a:xfrm>
            <a:off x="4283980" y="3141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61A6D35C-1B7C-4688-9EB7-108DEBD563A8}"/>
              </a:ext>
            </a:extLst>
          </p:cNvPr>
          <p:cNvSpPr/>
          <p:nvPr/>
        </p:nvSpPr>
        <p:spPr>
          <a:xfrm>
            <a:off x="4140000" y="3069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a:extLst>
              <a:ext uri="{FF2B5EF4-FFF2-40B4-BE49-F238E27FC236}">
                <a16:creationId xmlns:a16="http://schemas.microsoft.com/office/drawing/2014/main" id="{5149C8AF-2D23-429B-9F30-54B8F50E9DDB}"/>
              </a:ext>
            </a:extLst>
          </p:cNvPr>
          <p:cNvSpPr/>
          <p:nvPr/>
        </p:nvSpPr>
        <p:spPr>
          <a:xfrm>
            <a:off x="4283980" y="3068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a:extLst>
              <a:ext uri="{FF2B5EF4-FFF2-40B4-BE49-F238E27FC236}">
                <a16:creationId xmlns:a16="http://schemas.microsoft.com/office/drawing/2014/main" id="{B45E4A85-4484-4AD7-A7A7-5DACAD1545DF}"/>
              </a:ext>
            </a:extLst>
          </p:cNvPr>
          <p:cNvSpPr/>
          <p:nvPr/>
        </p:nvSpPr>
        <p:spPr>
          <a:xfrm>
            <a:off x="4140000" y="2997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a:extLst>
              <a:ext uri="{FF2B5EF4-FFF2-40B4-BE49-F238E27FC236}">
                <a16:creationId xmlns:a16="http://schemas.microsoft.com/office/drawing/2014/main" id="{B8A164BC-7F60-43EA-A451-E0BF13B38F89}"/>
              </a:ext>
            </a:extLst>
          </p:cNvPr>
          <p:cNvSpPr/>
          <p:nvPr/>
        </p:nvSpPr>
        <p:spPr>
          <a:xfrm>
            <a:off x="4283980" y="299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9D886BC5-31B3-4F59-92C2-663FD87BB04E}"/>
              </a:ext>
            </a:extLst>
          </p:cNvPr>
          <p:cNvSpPr/>
          <p:nvPr/>
        </p:nvSpPr>
        <p:spPr>
          <a:xfrm>
            <a:off x="4284000" y="227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5219957C-1DFE-4A72-AC78-538BC70D09B9}"/>
              </a:ext>
            </a:extLst>
          </p:cNvPr>
          <p:cNvSpPr/>
          <p:nvPr/>
        </p:nvSpPr>
        <p:spPr>
          <a:xfrm>
            <a:off x="4284000" y="2204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1957F7D2-79E4-4B6A-9B01-0B9C0800A22C}"/>
              </a:ext>
            </a:extLst>
          </p:cNvPr>
          <p:cNvSpPr/>
          <p:nvPr/>
        </p:nvSpPr>
        <p:spPr>
          <a:xfrm>
            <a:off x="4284000" y="2132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0C805F3A-B7D9-418E-8BC5-CBA3F5B3C84D}"/>
              </a:ext>
            </a:extLst>
          </p:cNvPr>
          <p:cNvSpPr/>
          <p:nvPr/>
        </p:nvSpPr>
        <p:spPr>
          <a:xfrm>
            <a:off x="4572000" y="2276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7" name="Rechteck 176">
            <a:extLst>
              <a:ext uri="{FF2B5EF4-FFF2-40B4-BE49-F238E27FC236}">
                <a16:creationId xmlns:a16="http://schemas.microsoft.com/office/drawing/2014/main" id="{2831A858-DBF9-49A8-90DB-C04D057608D0}"/>
              </a:ext>
            </a:extLst>
          </p:cNvPr>
          <p:cNvSpPr/>
          <p:nvPr/>
        </p:nvSpPr>
        <p:spPr>
          <a:xfrm>
            <a:off x="4572000" y="2204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9" name="Rechteck 178">
            <a:extLst>
              <a:ext uri="{FF2B5EF4-FFF2-40B4-BE49-F238E27FC236}">
                <a16:creationId xmlns:a16="http://schemas.microsoft.com/office/drawing/2014/main" id="{45351750-AA90-446B-A6A0-4A892C41E032}"/>
              </a:ext>
            </a:extLst>
          </p:cNvPr>
          <p:cNvSpPr/>
          <p:nvPr/>
        </p:nvSpPr>
        <p:spPr>
          <a:xfrm>
            <a:off x="4572000" y="213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0" name="Rechteck 179">
            <a:extLst>
              <a:ext uri="{FF2B5EF4-FFF2-40B4-BE49-F238E27FC236}">
                <a16:creationId xmlns:a16="http://schemas.microsoft.com/office/drawing/2014/main" id="{498512E8-F2EE-4D9B-B52C-8E6D8EADC7C5}"/>
              </a:ext>
            </a:extLst>
          </p:cNvPr>
          <p:cNvSpPr/>
          <p:nvPr/>
        </p:nvSpPr>
        <p:spPr>
          <a:xfrm>
            <a:off x="4716000" y="2276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ADCE9F79-0373-4FD9-B36E-8DD0F3A8157A}"/>
              </a:ext>
            </a:extLst>
          </p:cNvPr>
          <p:cNvSpPr/>
          <p:nvPr/>
        </p:nvSpPr>
        <p:spPr>
          <a:xfrm>
            <a:off x="4716000" y="220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20788141-6AC5-48C8-B5AE-6A40A351A9C6}"/>
              </a:ext>
            </a:extLst>
          </p:cNvPr>
          <p:cNvSpPr/>
          <p:nvPr/>
        </p:nvSpPr>
        <p:spPr>
          <a:xfrm>
            <a:off x="4716000" y="2132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3" name="Rechteck 182">
            <a:extLst>
              <a:ext uri="{FF2B5EF4-FFF2-40B4-BE49-F238E27FC236}">
                <a16:creationId xmlns:a16="http://schemas.microsoft.com/office/drawing/2014/main" id="{D7D64DD9-E1B3-48A2-8E5E-0C9DB27F2DE5}"/>
              </a:ext>
            </a:extLst>
          </p:cNvPr>
          <p:cNvSpPr/>
          <p:nvPr/>
        </p:nvSpPr>
        <p:spPr>
          <a:xfrm>
            <a:off x="471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err="1">
                <a:solidFill>
                  <a:schemeClr val="tx1"/>
                </a:solidFill>
              </a:rPr>
              <a:t>Inhab</a:t>
            </a:r>
            <a:r>
              <a:rPr lang="en-US" sz="800" dirty="0">
                <a:solidFill>
                  <a:schemeClr val="tx1"/>
                </a:solidFill>
              </a:rPr>
              <a:t>.</a:t>
            </a:r>
          </a:p>
        </p:txBody>
      </p:sp>
      <p:cxnSp>
        <p:nvCxnSpPr>
          <p:cNvPr id="184" name="Gerade Verbindung 94">
            <a:extLst>
              <a:ext uri="{FF2B5EF4-FFF2-40B4-BE49-F238E27FC236}">
                <a16:creationId xmlns:a16="http://schemas.microsoft.com/office/drawing/2014/main" id="{E561B877-EBC1-48B4-883D-9DA603F8D282}"/>
              </a:ext>
            </a:extLst>
          </p:cNvPr>
          <p:cNvCxnSpPr/>
          <p:nvPr/>
        </p:nvCxnSpPr>
        <p:spPr>
          <a:xfrm>
            <a:off x="486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85" name="Rechteck 184">
            <a:extLst>
              <a:ext uri="{FF2B5EF4-FFF2-40B4-BE49-F238E27FC236}">
                <a16:creationId xmlns:a16="http://schemas.microsoft.com/office/drawing/2014/main" id="{3E6FA744-CE8F-469A-9F6C-52789161A1D2}"/>
              </a:ext>
            </a:extLst>
          </p:cNvPr>
          <p:cNvSpPr/>
          <p:nvPr/>
        </p:nvSpPr>
        <p:spPr>
          <a:xfrm>
            <a:off x="4212000" y="198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86" name="Rechteck 185">
            <a:extLst>
              <a:ext uri="{FF2B5EF4-FFF2-40B4-BE49-F238E27FC236}">
                <a16:creationId xmlns:a16="http://schemas.microsoft.com/office/drawing/2014/main" id="{53299677-3D1C-430A-83DE-83AE2EF706D8}"/>
              </a:ext>
            </a:extLst>
          </p:cNvPr>
          <p:cNvSpPr/>
          <p:nvPr/>
        </p:nvSpPr>
        <p:spPr>
          <a:xfrm>
            <a:off x="4212000" y="234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p>
        </p:txBody>
      </p:sp>
      <p:sp>
        <p:nvSpPr>
          <p:cNvPr id="188" name="Rechteck 187">
            <a:extLst>
              <a:ext uri="{FF2B5EF4-FFF2-40B4-BE49-F238E27FC236}">
                <a16:creationId xmlns:a16="http://schemas.microsoft.com/office/drawing/2014/main" id="{CA302A4C-9812-46FB-BCF9-5EDB131BD812}"/>
              </a:ext>
            </a:extLst>
          </p:cNvPr>
          <p:cNvSpPr/>
          <p:nvPr/>
        </p:nvSpPr>
        <p:spPr>
          <a:xfrm>
            <a:off x="5148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lt. (m)</a:t>
            </a:r>
          </a:p>
        </p:txBody>
      </p:sp>
      <p:cxnSp>
        <p:nvCxnSpPr>
          <p:cNvPr id="13" name="Gerader Verbinder 12">
            <a:extLst>
              <a:ext uri="{FF2B5EF4-FFF2-40B4-BE49-F238E27FC236}">
                <a16:creationId xmlns:a16="http://schemas.microsoft.com/office/drawing/2014/main" id="{BFA3BAC2-EA29-4B63-B72C-2D1756A3CEE2}"/>
              </a:ext>
            </a:extLst>
          </p:cNvPr>
          <p:cNvCxnSpPr>
            <a:cxnSpLocks/>
          </p:cNvCxnSpPr>
          <p:nvPr/>
        </p:nvCxnSpPr>
        <p:spPr>
          <a:xfrm>
            <a:off x="486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8195312C-0694-41DD-9317-671730A972E8}"/>
              </a:ext>
            </a:extLst>
          </p:cNvPr>
          <p:cNvCxnSpPr>
            <a:cxnSpLocks/>
          </p:cNvCxnSpPr>
          <p:nvPr/>
        </p:nvCxnSpPr>
        <p:spPr>
          <a:xfrm>
            <a:off x="522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0" name="Gerade Verbindung 94">
            <a:extLst>
              <a:ext uri="{FF2B5EF4-FFF2-40B4-BE49-F238E27FC236}">
                <a16:creationId xmlns:a16="http://schemas.microsoft.com/office/drawing/2014/main" id="{5A45DC25-B743-4D78-9DD9-DFE05752BE02}"/>
              </a:ext>
            </a:extLst>
          </p:cNvPr>
          <p:cNvCxnSpPr/>
          <p:nvPr/>
        </p:nvCxnSpPr>
        <p:spPr>
          <a:xfrm>
            <a:off x="522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91" name="Rechteck 190">
            <a:extLst>
              <a:ext uri="{FF2B5EF4-FFF2-40B4-BE49-F238E27FC236}">
                <a16:creationId xmlns:a16="http://schemas.microsoft.com/office/drawing/2014/main" id="{2F6F4912-E144-4E62-8EBE-9FD52E2CD542}"/>
              </a:ext>
            </a:extLst>
          </p:cNvPr>
          <p:cNvSpPr/>
          <p:nvPr/>
        </p:nvSpPr>
        <p:spPr>
          <a:xfrm>
            <a:off x="6012000" y="1845000"/>
            <a:ext cx="1584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23291615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hteck 226">
            <a:extLst>
              <a:ext uri="{FF2B5EF4-FFF2-40B4-BE49-F238E27FC236}">
                <a16:creationId xmlns:a16="http://schemas.microsoft.com/office/drawing/2014/main" id="{79322FA6-C068-44D3-95C2-34F1AD4E1812}"/>
              </a:ext>
            </a:extLst>
          </p:cNvPr>
          <p:cNvSpPr/>
          <p:nvPr/>
        </p:nvSpPr>
        <p:spPr>
          <a:xfrm>
            <a:off x="612000" y="1557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Nested Partial Table Specifications</a:t>
            </a:r>
          </a:p>
        </p:txBody>
      </p:sp>
      <p:sp>
        <p:nvSpPr>
          <p:cNvPr id="6" name="Textplatzhalter 5"/>
          <p:cNvSpPr>
            <a:spLocks noGrp="1"/>
          </p:cNvSpPr>
          <p:nvPr>
            <p:ph type="body" sz="quarter" idx="16"/>
          </p:nvPr>
        </p:nvSpPr>
        <p:spPr/>
        <p:txBody>
          <a:bodyPr/>
          <a:lstStyle/>
          <a:p>
            <a:endParaRPr lang="en-US" dirty="0"/>
          </a:p>
        </p:txBody>
      </p:sp>
      <p:sp>
        <p:nvSpPr>
          <p:cNvPr id="218" name="Rechteck 217">
            <a:extLst>
              <a:ext uri="{FF2B5EF4-FFF2-40B4-BE49-F238E27FC236}">
                <a16:creationId xmlns:a16="http://schemas.microsoft.com/office/drawing/2014/main" id="{2743CDF9-3743-4377-9083-A9EBC3CE6164}"/>
              </a:ext>
            </a:extLst>
          </p:cNvPr>
          <p:cNvSpPr/>
          <p:nvPr/>
        </p:nvSpPr>
        <p:spPr>
          <a:xfrm>
            <a:off x="612000" y="1125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9" name="Gerade Verbindung 94">
            <a:extLst>
              <a:ext uri="{FF2B5EF4-FFF2-40B4-BE49-F238E27FC236}">
                <a16:creationId xmlns:a16="http://schemas.microsoft.com/office/drawing/2014/main" id="{AA2269FD-3675-494A-9C14-804A4A24ECF5}"/>
              </a:ext>
            </a:extLst>
          </p:cNvPr>
          <p:cNvCxnSpPr/>
          <p:nvPr/>
        </p:nvCxnSpPr>
        <p:spPr>
          <a:xfrm>
            <a:off x="612000" y="1269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20" name="Rechteck 219">
            <a:extLst>
              <a:ext uri="{FF2B5EF4-FFF2-40B4-BE49-F238E27FC236}">
                <a16:creationId xmlns:a16="http://schemas.microsoft.com/office/drawing/2014/main" id="{7741CC60-AEE3-4976-A21D-4A0C78373F1F}"/>
              </a:ext>
            </a:extLst>
          </p:cNvPr>
          <p:cNvSpPr/>
          <p:nvPr/>
        </p:nvSpPr>
        <p:spPr>
          <a:xfrm>
            <a:off x="1116000" y="11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21" name="Gerade Verbindung 94">
            <a:extLst>
              <a:ext uri="{FF2B5EF4-FFF2-40B4-BE49-F238E27FC236}">
                <a16:creationId xmlns:a16="http://schemas.microsoft.com/office/drawing/2014/main" id="{11A1B198-9E59-4F34-85B5-29E43C8259CC}"/>
              </a:ext>
            </a:extLst>
          </p:cNvPr>
          <p:cNvCxnSpPr>
            <a:cxnSpLocks/>
          </p:cNvCxnSpPr>
          <p:nvPr/>
        </p:nvCxnSpPr>
        <p:spPr>
          <a:xfrm>
            <a:off x="111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4" name="Gerade Verbindung 94">
            <a:extLst>
              <a:ext uri="{FF2B5EF4-FFF2-40B4-BE49-F238E27FC236}">
                <a16:creationId xmlns:a16="http://schemas.microsoft.com/office/drawing/2014/main" id="{2AF22726-F3C5-4C6D-A8D5-6078DD6CB176}"/>
              </a:ext>
            </a:extLst>
          </p:cNvPr>
          <p:cNvCxnSpPr>
            <a:cxnSpLocks/>
          </p:cNvCxnSpPr>
          <p:nvPr/>
        </p:nvCxnSpPr>
        <p:spPr>
          <a:xfrm>
            <a:off x="147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25" name="Rechteck 224">
            <a:extLst>
              <a:ext uri="{FF2B5EF4-FFF2-40B4-BE49-F238E27FC236}">
                <a16:creationId xmlns:a16="http://schemas.microsoft.com/office/drawing/2014/main" id="{615E0C81-37C6-42DD-B563-19B249406534}"/>
              </a:ext>
            </a:extLst>
          </p:cNvPr>
          <p:cNvSpPr/>
          <p:nvPr/>
        </p:nvSpPr>
        <p:spPr>
          <a:xfrm>
            <a:off x="1116000" y="1557000"/>
            <a:ext cx="360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bel</a:t>
            </a:r>
          </a:p>
        </p:txBody>
      </p:sp>
      <p:sp>
        <p:nvSpPr>
          <p:cNvPr id="232" name="Rechteck 231">
            <a:extLst>
              <a:ext uri="{FF2B5EF4-FFF2-40B4-BE49-F238E27FC236}">
                <a16:creationId xmlns:a16="http://schemas.microsoft.com/office/drawing/2014/main" id="{7C276195-FC44-49FF-8CE4-6B525F5068E7}"/>
              </a:ext>
            </a:extLst>
          </p:cNvPr>
          <p:cNvSpPr/>
          <p:nvPr/>
        </p:nvSpPr>
        <p:spPr>
          <a:xfrm>
            <a:off x="396000" y="155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3</a:t>
            </a:r>
          </a:p>
        </p:txBody>
      </p:sp>
      <p:sp>
        <p:nvSpPr>
          <p:cNvPr id="233" name="Rechteck 232">
            <a:extLst>
              <a:ext uri="{FF2B5EF4-FFF2-40B4-BE49-F238E27FC236}">
                <a16:creationId xmlns:a16="http://schemas.microsoft.com/office/drawing/2014/main" id="{D87E5F20-95E8-4896-A92D-C21FC52EEDD8}"/>
              </a:ext>
            </a:extLst>
          </p:cNvPr>
          <p:cNvSpPr/>
          <p:nvPr/>
        </p:nvSpPr>
        <p:spPr>
          <a:xfrm>
            <a:off x="396000" y="112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34" name="Rechteck 233">
            <a:extLst>
              <a:ext uri="{FF2B5EF4-FFF2-40B4-BE49-F238E27FC236}">
                <a16:creationId xmlns:a16="http://schemas.microsoft.com/office/drawing/2014/main" id="{B9FDAF6F-8473-4FF8-94E7-409ED09F3ACA}"/>
              </a:ext>
            </a:extLst>
          </p:cNvPr>
          <p:cNvSpPr/>
          <p:nvPr/>
        </p:nvSpPr>
        <p:spPr>
          <a:xfrm>
            <a:off x="1116000" y="981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2</a:t>
            </a:r>
          </a:p>
        </p:txBody>
      </p:sp>
      <p:sp>
        <p:nvSpPr>
          <p:cNvPr id="235" name="Rechteck 234">
            <a:extLst>
              <a:ext uri="{FF2B5EF4-FFF2-40B4-BE49-F238E27FC236}">
                <a16:creationId xmlns:a16="http://schemas.microsoft.com/office/drawing/2014/main" id="{A9663F1E-595A-4296-9EFE-2DE5EDE64D91}"/>
              </a:ext>
            </a:extLst>
          </p:cNvPr>
          <p:cNvSpPr/>
          <p:nvPr/>
        </p:nvSpPr>
        <p:spPr>
          <a:xfrm>
            <a:off x="612000" y="3933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1E823A39-630B-4C8F-8637-CB81158C6188}"/>
              </a:ext>
            </a:extLst>
          </p:cNvPr>
          <p:cNvSpPr/>
          <p:nvPr/>
        </p:nvSpPr>
        <p:spPr>
          <a:xfrm>
            <a:off x="612000" y="3213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7" name="Gerade Verbindung 94">
            <a:extLst>
              <a:ext uri="{FF2B5EF4-FFF2-40B4-BE49-F238E27FC236}">
                <a16:creationId xmlns:a16="http://schemas.microsoft.com/office/drawing/2014/main" id="{57CAEBA2-A63E-49D5-862A-4AAD5259B97D}"/>
              </a:ext>
            </a:extLst>
          </p:cNvPr>
          <p:cNvCxnSpPr/>
          <p:nvPr/>
        </p:nvCxnSpPr>
        <p:spPr>
          <a:xfrm>
            <a:off x="612000" y="3357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40" name="Rechteck 239">
            <a:extLst>
              <a:ext uri="{FF2B5EF4-FFF2-40B4-BE49-F238E27FC236}">
                <a16:creationId xmlns:a16="http://schemas.microsoft.com/office/drawing/2014/main" id="{96862925-6454-43FD-B0F6-098F8AFBFA34}"/>
              </a:ext>
            </a:extLst>
          </p:cNvPr>
          <p:cNvSpPr/>
          <p:nvPr/>
        </p:nvSpPr>
        <p:spPr>
          <a:xfrm>
            <a:off x="1620220" y="3213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41" name="Gerade Verbindung 94">
            <a:extLst>
              <a:ext uri="{FF2B5EF4-FFF2-40B4-BE49-F238E27FC236}">
                <a16:creationId xmlns:a16="http://schemas.microsoft.com/office/drawing/2014/main" id="{D2C8A866-3641-4D18-8967-BBEFF8B417EE}"/>
              </a:ext>
            </a:extLst>
          </p:cNvPr>
          <p:cNvCxnSpPr>
            <a:cxnSpLocks/>
          </p:cNvCxnSpPr>
          <p:nvPr/>
        </p:nvCxnSpPr>
        <p:spPr>
          <a:xfrm>
            <a:off x="162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2" name="Gerade Verbindung 94">
            <a:extLst>
              <a:ext uri="{FF2B5EF4-FFF2-40B4-BE49-F238E27FC236}">
                <a16:creationId xmlns:a16="http://schemas.microsoft.com/office/drawing/2014/main" id="{361589E4-BA15-4271-B303-3D35AFC860EC}"/>
              </a:ext>
            </a:extLst>
          </p:cNvPr>
          <p:cNvCxnSpPr>
            <a:cxnSpLocks/>
          </p:cNvCxnSpPr>
          <p:nvPr/>
        </p:nvCxnSpPr>
        <p:spPr>
          <a:xfrm>
            <a:off x="198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43" name="Rechteck 242">
            <a:extLst>
              <a:ext uri="{FF2B5EF4-FFF2-40B4-BE49-F238E27FC236}">
                <a16:creationId xmlns:a16="http://schemas.microsoft.com/office/drawing/2014/main" id="{E36522DB-DBC3-4F57-9EE9-31302A9585EA}"/>
              </a:ext>
            </a:extLst>
          </p:cNvPr>
          <p:cNvSpPr/>
          <p:nvPr/>
        </p:nvSpPr>
        <p:spPr>
          <a:xfrm>
            <a:off x="1620220" y="3933000"/>
            <a:ext cx="360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eat</a:t>
            </a:r>
          </a:p>
        </p:txBody>
      </p:sp>
      <p:sp>
        <p:nvSpPr>
          <p:cNvPr id="244" name="Rechteck 243">
            <a:extLst>
              <a:ext uri="{FF2B5EF4-FFF2-40B4-BE49-F238E27FC236}">
                <a16:creationId xmlns:a16="http://schemas.microsoft.com/office/drawing/2014/main" id="{A3CF62A9-AE23-45BB-BEEE-E4503C9023F4}"/>
              </a:ext>
            </a:extLst>
          </p:cNvPr>
          <p:cNvSpPr/>
          <p:nvPr/>
        </p:nvSpPr>
        <p:spPr>
          <a:xfrm>
            <a:off x="396000" y="393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a:t>
            </a:r>
          </a:p>
        </p:txBody>
      </p:sp>
      <p:sp>
        <p:nvSpPr>
          <p:cNvPr id="245" name="Rechteck 244">
            <a:extLst>
              <a:ext uri="{FF2B5EF4-FFF2-40B4-BE49-F238E27FC236}">
                <a16:creationId xmlns:a16="http://schemas.microsoft.com/office/drawing/2014/main" id="{60CCA959-4008-4005-8323-3A48B9E8DAD2}"/>
              </a:ext>
            </a:extLst>
          </p:cNvPr>
          <p:cNvSpPr/>
          <p:nvPr/>
        </p:nvSpPr>
        <p:spPr>
          <a:xfrm>
            <a:off x="396000" y="321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46" name="Rechteck 245">
            <a:extLst>
              <a:ext uri="{FF2B5EF4-FFF2-40B4-BE49-F238E27FC236}">
                <a16:creationId xmlns:a16="http://schemas.microsoft.com/office/drawing/2014/main" id="{9B9604F6-5805-456C-9DCE-09F80792EFF4}"/>
              </a:ext>
            </a:extLst>
          </p:cNvPr>
          <p:cNvSpPr/>
          <p:nvPr/>
        </p:nvSpPr>
        <p:spPr>
          <a:xfrm>
            <a:off x="1620220" y="306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6</a:t>
            </a:r>
          </a:p>
        </p:txBody>
      </p:sp>
      <p:sp>
        <p:nvSpPr>
          <p:cNvPr id="247" name="Rechteck 246">
            <a:extLst>
              <a:ext uri="{FF2B5EF4-FFF2-40B4-BE49-F238E27FC236}">
                <a16:creationId xmlns:a16="http://schemas.microsoft.com/office/drawing/2014/main" id="{FBAF8D4C-D429-4E51-9E74-4CAB70FABBE9}"/>
              </a:ext>
            </a:extLst>
          </p:cNvPr>
          <p:cNvSpPr/>
          <p:nvPr/>
        </p:nvSpPr>
        <p:spPr>
          <a:xfrm>
            <a:off x="612000" y="908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A</a:t>
            </a:r>
          </a:p>
        </p:txBody>
      </p:sp>
      <p:sp>
        <p:nvSpPr>
          <p:cNvPr id="248" name="Rechteck 247">
            <a:extLst>
              <a:ext uri="{FF2B5EF4-FFF2-40B4-BE49-F238E27FC236}">
                <a16:creationId xmlns:a16="http://schemas.microsoft.com/office/drawing/2014/main" id="{3AE5EAC8-9F57-4D9C-965D-63A125B68119}"/>
              </a:ext>
            </a:extLst>
          </p:cNvPr>
          <p:cNvSpPr/>
          <p:nvPr/>
        </p:nvSpPr>
        <p:spPr>
          <a:xfrm>
            <a:off x="612000" y="2997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B</a:t>
            </a:r>
          </a:p>
        </p:txBody>
      </p:sp>
      <p:sp>
        <p:nvSpPr>
          <p:cNvPr id="253" name="Rechteck 252">
            <a:extLst>
              <a:ext uri="{FF2B5EF4-FFF2-40B4-BE49-F238E27FC236}">
                <a16:creationId xmlns:a16="http://schemas.microsoft.com/office/drawing/2014/main" id="{1901CE74-2AFC-4D11-9975-63BFECADE02B}"/>
              </a:ext>
            </a:extLst>
          </p:cNvPr>
          <p:cNvSpPr/>
          <p:nvPr/>
        </p:nvSpPr>
        <p:spPr>
          <a:xfrm>
            <a:off x="2988000" y="1125000"/>
            <a:ext cx="3816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Name ] </a:t>
            </a: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2 ] </a:t>
            </a:r>
            <a:r>
              <a:rPr lang="en-US" sz="1000" dirty="0">
                <a:solidFill>
                  <a:schemeClr val="tx1"/>
                </a:solidFill>
              </a:rPr>
              <a: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Name] );</a:t>
            </a:r>
            <a:r>
              <a:rPr lang="en-US" sz="1000" dirty="0">
                <a:solidFill>
                  <a:schemeClr val="tx1"/>
                </a:solidFill>
              </a:rPr>
              <a:t> // Refers to inner context</a:t>
            </a:r>
            <a:endParaRPr lang="en-US" sz="1000" dirty="0">
              <a:solidFill>
                <a:srgbClr val="0000FF"/>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6 ]</a:t>
            </a:r>
            <a:r>
              <a:rPr lang="en-US" sz="1000" dirty="0">
                <a:solidFill>
                  <a:schemeClr val="tx1"/>
                </a:solidFill>
              </a:rPr>
              <a:t> );</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Name] </a:t>
            </a:r>
            <a:r>
              <a:rPr lang="en-US" sz="1000" dirty="0">
                <a:solidFill>
                  <a:schemeClr val="tx1"/>
                </a:solidFill>
              </a:rPr>
              <a:t>); // The circumflex symbol refers</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2]</a:t>
            </a:r>
            <a:r>
              <a:rPr lang="en-US" sz="1000" dirty="0">
                <a:solidFill>
                  <a:schemeClr val="tx1"/>
                </a:solidFill>
              </a:rPr>
              <a:t> );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4" name="Geschweifte Klammer rechts 253">
            <a:extLst>
              <a:ext uri="{FF2B5EF4-FFF2-40B4-BE49-F238E27FC236}">
                <a16:creationId xmlns:a16="http://schemas.microsoft.com/office/drawing/2014/main" id="{895FBFF8-5F63-4650-AF10-690CDDF439F2}"/>
              </a:ext>
            </a:extLst>
          </p:cNvPr>
          <p:cNvSpPr/>
          <p:nvPr/>
        </p:nvSpPr>
        <p:spPr>
          <a:xfrm flipH="1">
            <a:off x="5580000" y="3861050"/>
            <a:ext cx="216000" cy="288000"/>
          </a:xfrm>
          <a:prstGeom prst="rightBrace">
            <a:avLst/>
          </a:prstGeom>
          <a:ln>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a:extLst>
              <a:ext uri="{FF2B5EF4-FFF2-40B4-BE49-F238E27FC236}">
                <a16:creationId xmlns:a16="http://schemas.microsoft.com/office/drawing/2014/main" id="{ED97300B-7B9A-4B63-B8ED-8179621CF3C8}"/>
              </a:ext>
            </a:extLst>
          </p:cNvPr>
          <p:cNvSpPr/>
          <p:nvPr/>
        </p:nvSpPr>
        <p:spPr>
          <a:xfrm>
            <a:off x="2988000" y="3573000"/>
            <a:ext cx="3816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Name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a:t>
            </a:r>
            <a:r>
              <a:rPr lang="en-US" sz="1000" dirty="0">
                <a:solidFill>
                  <a:srgbClr val="00B050"/>
                </a:solidFill>
              </a:rPr>
              <a:t>[ </a:t>
            </a:r>
            <a:r>
              <a:rPr lang="en-US" sz="1000" b="1" dirty="0">
                <a:solidFill>
                  <a:srgbClr val="00B050"/>
                </a:solidFill>
              </a:rPr>
              <a:t>.</a:t>
            </a:r>
            <a:r>
              <a:rPr lang="en-US" sz="1000" dirty="0">
                <a:solidFill>
                  <a:srgbClr val="00B050"/>
                </a:solidFill>
              </a:rPr>
              <a:t> ]</a:t>
            </a:r>
            <a:r>
              <a:rPr lang="en-US" sz="1000" dirty="0">
                <a:solidFill>
                  <a:schemeClr val="tx1"/>
                </a:solidFill>
              </a:rPr>
              <a:t> ); // Point = current row &amp; column contex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Name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a:t>
            </a:r>
            <a:r>
              <a:rPr lang="en-US" sz="1000" b="1" dirty="0">
                <a:solidFill>
                  <a:srgbClr val="0000FF"/>
                </a:solidFill>
              </a:rPr>
              <a:t>.</a:t>
            </a:r>
            <a:r>
              <a:rPr lang="en-US" sz="1000" dirty="0">
                <a:solidFill>
                  <a:srgbClr val="0000FF"/>
                </a:solidFill>
              </a:rPr>
              <a:t> ] ); </a:t>
            </a:r>
            <a:r>
              <a:rPr lang="en-US" sz="1000" dirty="0">
                <a:solidFill>
                  <a:schemeClr val="tx1"/>
                </a:solidFill>
              </a:rPr>
              <a:t>// Refers to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a:t>
            </a:r>
            <a:r>
              <a:rPr lang="en-US" sz="1000" dirty="0">
                <a:solidFill>
                  <a:srgbClr val="00B050"/>
                </a:solidFill>
              </a:rPr>
              <a:t> </a:t>
            </a:r>
            <a:r>
              <a:rPr lang="en-US" sz="1000" b="1" dirty="0">
                <a:solidFill>
                  <a:srgbClr val="00B050"/>
                </a:solidFill>
              </a:rPr>
              <a:t>. </a:t>
            </a:r>
            <a:r>
              <a:rPr lang="en-US" sz="1000" dirty="0">
                <a:solidFill>
                  <a:srgbClr val="00B050"/>
                </a:solidFill>
              </a:rPr>
              <a:t>] </a:t>
            </a:r>
            <a:r>
              <a:rPr lang="en-US" sz="1000" dirty="0">
                <a:solidFill>
                  <a:schemeClr val="tx1"/>
                </a:solidFill>
              </a:rPr>
              <a:t>); // The circumflex symbol refers</a:t>
            </a:r>
          </a:p>
          <a:p>
            <a:pPr>
              <a:lnSpc>
                <a:spcPct val="95000"/>
              </a:lnSpc>
            </a:pPr>
            <a:r>
              <a:rPr lang="en-US" sz="1000" dirty="0">
                <a:solidFill>
                  <a:schemeClr val="tx1"/>
                </a:solidFill>
              </a:rPr>
              <a:t>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9" name="Rechteck 258">
            <a:extLst>
              <a:ext uri="{FF2B5EF4-FFF2-40B4-BE49-F238E27FC236}">
                <a16:creationId xmlns:a16="http://schemas.microsoft.com/office/drawing/2014/main" id="{10F2ECFF-D7C2-44D8-B783-84410BF0815C}"/>
              </a:ext>
            </a:extLst>
          </p:cNvPr>
          <p:cNvSpPr/>
          <p:nvPr/>
        </p:nvSpPr>
        <p:spPr>
          <a:xfrm>
            <a:off x="2988000" y="909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with table names and rows:</a:t>
            </a:r>
          </a:p>
        </p:txBody>
      </p:sp>
      <p:sp>
        <p:nvSpPr>
          <p:cNvPr id="260" name="Rechteck 259">
            <a:extLst>
              <a:ext uri="{FF2B5EF4-FFF2-40B4-BE49-F238E27FC236}">
                <a16:creationId xmlns:a16="http://schemas.microsoft.com/office/drawing/2014/main" id="{4266DA77-361A-4335-A80E-8782BE71C9B7}"/>
              </a:ext>
            </a:extLst>
          </p:cNvPr>
          <p:cNvSpPr/>
          <p:nvPr/>
        </p:nvSpPr>
        <p:spPr>
          <a:xfrm>
            <a:off x="2988000" y="3356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also including columns:</a:t>
            </a:r>
          </a:p>
        </p:txBody>
      </p:sp>
      <p:sp>
        <p:nvSpPr>
          <p:cNvPr id="261" name="Rechteck 260">
            <a:extLst>
              <a:ext uri="{FF2B5EF4-FFF2-40B4-BE49-F238E27FC236}">
                <a16:creationId xmlns:a16="http://schemas.microsoft.com/office/drawing/2014/main" id="{2C20A403-F1D4-44DB-A3C6-ACB25EE28C00}"/>
              </a:ext>
            </a:extLst>
          </p:cNvPr>
          <p:cNvSpPr/>
          <p:nvPr/>
        </p:nvSpPr>
        <p:spPr>
          <a:xfrm>
            <a:off x="6948000" y="1125000"/>
            <a:ext cx="864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Abel</a:t>
            </a:r>
          </a:p>
          <a:p>
            <a:pPr>
              <a:lnSpc>
                <a:spcPct val="95000"/>
              </a:lnSpc>
            </a:pPr>
            <a:r>
              <a:rPr lang="en-US" sz="1000" dirty="0">
                <a:solidFill>
                  <a:schemeClr val="tx1"/>
                </a:solidFill>
              </a:rPr>
              <a:t>Beat</a:t>
            </a:r>
          </a:p>
          <a:p>
            <a:pPr>
              <a:lnSpc>
                <a:spcPct val="95000"/>
              </a:lnSpc>
            </a:pPr>
            <a:r>
              <a:rPr lang="en-US" sz="1000" dirty="0">
                <a:solidFill>
                  <a:schemeClr val="tx1"/>
                </a:solidFill>
              </a:rPr>
              <a:t>Beat</a:t>
            </a:r>
          </a:p>
          <a:p>
            <a:pPr>
              <a:lnSpc>
                <a:spcPct val="95000"/>
              </a:lnSpc>
            </a:pPr>
            <a:r>
              <a:rPr lang="en-US" sz="1000" dirty="0">
                <a:solidFill>
                  <a:schemeClr val="tx1"/>
                </a:solidFill>
              </a:rPr>
              <a:t>Abel</a:t>
            </a:r>
          </a:p>
          <a:p>
            <a:pPr>
              <a:lnSpc>
                <a:spcPct val="95000"/>
              </a:lnSpc>
            </a:pPr>
            <a:r>
              <a:rPr lang="en-US" sz="1000" dirty="0">
                <a:solidFill>
                  <a:schemeClr val="tx1"/>
                </a:solidFill>
              </a:rPr>
              <a:t>Abel</a:t>
            </a:r>
          </a:p>
        </p:txBody>
      </p:sp>
      <p:sp>
        <p:nvSpPr>
          <p:cNvPr id="262" name="Rechteck 261">
            <a:extLst>
              <a:ext uri="{FF2B5EF4-FFF2-40B4-BE49-F238E27FC236}">
                <a16:creationId xmlns:a16="http://schemas.microsoft.com/office/drawing/2014/main" id="{D2E0778D-74D7-4778-A322-EC2A2F118B9C}"/>
              </a:ext>
            </a:extLst>
          </p:cNvPr>
          <p:cNvSpPr/>
          <p:nvPr/>
        </p:nvSpPr>
        <p:spPr>
          <a:xfrm>
            <a:off x="6876000" y="3573000"/>
            <a:ext cx="864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Beat</a:t>
            </a:r>
            <a:br>
              <a:rPr lang="en-US" sz="1000" dirty="0">
                <a:solidFill>
                  <a:schemeClr val="tx1"/>
                </a:solidFill>
              </a:rPr>
            </a:br>
            <a:r>
              <a:rPr lang="en-US" sz="1000" dirty="0">
                <a:solidFill>
                  <a:schemeClr val="tx1"/>
                </a:solidFill>
              </a:rPr>
              <a:t>Abel</a:t>
            </a:r>
          </a:p>
        </p:txBody>
      </p:sp>
      <p:cxnSp>
        <p:nvCxnSpPr>
          <p:cNvPr id="27" name="Gerade Verbindung mit Pfeil 26">
            <a:extLst>
              <a:ext uri="{FF2B5EF4-FFF2-40B4-BE49-F238E27FC236}">
                <a16:creationId xmlns:a16="http://schemas.microsoft.com/office/drawing/2014/main" id="{A702CF76-8348-436D-ADB7-4A223946F15C}"/>
              </a:ext>
            </a:extLst>
          </p:cNvPr>
          <p:cNvCxnSpPr>
            <a:cxnSpLocks/>
          </p:cNvCxnSpPr>
          <p:nvPr/>
        </p:nvCxnSpPr>
        <p:spPr>
          <a:xfrm flipH="1">
            <a:off x="1548000" y="1629000"/>
            <a:ext cx="1224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3" name="Gerade Verbindung mit Pfeil 262">
            <a:extLst>
              <a:ext uri="{FF2B5EF4-FFF2-40B4-BE49-F238E27FC236}">
                <a16:creationId xmlns:a16="http://schemas.microsoft.com/office/drawing/2014/main" id="{F6133C8B-228F-464F-B6B8-D6C79A28E280}"/>
              </a:ext>
            </a:extLst>
          </p:cNvPr>
          <p:cNvCxnSpPr>
            <a:cxnSpLocks/>
          </p:cNvCxnSpPr>
          <p:nvPr/>
        </p:nvCxnSpPr>
        <p:spPr>
          <a:xfrm flipV="1">
            <a:off x="2772000" y="1629000"/>
            <a:ext cx="0" cy="316800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5" name="Gerade Verbindung mit Pfeil 264">
            <a:extLst>
              <a:ext uri="{FF2B5EF4-FFF2-40B4-BE49-F238E27FC236}">
                <a16:creationId xmlns:a16="http://schemas.microsoft.com/office/drawing/2014/main" id="{A2B22C6D-804E-41E6-A913-DDCAC820F8C9}"/>
              </a:ext>
            </a:extLst>
          </p:cNvPr>
          <p:cNvCxnSpPr>
            <a:cxnSpLocks/>
          </p:cNvCxnSpPr>
          <p:nvPr/>
        </p:nvCxnSpPr>
        <p:spPr>
          <a:xfrm flipH="1">
            <a:off x="2772000" y="1629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Gerade Verbindung mit Pfeil 265">
            <a:extLst>
              <a:ext uri="{FF2B5EF4-FFF2-40B4-BE49-F238E27FC236}">
                <a16:creationId xmlns:a16="http://schemas.microsoft.com/office/drawing/2014/main" id="{751EF999-4594-4752-A489-CBEE237EE580}"/>
              </a:ext>
            </a:extLst>
          </p:cNvPr>
          <p:cNvCxnSpPr>
            <a:cxnSpLocks/>
          </p:cNvCxnSpPr>
          <p:nvPr/>
        </p:nvCxnSpPr>
        <p:spPr>
          <a:xfrm flipH="1">
            <a:off x="2772000" y="2781000"/>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Gerade Verbindung mit Pfeil 266">
            <a:extLst>
              <a:ext uri="{FF2B5EF4-FFF2-40B4-BE49-F238E27FC236}">
                <a16:creationId xmlns:a16="http://schemas.microsoft.com/office/drawing/2014/main" id="{1BD80A51-734F-42F2-8B73-F281DF4C6937}"/>
              </a:ext>
            </a:extLst>
          </p:cNvPr>
          <p:cNvCxnSpPr>
            <a:cxnSpLocks/>
          </p:cNvCxnSpPr>
          <p:nvPr/>
        </p:nvCxnSpPr>
        <p:spPr>
          <a:xfrm flipH="1">
            <a:off x="2772000" y="4005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Gerade Verbindung mit Pfeil 267">
            <a:extLst>
              <a:ext uri="{FF2B5EF4-FFF2-40B4-BE49-F238E27FC236}">
                <a16:creationId xmlns:a16="http://schemas.microsoft.com/office/drawing/2014/main" id="{7224BA63-E72A-42E8-BD4D-698C251C6CE8}"/>
              </a:ext>
            </a:extLst>
          </p:cNvPr>
          <p:cNvCxnSpPr>
            <a:cxnSpLocks/>
          </p:cNvCxnSpPr>
          <p:nvPr/>
        </p:nvCxnSpPr>
        <p:spPr>
          <a:xfrm flipH="1">
            <a:off x="2772000" y="4797000"/>
            <a:ext cx="432000" cy="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9" name="Gerade Verbindung mit Pfeil 268">
            <a:extLst>
              <a:ext uri="{FF2B5EF4-FFF2-40B4-BE49-F238E27FC236}">
                <a16:creationId xmlns:a16="http://schemas.microsoft.com/office/drawing/2014/main" id="{FFF9A149-57D5-4FE6-AF92-DA229F0CCB10}"/>
              </a:ext>
            </a:extLst>
          </p:cNvPr>
          <p:cNvCxnSpPr>
            <a:cxnSpLocks/>
          </p:cNvCxnSpPr>
          <p:nvPr/>
        </p:nvCxnSpPr>
        <p:spPr>
          <a:xfrm flipV="1">
            <a:off x="2556000" y="2349000"/>
            <a:ext cx="0" cy="223200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1" name="Gerade Verbindung mit Pfeil 270">
            <a:extLst>
              <a:ext uri="{FF2B5EF4-FFF2-40B4-BE49-F238E27FC236}">
                <a16:creationId xmlns:a16="http://schemas.microsoft.com/office/drawing/2014/main" id="{96155636-8566-4B78-B405-BAD7C7E6B16F}"/>
              </a:ext>
            </a:extLst>
          </p:cNvPr>
          <p:cNvCxnSpPr>
            <a:cxnSpLocks/>
          </p:cNvCxnSpPr>
          <p:nvPr/>
        </p:nvCxnSpPr>
        <p:spPr>
          <a:xfrm flipH="1">
            <a:off x="2556000" y="2349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3" name="Gerade Verbindung mit Pfeil 272">
            <a:extLst>
              <a:ext uri="{FF2B5EF4-FFF2-40B4-BE49-F238E27FC236}">
                <a16:creationId xmlns:a16="http://schemas.microsoft.com/office/drawing/2014/main" id="{C0957FCF-8B20-4405-957B-573844931763}"/>
              </a:ext>
            </a:extLst>
          </p:cNvPr>
          <p:cNvCxnSpPr>
            <a:cxnSpLocks/>
          </p:cNvCxnSpPr>
          <p:nvPr/>
        </p:nvCxnSpPr>
        <p:spPr>
          <a:xfrm flipH="1">
            <a:off x="2556000" y="4581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Gerade Verbindung mit Pfeil 273">
            <a:extLst>
              <a:ext uri="{FF2B5EF4-FFF2-40B4-BE49-F238E27FC236}">
                <a16:creationId xmlns:a16="http://schemas.microsoft.com/office/drawing/2014/main" id="{8D827FAB-09AF-4A9A-97AD-6611548CE38B}"/>
              </a:ext>
            </a:extLst>
          </p:cNvPr>
          <p:cNvCxnSpPr>
            <a:cxnSpLocks/>
          </p:cNvCxnSpPr>
          <p:nvPr/>
        </p:nvCxnSpPr>
        <p:spPr>
          <a:xfrm flipH="1">
            <a:off x="2052000" y="4005000"/>
            <a:ext cx="504000" cy="0"/>
          </a:xfrm>
          <a:prstGeom prst="straightConnector1">
            <a:avLst/>
          </a:prstGeom>
          <a:ln>
            <a:solidFill>
              <a:srgbClr val="0000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3275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Rechteck 146"/>
          <p:cNvSpPr/>
          <p:nvPr/>
        </p:nvSpPr>
        <p:spPr>
          <a:xfrm>
            <a:off x="2339752"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52" name="Rechteck 151"/>
          <p:cNvSpPr/>
          <p:nvPr/>
        </p:nvSpPr>
        <p:spPr>
          <a:xfrm>
            <a:off x="2339752"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02" name="Rechteck 101"/>
          <p:cNvSpPr/>
          <p:nvPr/>
        </p:nvSpPr>
        <p:spPr>
          <a:xfrm>
            <a:off x="827584"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 name="Titel 1"/>
          <p:cNvSpPr>
            <a:spLocks noGrp="1"/>
          </p:cNvSpPr>
          <p:nvPr>
            <p:ph type="title"/>
          </p:nvPr>
        </p:nvSpPr>
        <p:spPr/>
        <p:txBody>
          <a:bodyPr/>
          <a:lstStyle/>
          <a:p>
            <a:r>
              <a:rPr lang="en-US"/>
              <a:t>Storage Model</a:t>
            </a:r>
          </a:p>
        </p:txBody>
      </p:sp>
      <p:sp>
        <p:nvSpPr>
          <p:cNvPr id="4" name="Textplatzhalter 3"/>
          <p:cNvSpPr>
            <a:spLocks noGrp="1"/>
          </p:cNvSpPr>
          <p:nvPr>
            <p:ph type="body" sz="quarter" idx="16"/>
          </p:nvPr>
        </p:nvSpPr>
        <p:spPr/>
        <p:txBody>
          <a:bodyPr/>
          <a:lstStyle/>
          <a:p>
            <a:endParaRPr lang="en-US"/>
          </a:p>
        </p:txBody>
      </p:sp>
      <p:cxnSp>
        <p:nvCxnSpPr>
          <p:cNvPr id="6" name="Gerade Verbindung 5"/>
          <p:cNvCxnSpPr/>
          <p:nvPr/>
        </p:nvCxnSpPr>
        <p:spPr>
          <a:xfrm>
            <a:off x="75557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p:cNvSpPr/>
          <p:nvPr/>
        </p:nvSpPr>
        <p:spPr>
          <a:xfrm>
            <a:off x="104360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81" name="Rechteck 80"/>
          <p:cNvSpPr/>
          <p:nvPr/>
        </p:nvSpPr>
        <p:spPr>
          <a:xfrm>
            <a:off x="82758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82" name="Gerade Verbindung 81"/>
          <p:cNvCxnSpPr/>
          <p:nvPr/>
        </p:nvCxnSpPr>
        <p:spPr>
          <a:xfrm>
            <a:off x="827584" y="2420928"/>
            <a:ext cx="144016" cy="0"/>
          </a:xfrm>
          <a:prstGeom prst="line">
            <a:avLst/>
          </a:prstGeom>
          <a:ln>
            <a:solidFill>
              <a:srgbClr val="3366FF"/>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104366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5" name="Rechteck 84"/>
          <p:cNvSpPr/>
          <p:nvPr/>
        </p:nvSpPr>
        <p:spPr>
          <a:xfrm>
            <a:off x="104360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8" name="Rechteck 87"/>
          <p:cNvSpPr/>
          <p:nvPr/>
        </p:nvSpPr>
        <p:spPr>
          <a:xfrm>
            <a:off x="39553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ositive</a:t>
            </a:r>
          </a:p>
        </p:txBody>
      </p:sp>
      <p:sp>
        <p:nvSpPr>
          <p:cNvPr id="89" name="Rechteck 88"/>
          <p:cNvSpPr/>
          <p:nvPr/>
        </p:nvSpPr>
        <p:spPr>
          <a:xfrm>
            <a:off x="39553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05" name="Rechteck 104"/>
          <p:cNvSpPr/>
          <p:nvPr/>
        </p:nvSpPr>
        <p:spPr>
          <a:xfrm>
            <a:off x="827584" y="4076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06" name="Gerade Verbindung 105"/>
          <p:cNvCxnSpPr/>
          <p:nvPr/>
        </p:nvCxnSpPr>
        <p:spPr>
          <a:xfrm>
            <a:off x="75557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nvCxnSpPr>
        <p:spPr>
          <a:xfrm>
            <a:off x="68356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827584" y="3428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13" name="Rechteck 112"/>
          <p:cNvSpPr/>
          <p:nvPr/>
        </p:nvSpPr>
        <p:spPr>
          <a:xfrm>
            <a:off x="104360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15" name="Rechteck 114"/>
          <p:cNvSpPr/>
          <p:nvPr/>
        </p:nvSpPr>
        <p:spPr>
          <a:xfrm>
            <a:off x="1043608"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28" name="Rechteck 127"/>
          <p:cNvSpPr/>
          <p:nvPr/>
        </p:nvSpPr>
        <p:spPr>
          <a:xfrm>
            <a:off x="39553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29" name="Rechteck 128"/>
          <p:cNvSpPr/>
          <p:nvPr/>
        </p:nvSpPr>
        <p:spPr>
          <a:xfrm>
            <a:off x="39553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42" name="Rechteck 141"/>
          <p:cNvSpPr/>
          <p:nvPr/>
        </p:nvSpPr>
        <p:spPr>
          <a:xfrm>
            <a:off x="827584" y="3824900"/>
            <a:ext cx="144016" cy="504056"/>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43" name="Gerade Verbindung 142"/>
          <p:cNvCxnSpPr/>
          <p:nvPr/>
        </p:nvCxnSpPr>
        <p:spPr>
          <a:xfrm>
            <a:off x="68356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143"/>
          <p:cNvCxnSpPr/>
          <p:nvPr/>
        </p:nvCxnSpPr>
        <p:spPr>
          <a:xfrm>
            <a:off x="68356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47"/>
          <p:cNvCxnSpPr/>
          <p:nvPr/>
        </p:nvCxnSpPr>
        <p:spPr>
          <a:xfrm>
            <a:off x="2267744"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1" name="Rechteck 150"/>
          <p:cNvSpPr/>
          <p:nvPr/>
        </p:nvSpPr>
        <p:spPr>
          <a:xfrm>
            <a:off x="255583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cxnSp>
        <p:nvCxnSpPr>
          <p:cNvPr id="153" name="Gerade Verbindung 152"/>
          <p:cNvCxnSpPr/>
          <p:nvPr/>
        </p:nvCxnSpPr>
        <p:spPr>
          <a:xfrm>
            <a:off x="2339752" y="2420928"/>
            <a:ext cx="144016"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4" name="Rechteck 153"/>
          <p:cNvSpPr/>
          <p:nvPr/>
        </p:nvSpPr>
        <p:spPr>
          <a:xfrm>
            <a:off x="2555776"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5" name="Rechteck 154"/>
          <p:cNvSpPr/>
          <p:nvPr/>
        </p:nvSpPr>
        <p:spPr>
          <a:xfrm>
            <a:off x="2555776"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6" name="Rechteck 155"/>
          <p:cNvSpPr/>
          <p:nvPr/>
        </p:nvSpPr>
        <p:spPr>
          <a:xfrm>
            <a:off x="1907704"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57" name="Rechteck 156"/>
          <p:cNvSpPr/>
          <p:nvPr/>
        </p:nvSpPr>
        <p:spPr>
          <a:xfrm>
            <a:off x="1907704"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58" name="Rechteck 157"/>
          <p:cNvSpPr/>
          <p:nvPr/>
        </p:nvSpPr>
        <p:spPr>
          <a:xfrm>
            <a:off x="2339752" y="4076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59" name="Gerade Verbindung 158"/>
          <p:cNvCxnSpPr/>
          <p:nvPr/>
        </p:nvCxnSpPr>
        <p:spPr>
          <a:xfrm>
            <a:off x="2267744"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2" name="Rechteck 201"/>
          <p:cNvSpPr/>
          <p:nvPr/>
        </p:nvSpPr>
        <p:spPr>
          <a:xfrm>
            <a:off x="2555776"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03" name="Rechteck 202"/>
          <p:cNvSpPr/>
          <p:nvPr/>
        </p:nvSpPr>
        <p:spPr>
          <a:xfrm>
            <a:off x="2339752"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04" name="Rechteck 203"/>
          <p:cNvSpPr/>
          <p:nvPr/>
        </p:nvSpPr>
        <p:spPr>
          <a:xfrm>
            <a:off x="2555776"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5" name="Rechteck 204"/>
          <p:cNvSpPr/>
          <p:nvPr/>
        </p:nvSpPr>
        <p:spPr>
          <a:xfrm>
            <a:off x="2555776"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6" name="Rechteck 205"/>
          <p:cNvSpPr/>
          <p:nvPr/>
        </p:nvSpPr>
        <p:spPr>
          <a:xfrm>
            <a:off x="1907704"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07" name="Rechteck 206"/>
          <p:cNvSpPr/>
          <p:nvPr/>
        </p:nvSpPr>
        <p:spPr>
          <a:xfrm>
            <a:off x="1907704"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08" name="Rechteck 207"/>
          <p:cNvSpPr/>
          <p:nvPr/>
        </p:nvSpPr>
        <p:spPr>
          <a:xfrm>
            <a:off x="2339752" y="3824900"/>
            <a:ext cx="144016" cy="504056"/>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3" name="Rechteck 212"/>
          <p:cNvSpPr/>
          <p:nvPr/>
        </p:nvSpPr>
        <p:spPr>
          <a:xfrm>
            <a:off x="10750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Equal</a:t>
            </a:r>
          </a:p>
        </p:txBody>
      </p:sp>
      <p:sp>
        <p:nvSpPr>
          <p:cNvPr id="15" name="Rechteck 14"/>
          <p:cNvSpPr/>
          <p:nvPr/>
        </p:nvSpPr>
        <p:spPr>
          <a:xfrm>
            <a:off x="10750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4" name="Rechteck 213"/>
          <p:cNvSpPr/>
          <p:nvPr/>
        </p:nvSpPr>
        <p:spPr>
          <a:xfrm>
            <a:off x="1619672"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Not Equal</a:t>
            </a:r>
          </a:p>
        </p:txBody>
      </p:sp>
      <p:sp>
        <p:nvSpPr>
          <p:cNvPr id="215" name="Rechteck 214"/>
          <p:cNvSpPr/>
          <p:nvPr/>
        </p:nvSpPr>
        <p:spPr>
          <a:xfrm>
            <a:off x="1619672"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6" name="Rechteck 215"/>
          <p:cNvSpPr/>
          <p:nvPr/>
        </p:nvSpPr>
        <p:spPr>
          <a:xfrm>
            <a:off x="3851920"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17" name="Gerade Verbindung 216"/>
          <p:cNvCxnSpPr/>
          <p:nvPr/>
        </p:nvCxnSpPr>
        <p:spPr>
          <a:xfrm>
            <a:off x="3779912"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0" name="Rechteck 219"/>
          <p:cNvSpPr/>
          <p:nvPr/>
        </p:nvSpPr>
        <p:spPr>
          <a:xfrm>
            <a:off x="406800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21" name="Rechteck 220"/>
          <p:cNvSpPr/>
          <p:nvPr/>
        </p:nvSpPr>
        <p:spPr>
          <a:xfrm>
            <a:off x="3851920"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23" name="Rechteck 222"/>
          <p:cNvSpPr/>
          <p:nvPr/>
        </p:nvSpPr>
        <p:spPr>
          <a:xfrm>
            <a:off x="406794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24" name="Rechteck 223"/>
          <p:cNvSpPr/>
          <p:nvPr/>
        </p:nvSpPr>
        <p:spPr>
          <a:xfrm>
            <a:off x="406800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25" name="Rechteck 224"/>
          <p:cNvSpPr/>
          <p:nvPr/>
        </p:nvSpPr>
        <p:spPr>
          <a:xfrm>
            <a:off x="3419872"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26" name="Rechteck 225"/>
          <p:cNvSpPr/>
          <p:nvPr/>
        </p:nvSpPr>
        <p:spPr>
          <a:xfrm>
            <a:off x="3419872"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27" name="Rechteck 226"/>
          <p:cNvSpPr/>
          <p:nvPr/>
        </p:nvSpPr>
        <p:spPr>
          <a:xfrm>
            <a:off x="3851920" y="3824900"/>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28" name="Gerade Verbindung 227"/>
          <p:cNvCxnSpPr/>
          <p:nvPr/>
        </p:nvCxnSpPr>
        <p:spPr>
          <a:xfrm>
            <a:off x="3779912"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1" name="Rechteck 230"/>
          <p:cNvSpPr/>
          <p:nvPr/>
        </p:nvSpPr>
        <p:spPr>
          <a:xfrm>
            <a:off x="4067944"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3" name="Rechteck 232"/>
          <p:cNvSpPr/>
          <p:nvPr/>
        </p:nvSpPr>
        <p:spPr>
          <a:xfrm>
            <a:off x="4067944"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34" name="Rechteck 233"/>
          <p:cNvSpPr/>
          <p:nvPr/>
        </p:nvSpPr>
        <p:spPr>
          <a:xfrm>
            <a:off x="4067944"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5" name="Rechteck 234"/>
          <p:cNvSpPr/>
          <p:nvPr/>
        </p:nvSpPr>
        <p:spPr>
          <a:xfrm>
            <a:off x="3419872"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36" name="Rechteck 235"/>
          <p:cNvSpPr/>
          <p:nvPr/>
        </p:nvSpPr>
        <p:spPr>
          <a:xfrm>
            <a:off x="3419872"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37" name="Rechteck 236"/>
          <p:cNvSpPr/>
          <p:nvPr/>
        </p:nvSpPr>
        <p:spPr>
          <a:xfrm>
            <a:off x="3851920"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2" name="Rechteck 241"/>
          <p:cNvSpPr/>
          <p:nvPr/>
        </p:nvSpPr>
        <p:spPr>
          <a:xfrm>
            <a:off x="3131840"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a:t>
            </a:r>
          </a:p>
        </p:txBody>
      </p:sp>
      <p:sp>
        <p:nvSpPr>
          <p:cNvPr id="243" name="Rechteck 242"/>
          <p:cNvSpPr/>
          <p:nvPr/>
        </p:nvSpPr>
        <p:spPr>
          <a:xfrm>
            <a:off x="3131840"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4" name="Rechteck 243"/>
          <p:cNvSpPr/>
          <p:nvPr/>
        </p:nvSpPr>
        <p:spPr>
          <a:xfrm>
            <a:off x="5364088"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45" name="Gerade Verbindung 244"/>
          <p:cNvCxnSpPr/>
          <p:nvPr/>
        </p:nvCxnSpPr>
        <p:spPr>
          <a:xfrm>
            <a:off x="5292080"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558011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49" name="Rechteck 248"/>
          <p:cNvSpPr/>
          <p:nvPr/>
        </p:nvSpPr>
        <p:spPr>
          <a:xfrm>
            <a:off x="5364088"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50" name="Rechteck 249"/>
          <p:cNvSpPr/>
          <p:nvPr/>
        </p:nvSpPr>
        <p:spPr>
          <a:xfrm>
            <a:off x="5580112"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51" name="Rechteck 250"/>
          <p:cNvSpPr/>
          <p:nvPr/>
        </p:nvSpPr>
        <p:spPr>
          <a:xfrm>
            <a:off x="5580112"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52" name="Rechteck 251"/>
          <p:cNvSpPr/>
          <p:nvPr/>
        </p:nvSpPr>
        <p:spPr>
          <a:xfrm>
            <a:off x="4932040"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53" name="Rechteck 252"/>
          <p:cNvSpPr/>
          <p:nvPr/>
        </p:nvSpPr>
        <p:spPr>
          <a:xfrm>
            <a:off x="4932040"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54" name="Rechteck 253"/>
          <p:cNvSpPr/>
          <p:nvPr/>
        </p:nvSpPr>
        <p:spPr>
          <a:xfrm>
            <a:off x="5364088" y="43289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55" name="Gerade Verbindung 254"/>
          <p:cNvCxnSpPr/>
          <p:nvPr/>
        </p:nvCxnSpPr>
        <p:spPr>
          <a:xfrm>
            <a:off x="5292080"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9" name="Rechteck 258"/>
          <p:cNvSpPr/>
          <p:nvPr/>
        </p:nvSpPr>
        <p:spPr>
          <a:xfrm>
            <a:off x="5580112"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60" name="Rechteck 259"/>
          <p:cNvSpPr/>
          <p:nvPr/>
        </p:nvSpPr>
        <p:spPr>
          <a:xfrm>
            <a:off x="5580112"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61" name="Rechteck 260"/>
          <p:cNvSpPr/>
          <p:nvPr/>
        </p:nvSpPr>
        <p:spPr>
          <a:xfrm>
            <a:off x="4932040"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62" name="Rechteck 261"/>
          <p:cNvSpPr/>
          <p:nvPr/>
        </p:nvSpPr>
        <p:spPr>
          <a:xfrm>
            <a:off x="4932040"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63" name="Rechteck 262"/>
          <p:cNvSpPr/>
          <p:nvPr/>
        </p:nvSpPr>
        <p:spPr>
          <a:xfrm>
            <a:off x="5364088" y="3428856"/>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68" name="Rechteck 267"/>
          <p:cNvSpPr/>
          <p:nvPr/>
        </p:nvSpPr>
        <p:spPr>
          <a:xfrm>
            <a:off x="4644008"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 or Equal</a:t>
            </a:r>
          </a:p>
        </p:txBody>
      </p:sp>
      <p:sp>
        <p:nvSpPr>
          <p:cNvPr id="269" name="Rechteck 268"/>
          <p:cNvSpPr/>
          <p:nvPr/>
        </p:nvSpPr>
        <p:spPr>
          <a:xfrm>
            <a:off x="4644008"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0" name="Rechteck 269"/>
          <p:cNvSpPr/>
          <p:nvPr/>
        </p:nvSpPr>
        <p:spPr>
          <a:xfrm>
            <a:off x="6876256"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71" name="Gerade Verbindung 270"/>
          <p:cNvCxnSpPr/>
          <p:nvPr/>
        </p:nvCxnSpPr>
        <p:spPr>
          <a:xfrm>
            <a:off x="6804248"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4" name="Rechteck 273"/>
          <p:cNvSpPr/>
          <p:nvPr/>
        </p:nvSpPr>
        <p:spPr>
          <a:xfrm>
            <a:off x="709228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75" name="Rechteck 274"/>
          <p:cNvSpPr/>
          <p:nvPr/>
        </p:nvSpPr>
        <p:spPr>
          <a:xfrm>
            <a:off x="6876256"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6" name="Rechteck 275"/>
          <p:cNvSpPr/>
          <p:nvPr/>
        </p:nvSpPr>
        <p:spPr>
          <a:xfrm>
            <a:off x="7092280"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77" name="Rechteck 276"/>
          <p:cNvSpPr/>
          <p:nvPr/>
        </p:nvSpPr>
        <p:spPr>
          <a:xfrm>
            <a:off x="709228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78" name="Rechteck 277"/>
          <p:cNvSpPr/>
          <p:nvPr/>
        </p:nvSpPr>
        <p:spPr>
          <a:xfrm>
            <a:off x="6444208"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79" name="Rechteck 278"/>
          <p:cNvSpPr/>
          <p:nvPr/>
        </p:nvSpPr>
        <p:spPr>
          <a:xfrm>
            <a:off x="6444208"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0" name="Rechteck 279"/>
          <p:cNvSpPr/>
          <p:nvPr/>
        </p:nvSpPr>
        <p:spPr>
          <a:xfrm>
            <a:off x="6876256" y="43289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81" name="Gerade Verbindung 280"/>
          <p:cNvCxnSpPr/>
          <p:nvPr/>
        </p:nvCxnSpPr>
        <p:spPr>
          <a:xfrm>
            <a:off x="6804248"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4" name="Rechteck 283"/>
          <p:cNvSpPr/>
          <p:nvPr/>
        </p:nvSpPr>
        <p:spPr>
          <a:xfrm>
            <a:off x="709228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5" name="Rechteck 284"/>
          <p:cNvSpPr/>
          <p:nvPr/>
        </p:nvSpPr>
        <p:spPr>
          <a:xfrm>
            <a:off x="7092280"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6" name="Rechteck 285"/>
          <p:cNvSpPr/>
          <p:nvPr/>
        </p:nvSpPr>
        <p:spPr>
          <a:xfrm>
            <a:off x="7092280"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87" name="Rechteck 286"/>
          <p:cNvSpPr/>
          <p:nvPr/>
        </p:nvSpPr>
        <p:spPr>
          <a:xfrm>
            <a:off x="6444208"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88" name="Rechteck 287"/>
          <p:cNvSpPr/>
          <p:nvPr/>
        </p:nvSpPr>
        <p:spPr>
          <a:xfrm>
            <a:off x="6444208"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9" name="Rechteck 288"/>
          <p:cNvSpPr/>
          <p:nvPr/>
        </p:nvSpPr>
        <p:spPr>
          <a:xfrm>
            <a:off x="6876256" y="3428856"/>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4" name="Rechteck 293"/>
          <p:cNvSpPr/>
          <p:nvPr/>
        </p:nvSpPr>
        <p:spPr>
          <a:xfrm>
            <a:off x="6156176"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a:t>
            </a:r>
          </a:p>
        </p:txBody>
      </p:sp>
      <p:sp>
        <p:nvSpPr>
          <p:cNvPr id="295" name="Rechteck 294"/>
          <p:cNvSpPr/>
          <p:nvPr/>
        </p:nvSpPr>
        <p:spPr>
          <a:xfrm>
            <a:off x="6156176"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6" name="Rechteck 295"/>
          <p:cNvSpPr/>
          <p:nvPr/>
        </p:nvSpPr>
        <p:spPr>
          <a:xfrm>
            <a:off x="838842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97" name="Gerade Verbindung 296"/>
          <p:cNvCxnSpPr/>
          <p:nvPr/>
        </p:nvCxnSpPr>
        <p:spPr>
          <a:xfrm>
            <a:off x="831641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0" name="Rechteck 299"/>
          <p:cNvSpPr/>
          <p:nvPr/>
        </p:nvSpPr>
        <p:spPr>
          <a:xfrm>
            <a:off x="860444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1" name="Rechteck 300"/>
          <p:cNvSpPr/>
          <p:nvPr/>
        </p:nvSpPr>
        <p:spPr>
          <a:xfrm>
            <a:off x="8388424"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02" name="Rechteck 301"/>
          <p:cNvSpPr/>
          <p:nvPr/>
        </p:nvSpPr>
        <p:spPr>
          <a:xfrm>
            <a:off x="8604448"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03" name="Rechteck 302"/>
          <p:cNvSpPr/>
          <p:nvPr/>
        </p:nvSpPr>
        <p:spPr>
          <a:xfrm>
            <a:off x="860444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4" name="Rechteck 303"/>
          <p:cNvSpPr/>
          <p:nvPr/>
        </p:nvSpPr>
        <p:spPr>
          <a:xfrm>
            <a:off x="795637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05" name="Rechteck 304"/>
          <p:cNvSpPr/>
          <p:nvPr/>
        </p:nvSpPr>
        <p:spPr>
          <a:xfrm>
            <a:off x="795637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06" name="Rechteck 305"/>
          <p:cNvSpPr/>
          <p:nvPr/>
        </p:nvSpPr>
        <p:spPr>
          <a:xfrm>
            <a:off x="8388424" y="3824900"/>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07" name="Gerade Verbindung 306"/>
          <p:cNvCxnSpPr/>
          <p:nvPr/>
        </p:nvCxnSpPr>
        <p:spPr>
          <a:xfrm>
            <a:off x="831641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860444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1" name="Rechteck 310"/>
          <p:cNvSpPr/>
          <p:nvPr/>
        </p:nvSpPr>
        <p:spPr>
          <a:xfrm>
            <a:off x="860444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12" name="Rechteck 311"/>
          <p:cNvSpPr/>
          <p:nvPr/>
        </p:nvSpPr>
        <p:spPr>
          <a:xfrm>
            <a:off x="8604448"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3" name="Rechteck 312"/>
          <p:cNvSpPr/>
          <p:nvPr/>
        </p:nvSpPr>
        <p:spPr>
          <a:xfrm>
            <a:off x="795637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14" name="Rechteck 313"/>
          <p:cNvSpPr/>
          <p:nvPr/>
        </p:nvSpPr>
        <p:spPr>
          <a:xfrm>
            <a:off x="795637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15" name="Rechteck 314"/>
          <p:cNvSpPr/>
          <p:nvPr/>
        </p:nvSpPr>
        <p:spPr>
          <a:xfrm>
            <a:off x="8388424" y="34288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0" name="Rechteck 319"/>
          <p:cNvSpPr/>
          <p:nvPr/>
        </p:nvSpPr>
        <p:spPr>
          <a:xfrm>
            <a:off x="766834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 or Equal</a:t>
            </a:r>
          </a:p>
        </p:txBody>
      </p:sp>
      <p:sp>
        <p:nvSpPr>
          <p:cNvPr id="321" name="Rechteck 320"/>
          <p:cNvSpPr/>
          <p:nvPr/>
        </p:nvSpPr>
        <p:spPr>
          <a:xfrm>
            <a:off x="766834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6" name="Gleichschenkliges Dreieck 15"/>
          <p:cNvSpPr/>
          <p:nvPr/>
        </p:nvSpPr>
        <p:spPr>
          <a:xfrm rot="16200000">
            <a:off x="97160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2" name="Gleichschenkliges Dreieck 321"/>
          <p:cNvSpPr/>
          <p:nvPr/>
        </p:nvSpPr>
        <p:spPr>
          <a:xfrm rot="16200000">
            <a:off x="2483768"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3" name="Gleichschenkliges Dreieck 322"/>
          <p:cNvSpPr/>
          <p:nvPr/>
        </p:nvSpPr>
        <p:spPr>
          <a:xfrm rot="16200000">
            <a:off x="3995936"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4" name="Gleichschenkliges Dreieck 323"/>
          <p:cNvSpPr/>
          <p:nvPr/>
        </p:nvSpPr>
        <p:spPr>
          <a:xfrm rot="16200000">
            <a:off x="5508104"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3" name="Rechteck 332"/>
          <p:cNvSpPr/>
          <p:nvPr/>
        </p:nvSpPr>
        <p:spPr>
          <a:xfrm>
            <a:off x="107504" y="4941168"/>
            <a:ext cx="388843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In the illustration above, Epsilon (ε) was increased to 0.001.  Initial setting of Epsilon is  0.000 000 001 (1 part per billion).</a:t>
            </a:r>
          </a:p>
        </p:txBody>
      </p:sp>
      <p:sp>
        <p:nvSpPr>
          <p:cNvPr id="178" name="Rechteck 177">
            <a:extLst>
              <a:ext uri="{FF2B5EF4-FFF2-40B4-BE49-F238E27FC236}">
                <a16:creationId xmlns:a16="http://schemas.microsoft.com/office/drawing/2014/main" id="{E834F72C-BD66-4183-8757-B853BFB588AE}"/>
              </a:ext>
            </a:extLst>
          </p:cNvPr>
          <p:cNvSpPr/>
          <p:nvPr/>
        </p:nvSpPr>
        <p:spPr>
          <a:xfrm>
            <a:off x="32352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79" name="Rechteck 178">
            <a:extLst>
              <a:ext uri="{FF2B5EF4-FFF2-40B4-BE49-F238E27FC236}">
                <a16:creationId xmlns:a16="http://schemas.microsoft.com/office/drawing/2014/main" id="{9C41AA0E-DCF9-48AE-99EB-C52123640E9D}"/>
              </a:ext>
            </a:extLst>
          </p:cNvPr>
          <p:cNvSpPr/>
          <p:nvPr/>
        </p:nvSpPr>
        <p:spPr>
          <a:xfrm>
            <a:off x="32352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1" name="Rechteck 180">
            <a:extLst>
              <a:ext uri="{FF2B5EF4-FFF2-40B4-BE49-F238E27FC236}">
                <a16:creationId xmlns:a16="http://schemas.microsoft.com/office/drawing/2014/main" id="{BBDE384E-0879-4018-954E-E814C94984CF}"/>
              </a:ext>
            </a:extLst>
          </p:cNvPr>
          <p:cNvSpPr/>
          <p:nvPr/>
        </p:nvSpPr>
        <p:spPr>
          <a:xfrm>
            <a:off x="32352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2" name="Rechteck 181">
            <a:extLst>
              <a:ext uri="{FF2B5EF4-FFF2-40B4-BE49-F238E27FC236}">
                <a16:creationId xmlns:a16="http://schemas.microsoft.com/office/drawing/2014/main" id="{B81AD694-E2C7-439E-913A-B1C75BEA261F}"/>
              </a:ext>
            </a:extLst>
          </p:cNvPr>
          <p:cNvSpPr/>
          <p:nvPr/>
        </p:nvSpPr>
        <p:spPr>
          <a:xfrm>
            <a:off x="32352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3" name="Rechteck 182">
            <a:extLst>
              <a:ext uri="{FF2B5EF4-FFF2-40B4-BE49-F238E27FC236}">
                <a16:creationId xmlns:a16="http://schemas.microsoft.com/office/drawing/2014/main" id="{2F34AE21-088D-4980-BF09-A831A170B8F1}"/>
              </a:ext>
            </a:extLst>
          </p:cNvPr>
          <p:cNvSpPr/>
          <p:nvPr/>
        </p:nvSpPr>
        <p:spPr>
          <a:xfrm>
            <a:off x="32352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4" name="Rechteck 183">
            <a:extLst>
              <a:ext uri="{FF2B5EF4-FFF2-40B4-BE49-F238E27FC236}">
                <a16:creationId xmlns:a16="http://schemas.microsoft.com/office/drawing/2014/main" id="{23CB01DC-0AD0-4133-BA85-5ED31F95A34A}"/>
              </a:ext>
            </a:extLst>
          </p:cNvPr>
          <p:cNvSpPr/>
          <p:nvPr/>
        </p:nvSpPr>
        <p:spPr>
          <a:xfrm>
            <a:off x="32352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5" name="Rechteck 184">
            <a:extLst>
              <a:ext uri="{FF2B5EF4-FFF2-40B4-BE49-F238E27FC236}">
                <a16:creationId xmlns:a16="http://schemas.microsoft.com/office/drawing/2014/main" id="{077B2D2A-3C95-4D99-BBD6-35222EF1F616}"/>
              </a:ext>
            </a:extLst>
          </p:cNvPr>
          <p:cNvSpPr/>
          <p:nvPr/>
        </p:nvSpPr>
        <p:spPr>
          <a:xfrm>
            <a:off x="104360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86" name="Rechteck 185">
            <a:extLst>
              <a:ext uri="{FF2B5EF4-FFF2-40B4-BE49-F238E27FC236}">
                <a16:creationId xmlns:a16="http://schemas.microsoft.com/office/drawing/2014/main" id="{EF898260-BCFD-4C25-A91F-470BBD349CE9}"/>
              </a:ext>
            </a:extLst>
          </p:cNvPr>
          <p:cNvSpPr/>
          <p:nvPr/>
        </p:nvSpPr>
        <p:spPr>
          <a:xfrm>
            <a:off x="32352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7" name="Gleichschenkliges Dreieck 186">
            <a:extLst>
              <a:ext uri="{FF2B5EF4-FFF2-40B4-BE49-F238E27FC236}">
                <a16:creationId xmlns:a16="http://schemas.microsoft.com/office/drawing/2014/main" id="{B2422150-0A15-4835-8ECF-A7A0AD366D54}"/>
              </a:ext>
            </a:extLst>
          </p:cNvPr>
          <p:cNvSpPr/>
          <p:nvPr/>
        </p:nvSpPr>
        <p:spPr>
          <a:xfrm rot="16200000">
            <a:off x="97160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88" name="Gleichschenkliges Dreieck 187">
            <a:extLst>
              <a:ext uri="{FF2B5EF4-FFF2-40B4-BE49-F238E27FC236}">
                <a16:creationId xmlns:a16="http://schemas.microsoft.com/office/drawing/2014/main" id="{666EB51B-AD88-4E4D-9870-D4CE06955746}"/>
              </a:ext>
            </a:extLst>
          </p:cNvPr>
          <p:cNvSpPr/>
          <p:nvPr/>
        </p:nvSpPr>
        <p:spPr>
          <a:xfrm rot="16200000">
            <a:off x="971600"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89" name="Gerade Verbindung 106">
            <a:extLst>
              <a:ext uri="{FF2B5EF4-FFF2-40B4-BE49-F238E27FC236}">
                <a16:creationId xmlns:a16="http://schemas.microsoft.com/office/drawing/2014/main" id="{60071DEF-5D94-4316-BBC7-163183D2D65E}"/>
              </a:ext>
            </a:extLst>
          </p:cNvPr>
          <p:cNvCxnSpPr/>
          <p:nvPr/>
        </p:nvCxnSpPr>
        <p:spPr>
          <a:xfrm>
            <a:off x="683568"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42">
            <a:extLst>
              <a:ext uri="{FF2B5EF4-FFF2-40B4-BE49-F238E27FC236}">
                <a16:creationId xmlns:a16="http://schemas.microsoft.com/office/drawing/2014/main" id="{24DD25F3-16E6-4802-8FA4-9E47E8A255F7}"/>
              </a:ext>
            </a:extLst>
          </p:cNvPr>
          <p:cNvCxnSpPr/>
          <p:nvPr/>
        </p:nvCxnSpPr>
        <p:spPr>
          <a:xfrm>
            <a:off x="683568"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Gerade Verbindung 143">
            <a:extLst>
              <a:ext uri="{FF2B5EF4-FFF2-40B4-BE49-F238E27FC236}">
                <a16:creationId xmlns:a16="http://schemas.microsoft.com/office/drawing/2014/main" id="{BB2C2DF7-04D0-4449-B28D-4EBD19347FE2}"/>
              </a:ext>
            </a:extLst>
          </p:cNvPr>
          <p:cNvCxnSpPr/>
          <p:nvPr/>
        </p:nvCxnSpPr>
        <p:spPr>
          <a:xfrm>
            <a:off x="683568"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2" name="Rechteck 191">
            <a:extLst>
              <a:ext uri="{FF2B5EF4-FFF2-40B4-BE49-F238E27FC236}">
                <a16:creationId xmlns:a16="http://schemas.microsoft.com/office/drawing/2014/main" id="{97C2AF59-46F8-4FD8-919F-047408798CC2}"/>
              </a:ext>
            </a:extLst>
          </p:cNvPr>
          <p:cNvSpPr/>
          <p:nvPr/>
        </p:nvSpPr>
        <p:spPr>
          <a:xfrm>
            <a:off x="323528"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93" name="Rechteck 192">
            <a:extLst>
              <a:ext uri="{FF2B5EF4-FFF2-40B4-BE49-F238E27FC236}">
                <a16:creationId xmlns:a16="http://schemas.microsoft.com/office/drawing/2014/main" id="{6765E2D5-8042-46BD-AD90-1666B069E158}"/>
              </a:ext>
            </a:extLst>
          </p:cNvPr>
          <p:cNvSpPr/>
          <p:nvPr/>
        </p:nvSpPr>
        <p:spPr>
          <a:xfrm>
            <a:off x="323528"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4" name="Rechteck 193">
            <a:extLst>
              <a:ext uri="{FF2B5EF4-FFF2-40B4-BE49-F238E27FC236}">
                <a16:creationId xmlns:a16="http://schemas.microsoft.com/office/drawing/2014/main" id="{F7A54669-223F-4ED6-9AD9-8F59222D018C}"/>
              </a:ext>
            </a:extLst>
          </p:cNvPr>
          <p:cNvSpPr/>
          <p:nvPr/>
        </p:nvSpPr>
        <p:spPr>
          <a:xfrm>
            <a:off x="323528"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5" name="Rechteck 194">
            <a:extLst>
              <a:ext uri="{FF2B5EF4-FFF2-40B4-BE49-F238E27FC236}">
                <a16:creationId xmlns:a16="http://schemas.microsoft.com/office/drawing/2014/main" id="{50A7D703-885B-4563-A248-40029D04B860}"/>
              </a:ext>
            </a:extLst>
          </p:cNvPr>
          <p:cNvSpPr/>
          <p:nvPr/>
        </p:nvSpPr>
        <p:spPr>
          <a:xfrm>
            <a:off x="323528"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96" name="Rechteck 195">
            <a:extLst>
              <a:ext uri="{FF2B5EF4-FFF2-40B4-BE49-F238E27FC236}">
                <a16:creationId xmlns:a16="http://schemas.microsoft.com/office/drawing/2014/main" id="{F69F195A-ABE9-421B-860B-2700435339FB}"/>
              </a:ext>
            </a:extLst>
          </p:cNvPr>
          <p:cNvSpPr/>
          <p:nvPr/>
        </p:nvSpPr>
        <p:spPr>
          <a:xfrm>
            <a:off x="323528"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7" name="Rechteck 196">
            <a:extLst>
              <a:ext uri="{FF2B5EF4-FFF2-40B4-BE49-F238E27FC236}">
                <a16:creationId xmlns:a16="http://schemas.microsoft.com/office/drawing/2014/main" id="{548380AD-0B99-4F68-9F64-8F2CE2A99B51}"/>
              </a:ext>
            </a:extLst>
          </p:cNvPr>
          <p:cNvSpPr/>
          <p:nvPr/>
        </p:nvSpPr>
        <p:spPr>
          <a:xfrm>
            <a:off x="323528"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8" name="Rechteck 197">
            <a:extLst>
              <a:ext uri="{FF2B5EF4-FFF2-40B4-BE49-F238E27FC236}">
                <a16:creationId xmlns:a16="http://schemas.microsoft.com/office/drawing/2014/main" id="{82EF1139-1898-4383-BE7B-8CBD6D20046D}"/>
              </a:ext>
            </a:extLst>
          </p:cNvPr>
          <p:cNvSpPr/>
          <p:nvPr/>
        </p:nvSpPr>
        <p:spPr>
          <a:xfrm>
            <a:off x="323528"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199" name="Gerade Verbindung 106">
            <a:extLst>
              <a:ext uri="{FF2B5EF4-FFF2-40B4-BE49-F238E27FC236}">
                <a16:creationId xmlns:a16="http://schemas.microsoft.com/office/drawing/2014/main" id="{CE0C0A36-2222-4FB8-A6C6-76E1C25F7188}"/>
              </a:ext>
            </a:extLst>
          </p:cNvPr>
          <p:cNvCxnSpPr/>
          <p:nvPr/>
        </p:nvCxnSpPr>
        <p:spPr>
          <a:xfrm>
            <a:off x="2195736"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Gerade Verbindung 142">
            <a:extLst>
              <a:ext uri="{FF2B5EF4-FFF2-40B4-BE49-F238E27FC236}">
                <a16:creationId xmlns:a16="http://schemas.microsoft.com/office/drawing/2014/main" id="{A6F8E72C-C9B3-4E85-95FA-07B204D4A5A9}"/>
              </a:ext>
            </a:extLst>
          </p:cNvPr>
          <p:cNvCxnSpPr/>
          <p:nvPr/>
        </p:nvCxnSpPr>
        <p:spPr>
          <a:xfrm>
            <a:off x="2195736"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Gerade Verbindung 143">
            <a:extLst>
              <a:ext uri="{FF2B5EF4-FFF2-40B4-BE49-F238E27FC236}">
                <a16:creationId xmlns:a16="http://schemas.microsoft.com/office/drawing/2014/main" id="{0396DE8F-B907-4F8B-A127-26B4312E0315}"/>
              </a:ext>
            </a:extLst>
          </p:cNvPr>
          <p:cNvCxnSpPr/>
          <p:nvPr/>
        </p:nvCxnSpPr>
        <p:spPr>
          <a:xfrm>
            <a:off x="2195736"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9AA19D35-8143-41CA-919B-CFB8C3EF6D02}"/>
              </a:ext>
            </a:extLst>
          </p:cNvPr>
          <p:cNvSpPr/>
          <p:nvPr/>
        </p:nvSpPr>
        <p:spPr>
          <a:xfrm>
            <a:off x="1835696"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32" name="Rechteck 231">
            <a:extLst>
              <a:ext uri="{FF2B5EF4-FFF2-40B4-BE49-F238E27FC236}">
                <a16:creationId xmlns:a16="http://schemas.microsoft.com/office/drawing/2014/main" id="{4BA0F554-E5C5-4A3C-A5B2-E757AD8F824C}"/>
              </a:ext>
            </a:extLst>
          </p:cNvPr>
          <p:cNvSpPr/>
          <p:nvPr/>
        </p:nvSpPr>
        <p:spPr>
          <a:xfrm>
            <a:off x="1835696"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27" name="Rechteck 326">
            <a:extLst>
              <a:ext uri="{FF2B5EF4-FFF2-40B4-BE49-F238E27FC236}">
                <a16:creationId xmlns:a16="http://schemas.microsoft.com/office/drawing/2014/main" id="{49324FF9-46C1-420B-862B-F429023DA95A}"/>
              </a:ext>
            </a:extLst>
          </p:cNvPr>
          <p:cNvSpPr/>
          <p:nvPr/>
        </p:nvSpPr>
        <p:spPr>
          <a:xfrm>
            <a:off x="1835696"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28" name="Rechteck 327">
            <a:extLst>
              <a:ext uri="{FF2B5EF4-FFF2-40B4-BE49-F238E27FC236}">
                <a16:creationId xmlns:a16="http://schemas.microsoft.com/office/drawing/2014/main" id="{C734E6B7-0BF6-4804-A013-74CC25784C91}"/>
              </a:ext>
            </a:extLst>
          </p:cNvPr>
          <p:cNvSpPr/>
          <p:nvPr/>
        </p:nvSpPr>
        <p:spPr>
          <a:xfrm>
            <a:off x="1835696"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29" name="Rechteck 328">
            <a:extLst>
              <a:ext uri="{FF2B5EF4-FFF2-40B4-BE49-F238E27FC236}">
                <a16:creationId xmlns:a16="http://schemas.microsoft.com/office/drawing/2014/main" id="{D9D9A8B5-E7B0-47E4-BF68-534F2EF034E1}"/>
              </a:ext>
            </a:extLst>
          </p:cNvPr>
          <p:cNvSpPr/>
          <p:nvPr/>
        </p:nvSpPr>
        <p:spPr>
          <a:xfrm>
            <a:off x="1835696"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30" name="Rechteck 329">
            <a:extLst>
              <a:ext uri="{FF2B5EF4-FFF2-40B4-BE49-F238E27FC236}">
                <a16:creationId xmlns:a16="http://schemas.microsoft.com/office/drawing/2014/main" id="{0127CAE1-69C9-4D8A-A5DF-EA53FB082E22}"/>
              </a:ext>
            </a:extLst>
          </p:cNvPr>
          <p:cNvSpPr/>
          <p:nvPr/>
        </p:nvSpPr>
        <p:spPr>
          <a:xfrm>
            <a:off x="1835696"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31" name="Rechteck 330">
            <a:extLst>
              <a:ext uri="{FF2B5EF4-FFF2-40B4-BE49-F238E27FC236}">
                <a16:creationId xmlns:a16="http://schemas.microsoft.com/office/drawing/2014/main" id="{228EF953-5DD6-436F-89FF-3566D0A4993A}"/>
              </a:ext>
            </a:extLst>
          </p:cNvPr>
          <p:cNvSpPr/>
          <p:nvPr/>
        </p:nvSpPr>
        <p:spPr>
          <a:xfrm>
            <a:off x="1835696"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32" name="Gleichschenkliges Dreieck 331">
            <a:extLst>
              <a:ext uri="{FF2B5EF4-FFF2-40B4-BE49-F238E27FC236}">
                <a16:creationId xmlns:a16="http://schemas.microsoft.com/office/drawing/2014/main" id="{5A25AE01-99D7-414B-8A72-FF5F1222D3D1}"/>
              </a:ext>
            </a:extLst>
          </p:cNvPr>
          <p:cNvSpPr/>
          <p:nvPr/>
        </p:nvSpPr>
        <p:spPr>
          <a:xfrm rot="16200000">
            <a:off x="2483768"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4" name="Gleichschenkliges Dreieck 333">
            <a:extLst>
              <a:ext uri="{FF2B5EF4-FFF2-40B4-BE49-F238E27FC236}">
                <a16:creationId xmlns:a16="http://schemas.microsoft.com/office/drawing/2014/main" id="{28E568C4-8E16-4F97-AF05-8D8414C7989E}"/>
              </a:ext>
            </a:extLst>
          </p:cNvPr>
          <p:cNvSpPr/>
          <p:nvPr/>
        </p:nvSpPr>
        <p:spPr>
          <a:xfrm rot="16200000">
            <a:off x="2483768"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35" name="Gerade Verbindung 106">
            <a:extLst>
              <a:ext uri="{FF2B5EF4-FFF2-40B4-BE49-F238E27FC236}">
                <a16:creationId xmlns:a16="http://schemas.microsoft.com/office/drawing/2014/main" id="{61E45B17-24D7-46B8-81F9-5B314B6EA26E}"/>
              </a:ext>
            </a:extLst>
          </p:cNvPr>
          <p:cNvCxnSpPr/>
          <p:nvPr/>
        </p:nvCxnSpPr>
        <p:spPr>
          <a:xfrm>
            <a:off x="2195736"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6" name="Gerade Verbindung 142">
            <a:extLst>
              <a:ext uri="{FF2B5EF4-FFF2-40B4-BE49-F238E27FC236}">
                <a16:creationId xmlns:a16="http://schemas.microsoft.com/office/drawing/2014/main" id="{43368B4E-C26F-4EA9-AA58-0F6A14A0832F}"/>
              </a:ext>
            </a:extLst>
          </p:cNvPr>
          <p:cNvCxnSpPr/>
          <p:nvPr/>
        </p:nvCxnSpPr>
        <p:spPr>
          <a:xfrm>
            <a:off x="2195736"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Gerade Verbindung 143">
            <a:extLst>
              <a:ext uri="{FF2B5EF4-FFF2-40B4-BE49-F238E27FC236}">
                <a16:creationId xmlns:a16="http://schemas.microsoft.com/office/drawing/2014/main" id="{92FA86C0-A622-436D-AE1F-69E3BAA5F9F6}"/>
              </a:ext>
            </a:extLst>
          </p:cNvPr>
          <p:cNvCxnSpPr/>
          <p:nvPr/>
        </p:nvCxnSpPr>
        <p:spPr>
          <a:xfrm>
            <a:off x="2195736"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8" name="Rechteck 337">
            <a:extLst>
              <a:ext uri="{FF2B5EF4-FFF2-40B4-BE49-F238E27FC236}">
                <a16:creationId xmlns:a16="http://schemas.microsoft.com/office/drawing/2014/main" id="{21F6D743-79E6-447F-9D38-2A5E847B0F05}"/>
              </a:ext>
            </a:extLst>
          </p:cNvPr>
          <p:cNvSpPr/>
          <p:nvPr/>
        </p:nvSpPr>
        <p:spPr>
          <a:xfrm>
            <a:off x="1835696"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39" name="Rechteck 338">
            <a:extLst>
              <a:ext uri="{FF2B5EF4-FFF2-40B4-BE49-F238E27FC236}">
                <a16:creationId xmlns:a16="http://schemas.microsoft.com/office/drawing/2014/main" id="{474BAF3E-4D4A-43FE-9AEB-D9C0EF3AC0C0}"/>
              </a:ext>
            </a:extLst>
          </p:cNvPr>
          <p:cNvSpPr/>
          <p:nvPr/>
        </p:nvSpPr>
        <p:spPr>
          <a:xfrm>
            <a:off x="1835696"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0" name="Rechteck 339">
            <a:extLst>
              <a:ext uri="{FF2B5EF4-FFF2-40B4-BE49-F238E27FC236}">
                <a16:creationId xmlns:a16="http://schemas.microsoft.com/office/drawing/2014/main" id="{64319AC8-3C7C-4EA8-81BA-B6F36490F69A}"/>
              </a:ext>
            </a:extLst>
          </p:cNvPr>
          <p:cNvSpPr/>
          <p:nvPr/>
        </p:nvSpPr>
        <p:spPr>
          <a:xfrm>
            <a:off x="1835696"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1" name="Rechteck 340">
            <a:extLst>
              <a:ext uri="{FF2B5EF4-FFF2-40B4-BE49-F238E27FC236}">
                <a16:creationId xmlns:a16="http://schemas.microsoft.com/office/drawing/2014/main" id="{E7D9B147-5F40-4F8F-9620-2BA5D38D8E8D}"/>
              </a:ext>
            </a:extLst>
          </p:cNvPr>
          <p:cNvSpPr/>
          <p:nvPr/>
        </p:nvSpPr>
        <p:spPr>
          <a:xfrm>
            <a:off x="1835696"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42" name="Rechteck 341">
            <a:extLst>
              <a:ext uri="{FF2B5EF4-FFF2-40B4-BE49-F238E27FC236}">
                <a16:creationId xmlns:a16="http://schemas.microsoft.com/office/drawing/2014/main" id="{949CF4BB-BA0E-4EC3-9655-2CF2CAFC4944}"/>
              </a:ext>
            </a:extLst>
          </p:cNvPr>
          <p:cNvSpPr/>
          <p:nvPr/>
        </p:nvSpPr>
        <p:spPr>
          <a:xfrm>
            <a:off x="1835696"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3" name="Rechteck 342">
            <a:extLst>
              <a:ext uri="{FF2B5EF4-FFF2-40B4-BE49-F238E27FC236}">
                <a16:creationId xmlns:a16="http://schemas.microsoft.com/office/drawing/2014/main" id="{E53132A6-C761-4BBA-9F58-E2674A0D4D19}"/>
              </a:ext>
            </a:extLst>
          </p:cNvPr>
          <p:cNvSpPr/>
          <p:nvPr/>
        </p:nvSpPr>
        <p:spPr>
          <a:xfrm>
            <a:off x="1835696"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4" name="Rechteck 343">
            <a:extLst>
              <a:ext uri="{FF2B5EF4-FFF2-40B4-BE49-F238E27FC236}">
                <a16:creationId xmlns:a16="http://schemas.microsoft.com/office/drawing/2014/main" id="{9F50A2E3-24B9-45DF-B476-F3A0BF139A37}"/>
              </a:ext>
            </a:extLst>
          </p:cNvPr>
          <p:cNvSpPr/>
          <p:nvPr/>
        </p:nvSpPr>
        <p:spPr>
          <a:xfrm>
            <a:off x="1835696"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45" name="Gerade Verbindung 106">
            <a:extLst>
              <a:ext uri="{FF2B5EF4-FFF2-40B4-BE49-F238E27FC236}">
                <a16:creationId xmlns:a16="http://schemas.microsoft.com/office/drawing/2014/main" id="{D2FE68C7-7E2C-49CC-8570-473797CA0AAD}"/>
              </a:ext>
            </a:extLst>
          </p:cNvPr>
          <p:cNvCxnSpPr/>
          <p:nvPr/>
        </p:nvCxnSpPr>
        <p:spPr>
          <a:xfrm>
            <a:off x="3707904"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Gerade Verbindung 142">
            <a:extLst>
              <a:ext uri="{FF2B5EF4-FFF2-40B4-BE49-F238E27FC236}">
                <a16:creationId xmlns:a16="http://schemas.microsoft.com/office/drawing/2014/main" id="{F8AF84E4-66F9-451C-88DC-E723E3FDA30A}"/>
              </a:ext>
            </a:extLst>
          </p:cNvPr>
          <p:cNvCxnSpPr/>
          <p:nvPr/>
        </p:nvCxnSpPr>
        <p:spPr>
          <a:xfrm>
            <a:off x="3707904"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7" name="Gerade Verbindung 143">
            <a:extLst>
              <a:ext uri="{FF2B5EF4-FFF2-40B4-BE49-F238E27FC236}">
                <a16:creationId xmlns:a16="http://schemas.microsoft.com/office/drawing/2014/main" id="{CF4F36F0-47ED-4B41-88C3-EA4CF9AD16F6}"/>
              </a:ext>
            </a:extLst>
          </p:cNvPr>
          <p:cNvCxnSpPr/>
          <p:nvPr/>
        </p:nvCxnSpPr>
        <p:spPr>
          <a:xfrm>
            <a:off x="3707904"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8" name="Rechteck 347">
            <a:extLst>
              <a:ext uri="{FF2B5EF4-FFF2-40B4-BE49-F238E27FC236}">
                <a16:creationId xmlns:a16="http://schemas.microsoft.com/office/drawing/2014/main" id="{EC0A5ACF-575E-47C3-930D-C28344F15F29}"/>
              </a:ext>
            </a:extLst>
          </p:cNvPr>
          <p:cNvSpPr/>
          <p:nvPr/>
        </p:nvSpPr>
        <p:spPr>
          <a:xfrm>
            <a:off x="3347864"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49" name="Rechteck 348">
            <a:extLst>
              <a:ext uri="{FF2B5EF4-FFF2-40B4-BE49-F238E27FC236}">
                <a16:creationId xmlns:a16="http://schemas.microsoft.com/office/drawing/2014/main" id="{316B5BE1-BC2D-4DFB-9429-BF0B67B605A8}"/>
              </a:ext>
            </a:extLst>
          </p:cNvPr>
          <p:cNvSpPr/>
          <p:nvPr/>
        </p:nvSpPr>
        <p:spPr>
          <a:xfrm>
            <a:off x="3347864"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50" name="Rechteck 349">
            <a:extLst>
              <a:ext uri="{FF2B5EF4-FFF2-40B4-BE49-F238E27FC236}">
                <a16:creationId xmlns:a16="http://schemas.microsoft.com/office/drawing/2014/main" id="{42803A5D-40CD-4629-B888-CF7B4A9260ED}"/>
              </a:ext>
            </a:extLst>
          </p:cNvPr>
          <p:cNvSpPr/>
          <p:nvPr/>
        </p:nvSpPr>
        <p:spPr>
          <a:xfrm>
            <a:off x="3347864"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51" name="Rechteck 350">
            <a:extLst>
              <a:ext uri="{FF2B5EF4-FFF2-40B4-BE49-F238E27FC236}">
                <a16:creationId xmlns:a16="http://schemas.microsoft.com/office/drawing/2014/main" id="{BD0DD73E-3F68-45AD-8BF4-216155051580}"/>
              </a:ext>
            </a:extLst>
          </p:cNvPr>
          <p:cNvSpPr/>
          <p:nvPr/>
        </p:nvSpPr>
        <p:spPr>
          <a:xfrm>
            <a:off x="3347864"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2" name="Rechteck 351">
            <a:extLst>
              <a:ext uri="{FF2B5EF4-FFF2-40B4-BE49-F238E27FC236}">
                <a16:creationId xmlns:a16="http://schemas.microsoft.com/office/drawing/2014/main" id="{D9927DDA-0E46-4BEF-8BE1-F1360D2CE1C0}"/>
              </a:ext>
            </a:extLst>
          </p:cNvPr>
          <p:cNvSpPr/>
          <p:nvPr/>
        </p:nvSpPr>
        <p:spPr>
          <a:xfrm>
            <a:off x="3347864"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3" name="Rechteck 352">
            <a:extLst>
              <a:ext uri="{FF2B5EF4-FFF2-40B4-BE49-F238E27FC236}">
                <a16:creationId xmlns:a16="http://schemas.microsoft.com/office/drawing/2014/main" id="{9E6473C2-D1EF-49A8-8908-A59E35485CD9}"/>
              </a:ext>
            </a:extLst>
          </p:cNvPr>
          <p:cNvSpPr/>
          <p:nvPr/>
        </p:nvSpPr>
        <p:spPr>
          <a:xfrm>
            <a:off x="3347864"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4" name="Rechteck 353">
            <a:extLst>
              <a:ext uri="{FF2B5EF4-FFF2-40B4-BE49-F238E27FC236}">
                <a16:creationId xmlns:a16="http://schemas.microsoft.com/office/drawing/2014/main" id="{0A8FF9BD-BAAC-4609-8F15-7219DBDB9F13}"/>
              </a:ext>
            </a:extLst>
          </p:cNvPr>
          <p:cNvSpPr/>
          <p:nvPr/>
        </p:nvSpPr>
        <p:spPr>
          <a:xfrm>
            <a:off x="3347864"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209" name="Gerade Verbindung 106">
            <a:extLst>
              <a:ext uri="{FF2B5EF4-FFF2-40B4-BE49-F238E27FC236}">
                <a16:creationId xmlns:a16="http://schemas.microsoft.com/office/drawing/2014/main" id="{2E95CB25-56F0-4A55-8FEE-8A3D6B9A66B0}"/>
              </a:ext>
            </a:extLst>
          </p:cNvPr>
          <p:cNvCxnSpPr/>
          <p:nvPr/>
        </p:nvCxnSpPr>
        <p:spPr>
          <a:xfrm>
            <a:off x="3707904"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0" name="Gerade Verbindung 142">
            <a:extLst>
              <a:ext uri="{FF2B5EF4-FFF2-40B4-BE49-F238E27FC236}">
                <a16:creationId xmlns:a16="http://schemas.microsoft.com/office/drawing/2014/main" id="{7DF88601-F168-4D86-ADF8-19E0FE49F3C1}"/>
              </a:ext>
            </a:extLst>
          </p:cNvPr>
          <p:cNvCxnSpPr/>
          <p:nvPr/>
        </p:nvCxnSpPr>
        <p:spPr>
          <a:xfrm>
            <a:off x="3707904"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1" name="Gerade Verbindung 143">
            <a:extLst>
              <a:ext uri="{FF2B5EF4-FFF2-40B4-BE49-F238E27FC236}">
                <a16:creationId xmlns:a16="http://schemas.microsoft.com/office/drawing/2014/main" id="{FBE55292-899D-4306-8A8E-14B574FA7D1E}"/>
              </a:ext>
            </a:extLst>
          </p:cNvPr>
          <p:cNvCxnSpPr/>
          <p:nvPr/>
        </p:nvCxnSpPr>
        <p:spPr>
          <a:xfrm>
            <a:off x="3707904"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Rechteck 211">
            <a:extLst>
              <a:ext uri="{FF2B5EF4-FFF2-40B4-BE49-F238E27FC236}">
                <a16:creationId xmlns:a16="http://schemas.microsoft.com/office/drawing/2014/main" id="{59F90E73-2BC1-46C9-B194-1F3641BBF982}"/>
              </a:ext>
            </a:extLst>
          </p:cNvPr>
          <p:cNvSpPr/>
          <p:nvPr/>
        </p:nvSpPr>
        <p:spPr>
          <a:xfrm>
            <a:off x="3347864"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18" name="Rechteck 217">
            <a:extLst>
              <a:ext uri="{FF2B5EF4-FFF2-40B4-BE49-F238E27FC236}">
                <a16:creationId xmlns:a16="http://schemas.microsoft.com/office/drawing/2014/main" id="{607E3531-B14E-4457-BA5F-9A59E470FA87}"/>
              </a:ext>
            </a:extLst>
          </p:cNvPr>
          <p:cNvSpPr/>
          <p:nvPr/>
        </p:nvSpPr>
        <p:spPr>
          <a:xfrm>
            <a:off x="3347864"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219" name="Rechteck 218">
            <a:extLst>
              <a:ext uri="{FF2B5EF4-FFF2-40B4-BE49-F238E27FC236}">
                <a16:creationId xmlns:a16="http://schemas.microsoft.com/office/drawing/2014/main" id="{D5F6C70E-B0C6-4DC2-AB9C-0CC33532AC72}"/>
              </a:ext>
            </a:extLst>
          </p:cNvPr>
          <p:cNvSpPr/>
          <p:nvPr/>
        </p:nvSpPr>
        <p:spPr>
          <a:xfrm>
            <a:off x="3347864"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5" name="Rechteck 354">
            <a:extLst>
              <a:ext uri="{FF2B5EF4-FFF2-40B4-BE49-F238E27FC236}">
                <a16:creationId xmlns:a16="http://schemas.microsoft.com/office/drawing/2014/main" id="{703A72C5-7814-4A10-862E-9B2C5BF63F2D}"/>
              </a:ext>
            </a:extLst>
          </p:cNvPr>
          <p:cNvSpPr/>
          <p:nvPr/>
        </p:nvSpPr>
        <p:spPr>
          <a:xfrm>
            <a:off x="3347864"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6" name="Rechteck 355">
            <a:extLst>
              <a:ext uri="{FF2B5EF4-FFF2-40B4-BE49-F238E27FC236}">
                <a16:creationId xmlns:a16="http://schemas.microsoft.com/office/drawing/2014/main" id="{FD11479F-4CD7-4EA7-BFBB-4F13019BB97D}"/>
              </a:ext>
            </a:extLst>
          </p:cNvPr>
          <p:cNvSpPr/>
          <p:nvPr/>
        </p:nvSpPr>
        <p:spPr>
          <a:xfrm>
            <a:off x="3347864"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7" name="Rechteck 356">
            <a:extLst>
              <a:ext uri="{FF2B5EF4-FFF2-40B4-BE49-F238E27FC236}">
                <a16:creationId xmlns:a16="http://schemas.microsoft.com/office/drawing/2014/main" id="{6DCEF494-13AA-4B48-9896-64C8A484E945}"/>
              </a:ext>
            </a:extLst>
          </p:cNvPr>
          <p:cNvSpPr/>
          <p:nvPr/>
        </p:nvSpPr>
        <p:spPr>
          <a:xfrm>
            <a:off x="3347864"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8" name="Rechteck 357">
            <a:extLst>
              <a:ext uri="{FF2B5EF4-FFF2-40B4-BE49-F238E27FC236}">
                <a16:creationId xmlns:a16="http://schemas.microsoft.com/office/drawing/2014/main" id="{73A93D46-D269-4060-A138-32243A97D054}"/>
              </a:ext>
            </a:extLst>
          </p:cNvPr>
          <p:cNvSpPr/>
          <p:nvPr/>
        </p:nvSpPr>
        <p:spPr>
          <a:xfrm>
            <a:off x="3347864"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59" name="Gleichschenkliges Dreieck 358">
            <a:extLst>
              <a:ext uri="{FF2B5EF4-FFF2-40B4-BE49-F238E27FC236}">
                <a16:creationId xmlns:a16="http://schemas.microsoft.com/office/drawing/2014/main" id="{34943D8B-3587-428E-9E2A-E7B8AF61A92A}"/>
              </a:ext>
            </a:extLst>
          </p:cNvPr>
          <p:cNvSpPr/>
          <p:nvPr/>
        </p:nvSpPr>
        <p:spPr>
          <a:xfrm rot="16200000">
            <a:off x="3995936"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60" name="Gleichschenkliges Dreieck 359">
            <a:extLst>
              <a:ext uri="{FF2B5EF4-FFF2-40B4-BE49-F238E27FC236}">
                <a16:creationId xmlns:a16="http://schemas.microsoft.com/office/drawing/2014/main" id="{2C3AFA76-D1DE-4350-8808-5F99D55114CF}"/>
              </a:ext>
            </a:extLst>
          </p:cNvPr>
          <p:cNvSpPr/>
          <p:nvPr/>
        </p:nvSpPr>
        <p:spPr>
          <a:xfrm rot="16200000">
            <a:off x="7020272"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71" name="Gerade Verbindung 106">
            <a:extLst>
              <a:ext uri="{FF2B5EF4-FFF2-40B4-BE49-F238E27FC236}">
                <a16:creationId xmlns:a16="http://schemas.microsoft.com/office/drawing/2014/main" id="{C85988D7-CBD6-43B1-B729-CB9501CB31F4}"/>
              </a:ext>
            </a:extLst>
          </p:cNvPr>
          <p:cNvCxnSpPr/>
          <p:nvPr/>
        </p:nvCxnSpPr>
        <p:spPr>
          <a:xfrm>
            <a:off x="6732240"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2" name="Gerade Verbindung 142">
            <a:extLst>
              <a:ext uri="{FF2B5EF4-FFF2-40B4-BE49-F238E27FC236}">
                <a16:creationId xmlns:a16="http://schemas.microsoft.com/office/drawing/2014/main" id="{87833C6A-6DE8-4E11-A471-68633E8AB23C}"/>
              </a:ext>
            </a:extLst>
          </p:cNvPr>
          <p:cNvCxnSpPr/>
          <p:nvPr/>
        </p:nvCxnSpPr>
        <p:spPr>
          <a:xfrm>
            <a:off x="6732240"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3" name="Gerade Verbindung 143">
            <a:extLst>
              <a:ext uri="{FF2B5EF4-FFF2-40B4-BE49-F238E27FC236}">
                <a16:creationId xmlns:a16="http://schemas.microsoft.com/office/drawing/2014/main" id="{F982FFC2-8540-4FA9-ABDF-37C1D63DD460}"/>
              </a:ext>
            </a:extLst>
          </p:cNvPr>
          <p:cNvCxnSpPr/>
          <p:nvPr/>
        </p:nvCxnSpPr>
        <p:spPr>
          <a:xfrm>
            <a:off x="6732240"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4" name="Rechteck 373">
            <a:extLst>
              <a:ext uri="{FF2B5EF4-FFF2-40B4-BE49-F238E27FC236}">
                <a16:creationId xmlns:a16="http://schemas.microsoft.com/office/drawing/2014/main" id="{8F6A26D0-41EA-4395-8457-FDFC30750C9E}"/>
              </a:ext>
            </a:extLst>
          </p:cNvPr>
          <p:cNvSpPr/>
          <p:nvPr/>
        </p:nvSpPr>
        <p:spPr>
          <a:xfrm>
            <a:off x="6372200"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75" name="Rechteck 374">
            <a:extLst>
              <a:ext uri="{FF2B5EF4-FFF2-40B4-BE49-F238E27FC236}">
                <a16:creationId xmlns:a16="http://schemas.microsoft.com/office/drawing/2014/main" id="{7DB1DA93-DF14-4031-8789-CEFBC6DA6ABB}"/>
              </a:ext>
            </a:extLst>
          </p:cNvPr>
          <p:cNvSpPr/>
          <p:nvPr/>
        </p:nvSpPr>
        <p:spPr>
          <a:xfrm>
            <a:off x="6372200"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6" name="Rechteck 375">
            <a:extLst>
              <a:ext uri="{FF2B5EF4-FFF2-40B4-BE49-F238E27FC236}">
                <a16:creationId xmlns:a16="http://schemas.microsoft.com/office/drawing/2014/main" id="{2182ABBD-70E5-47E6-A24E-1CF99AFE34CA}"/>
              </a:ext>
            </a:extLst>
          </p:cNvPr>
          <p:cNvSpPr/>
          <p:nvPr/>
        </p:nvSpPr>
        <p:spPr>
          <a:xfrm>
            <a:off x="6372200"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77" name="Rechteck 376">
            <a:extLst>
              <a:ext uri="{FF2B5EF4-FFF2-40B4-BE49-F238E27FC236}">
                <a16:creationId xmlns:a16="http://schemas.microsoft.com/office/drawing/2014/main" id="{BBA12DF3-EBB6-4698-9023-E9253EC7C052}"/>
              </a:ext>
            </a:extLst>
          </p:cNvPr>
          <p:cNvSpPr/>
          <p:nvPr/>
        </p:nvSpPr>
        <p:spPr>
          <a:xfrm>
            <a:off x="6372200"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78" name="Rechteck 377">
            <a:extLst>
              <a:ext uri="{FF2B5EF4-FFF2-40B4-BE49-F238E27FC236}">
                <a16:creationId xmlns:a16="http://schemas.microsoft.com/office/drawing/2014/main" id="{DC9547FF-7ADD-46AD-98C6-9DE13DA96795}"/>
              </a:ext>
            </a:extLst>
          </p:cNvPr>
          <p:cNvSpPr/>
          <p:nvPr/>
        </p:nvSpPr>
        <p:spPr>
          <a:xfrm>
            <a:off x="6372200"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9" name="Rechteck 378">
            <a:extLst>
              <a:ext uri="{FF2B5EF4-FFF2-40B4-BE49-F238E27FC236}">
                <a16:creationId xmlns:a16="http://schemas.microsoft.com/office/drawing/2014/main" id="{FB959E04-340C-4A80-89F1-41BECDF51BE1}"/>
              </a:ext>
            </a:extLst>
          </p:cNvPr>
          <p:cNvSpPr/>
          <p:nvPr/>
        </p:nvSpPr>
        <p:spPr>
          <a:xfrm>
            <a:off x="6372200"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0" name="Rechteck 379">
            <a:extLst>
              <a:ext uri="{FF2B5EF4-FFF2-40B4-BE49-F238E27FC236}">
                <a16:creationId xmlns:a16="http://schemas.microsoft.com/office/drawing/2014/main" id="{0D7DD339-EDC9-42EB-914C-14F124C7CD5B}"/>
              </a:ext>
            </a:extLst>
          </p:cNvPr>
          <p:cNvSpPr/>
          <p:nvPr/>
        </p:nvSpPr>
        <p:spPr>
          <a:xfrm>
            <a:off x="6372200"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81" name="Gerade Verbindung 106">
            <a:extLst>
              <a:ext uri="{FF2B5EF4-FFF2-40B4-BE49-F238E27FC236}">
                <a16:creationId xmlns:a16="http://schemas.microsoft.com/office/drawing/2014/main" id="{66B7FCC9-A60C-41AB-8BAF-0AA95C85862E}"/>
              </a:ext>
            </a:extLst>
          </p:cNvPr>
          <p:cNvCxnSpPr/>
          <p:nvPr/>
        </p:nvCxnSpPr>
        <p:spPr>
          <a:xfrm>
            <a:off x="6732240"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2" name="Gerade Verbindung 142">
            <a:extLst>
              <a:ext uri="{FF2B5EF4-FFF2-40B4-BE49-F238E27FC236}">
                <a16:creationId xmlns:a16="http://schemas.microsoft.com/office/drawing/2014/main" id="{1CA0BBA2-2867-466F-95B7-B531A64547D6}"/>
              </a:ext>
            </a:extLst>
          </p:cNvPr>
          <p:cNvCxnSpPr/>
          <p:nvPr/>
        </p:nvCxnSpPr>
        <p:spPr>
          <a:xfrm>
            <a:off x="6732240"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3" name="Gerade Verbindung 143">
            <a:extLst>
              <a:ext uri="{FF2B5EF4-FFF2-40B4-BE49-F238E27FC236}">
                <a16:creationId xmlns:a16="http://schemas.microsoft.com/office/drawing/2014/main" id="{B1BC6410-E1BC-4FDC-9744-474D4A3EF0AA}"/>
              </a:ext>
            </a:extLst>
          </p:cNvPr>
          <p:cNvCxnSpPr/>
          <p:nvPr/>
        </p:nvCxnSpPr>
        <p:spPr>
          <a:xfrm>
            <a:off x="6732240"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4" name="Rechteck 383">
            <a:extLst>
              <a:ext uri="{FF2B5EF4-FFF2-40B4-BE49-F238E27FC236}">
                <a16:creationId xmlns:a16="http://schemas.microsoft.com/office/drawing/2014/main" id="{11B42A5D-655C-4A47-BEB0-FC454B15A0A7}"/>
              </a:ext>
            </a:extLst>
          </p:cNvPr>
          <p:cNvSpPr/>
          <p:nvPr/>
        </p:nvSpPr>
        <p:spPr>
          <a:xfrm>
            <a:off x="6372200"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85" name="Rechteck 384">
            <a:extLst>
              <a:ext uri="{FF2B5EF4-FFF2-40B4-BE49-F238E27FC236}">
                <a16:creationId xmlns:a16="http://schemas.microsoft.com/office/drawing/2014/main" id="{783DAAC6-ADAA-4B8A-9EBD-43D954EFE285}"/>
              </a:ext>
            </a:extLst>
          </p:cNvPr>
          <p:cNvSpPr/>
          <p:nvPr/>
        </p:nvSpPr>
        <p:spPr>
          <a:xfrm>
            <a:off x="6372200"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86" name="Rechteck 385">
            <a:extLst>
              <a:ext uri="{FF2B5EF4-FFF2-40B4-BE49-F238E27FC236}">
                <a16:creationId xmlns:a16="http://schemas.microsoft.com/office/drawing/2014/main" id="{230456CD-6F71-443A-8E9E-720BDB2E1827}"/>
              </a:ext>
            </a:extLst>
          </p:cNvPr>
          <p:cNvSpPr/>
          <p:nvPr/>
        </p:nvSpPr>
        <p:spPr>
          <a:xfrm>
            <a:off x="6372200"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7" name="Rechteck 386">
            <a:extLst>
              <a:ext uri="{FF2B5EF4-FFF2-40B4-BE49-F238E27FC236}">
                <a16:creationId xmlns:a16="http://schemas.microsoft.com/office/drawing/2014/main" id="{B993A8BD-DE75-4468-B866-7EBB82A81186}"/>
              </a:ext>
            </a:extLst>
          </p:cNvPr>
          <p:cNvSpPr/>
          <p:nvPr/>
        </p:nvSpPr>
        <p:spPr>
          <a:xfrm>
            <a:off x="6372200"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88" name="Rechteck 387">
            <a:extLst>
              <a:ext uri="{FF2B5EF4-FFF2-40B4-BE49-F238E27FC236}">
                <a16:creationId xmlns:a16="http://schemas.microsoft.com/office/drawing/2014/main" id="{033F696C-B559-41A4-BAF1-6BF76CE3875A}"/>
              </a:ext>
            </a:extLst>
          </p:cNvPr>
          <p:cNvSpPr/>
          <p:nvPr/>
        </p:nvSpPr>
        <p:spPr>
          <a:xfrm>
            <a:off x="6372200"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89" name="Rechteck 388">
            <a:extLst>
              <a:ext uri="{FF2B5EF4-FFF2-40B4-BE49-F238E27FC236}">
                <a16:creationId xmlns:a16="http://schemas.microsoft.com/office/drawing/2014/main" id="{37638684-4F34-4C8C-BDD2-2668E8E6C80D}"/>
              </a:ext>
            </a:extLst>
          </p:cNvPr>
          <p:cNvSpPr/>
          <p:nvPr/>
        </p:nvSpPr>
        <p:spPr>
          <a:xfrm>
            <a:off x="6372200"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90" name="Rechteck 389">
            <a:extLst>
              <a:ext uri="{FF2B5EF4-FFF2-40B4-BE49-F238E27FC236}">
                <a16:creationId xmlns:a16="http://schemas.microsoft.com/office/drawing/2014/main" id="{D85E415D-B1C4-4496-8441-BCDC27F7BE64}"/>
              </a:ext>
            </a:extLst>
          </p:cNvPr>
          <p:cNvSpPr/>
          <p:nvPr/>
        </p:nvSpPr>
        <p:spPr>
          <a:xfrm>
            <a:off x="6372200"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91" name="Gleichschenkliges Dreieck 390">
            <a:extLst>
              <a:ext uri="{FF2B5EF4-FFF2-40B4-BE49-F238E27FC236}">
                <a16:creationId xmlns:a16="http://schemas.microsoft.com/office/drawing/2014/main" id="{77226593-DAB8-47A7-B001-FC4EA8B0EF02}"/>
              </a:ext>
            </a:extLst>
          </p:cNvPr>
          <p:cNvSpPr/>
          <p:nvPr/>
        </p:nvSpPr>
        <p:spPr>
          <a:xfrm rot="16200000">
            <a:off x="7020272"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02" name="Gerade Verbindung 106">
            <a:extLst>
              <a:ext uri="{FF2B5EF4-FFF2-40B4-BE49-F238E27FC236}">
                <a16:creationId xmlns:a16="http://schemas.microsoft.com/office/drawing/2014/main" id="{E1EF7B8B-2B65-4D74-91D0-A88757B91A20}"/>
              </a:ext>
            </a:extLst>
          </p:cNvPr>
          <p:cNvCxnSpPr/>
          <p:nvPr/>
        </p:nvCxnSpPr>
        <p:spPr>
          <a:xfrm>
            <a:off x="5220072"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3" name="Gerade Verbindung 142">
            <a:extLst>
              <a:ext uri="{FF2B5EF4-FFF2-40B4-BE49-F238E27FC236}">
                <a16:creationId xmlns:a16="http://schemas.microsoft.com/office/drawing/2014/main" id="{318BF36D-EB91-4421-BA8C-4DF0615C2751}"/>
              </a:ext>
            </a:extLst>
          </p:cNvPr>
          <p:cNvCxnSpPr/>
          <p:nvPr/>
        </p:nvCxnSpPr>
        <p:spPr>
          <a:xfrm>
            <a:off x="5220072"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143">
            <a:extLst>
              <a:ext uri="{FF2B5EF4-FFF2-40B4-BE49-F238E27FC236}">
                <a16:creationId xmlns:a16="http://schemas.microsoft.com/office/drawing/2014/main" id="{2EF8C3D5-3B31-4C05-A105-8F88D55D18B7}"/>
              </a:ext>
            </a:extLst>
          </p:cNvPr>
          <p:cNvCxnSpPr/>
          <p:nvPr/>
        </p:nvCxnSpPr>
        <p:spPr>
          <a:xfrm>
            <a:off x="5220072"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5" name="Rechteck 404">
            <a:extLst>
              <a:ext uri="{FF2B5EF4-FFF2-40B4-BE49-F238E27FC236}">
                <a16:creationId xmlns:a16="http://schemas.microsoft.com/office/drawing/2014/main" id="{96E4CE48-2F6D-4CB1-9553-1F08DF746B8D}"/>
              </a:ext>
            </a:extLst>
          </p:cNvPr>
          <p:cNvSpPr/>
          <p:nvPr/>
        </p:nvSpPr>
        <p:spPr>
          <a:xfrm>
            <a:off x="4860032"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06" name="Rechteck 405">
            <a:extLst>
              <a:ext uri="{FF2B5EF4-FFF2-40B4-BE49-F238E27FC236}">
                <a16:creationId xmlns:a16="http://schemas.microsoft.com/office/drawing/2014/main" id="{5CD7BEA1-06C3-48EB-A977-8C306ECE14D3}"/>
              </a:ext>
            </a:extLst>
          </p:cNvPr>
          <p:cNvSpPr/>
          <p:nvPr/>
        </p:nvSpPr>
        <p:spPr>
          <a:xfrm>
            <a:off x="4860032"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07" name="Rechteck 406">
            <a:extLst>
              <a:ext uri="{FF2B5EF4-FFF2-40B4-BE49-F238E27FC236}">
                <a16:creationId xmlns:a16="http://schemas.microsoft.com/office/drawing/2014/main" id="{6D45AD5E-EE9A-4382-94BC-8C8CAFB34297}"/>
              </a:ext>
            </a:extLst>
          </p:cNvPr>
          <p:cNvSpPr/>
          <p:nvPr/>
        </p:nvSpPr>
        <p:spPr>
          <a:xfrm>
            <a:off x="4860032"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08" name="Rechteck 407">
            <a:extLst>
              <a:ext uri="{FF2B5EF4-FFF2-40B4-BE49-F238E27FC236}">
                <a16:creationId xmlns:a16="http://schemas.microsoft.com/office/drawing/2014/main" id="{B3EA7BDA-D7E2-46AA-8B07-6B0936A9C0B8}"/>
              </a:ext>
            </a:extLst>
          </p:cNvPr>
          <p:cNvSpPr/>
          <p:nvPr/>
        </p:nvSpPr>
        <p:spPr>
          <a:xfrm>
            <a:off x="4860032"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09" name="Rechteck 408">
            <a:extLst>
              <a:ext uri="{FF2B5EF4-FFF2-40B4-BE49-F238E27FC236}">
                <a16:creationId xmlns:a16="http://schemas.microsoft.com/office/drawing/2014/main" id="{52D41038-A4C6-4630-8729-EAEF8651F543}"/>
              </a:ext>
            </a:extLst>
          </p:cNvPr>
          <p:cNvSpPr/>
          <p:nvPr/>
        </p:nvSpPr>
        <p:spPr>
          <a:xfrm>
            <a:off x="4860032"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10" name="Rechteck 409">
            <a:extLst>
              <a:ext uri="{FF2B5EF4-FFF2-40B4-BE49-F238E27FC236}">
                <a16:creationId xmlns:a16="http://schemas.microsoft.com/office/drawing/2014/main" id="{2C8E35E9-629E-4EC9-8B63-75D68518135C}"/>
              </a:ext>
            </a:extLst>
          </p:cNvPr>
          <p:cNvSpPr/>
          <p:nvPr/>
        </p:nvSpPr>
        <p:spPr>
          <a:xfrm>
            <a:off x="4860032"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11" name="Rechteck 410">
            <a:extLst>
              <a:ext uri="{FF2B5EF4-FFF2-40B4-BE49-F238E27FC236}">
                <a16:creationId xmlns:a16="http://schemas.microsoft.com/office/drawing/2014/main" id="{0917A48E-C0CF-4E45-8FD9-EC12F93F5472}"/>
              </a:ext>
            </a:extLst>
          </p:cNvPr>
          <p:cNvSpPr/>
          <p:nvPr/>
        </p:nvSpPr>
        <p:spPr>
          <a:xfrm>
            <a:off x="4860032"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12" name="Gleichschenkliges Dreieck 411">
            <a:extLst>
              <a:ext uri="{FF2B5EF4-FFF2-40B4-BE49-F238E27FC236}">
                <a16:creationId xmlns:a16="http://schemas.microsoft.com/office/drawing/2014/main" id="{77304B85-4450-4A31-A98F-F98BCC6D29B9}"/>
              </a:ext>
            </a:extLst>
          </p:cNvPr>
          <p:cNvSpPr/>
          <p:nvPr/>
        </p:nvSpPr>
        <p:spPr>
          <a:xfrm rot="16200000">
            <a:off x="5508104"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13" name="Gerade Verbindung 106">
            <a:extLst>
              <a:ext uri="{FF2B5EF4-FFF2-40B4-BE49-F238E27FC236}">
                <a16:creationId xmlns:a16="http://schemas.microsoft.com/office/drawing/2014/main" id="{4B3D8873-D455-4514-84A0-AF6DAD70B0D3}"/>
              </a:ext>
            </a:extLst>
          </p:cNvPr>
          <p:cNvCxnSpPr/>
          <p:nvPr/>
        </p:nvCxnSpPr>
        <p:spPr>
          <a:xfrm>
            <a:off x="5220072"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4" name="Gerade Verbindung 142">
            <a:extLst>
              <a:ext uri="{FF2B5EF4-FFF2-40B4-BE49-F238E27FC236}">
                <a16:creationId xmlns:a16="http://schemas.microsoft.com/office/drawing/2014/main" id="{A9AE3800-AD7C-4AFC-919C-B65F2BFFF013}"/>
              </a:ext>
            </a:extLst>
          </p:cNvPr>
          <p:cNvCxnSpPr/>
          <p:nvPr/>
        </p:nvCxnSpPr>
        <p:spPr>
          <a:xfrm>
            <a:off x="5220072"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143">
            <a:extLst>
              <a:ext uri="{FF2B5EF4-FFF2-40B4-BE49-F238E27FC236}">
                <a16:creationId xmlns:a16="http://schemas.microsoft.com/office/drawing/2014/main" id="{CF783D2E-C5CA-4DC1-9886-2026BF168D87}"/>
              </a:ext>
            </a:extLst>
          </p:cNvPr>
          <p:cNvCxnSpPr/>
          <p:nvPr/>
        </p:nvCxnSpPr>
        <p:spPr>
          <a:xfrm>
            <a:off x="5220072"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6" name="Rechteck 415">
            <a:extLst>
              <a:ext uri="{FF2B5EF4-FFF2-40B4-BE49-F238E27FC236}">
                <a16:creationId xmlns:a16="http://schemas.microsoft.com/office/drawing/2014/main" id="{EF28774D-46A5-4213-B996-ABC59B4A4CDF}"/>
              </a:ext>
            </a:extLst>
          </p:cNvPr>
          <p:cNvSpPr/>
          <p:nvPr/>
        </p:nvSpPr>
        <p:spPr>
          <a:xfrm>
            <a:off x="4860032"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17" name="Rechteck 416">
            <a:extLst>
              <a:ext uri="{FF2B5EF4-FFF2-40B4-BE49-F238E27FC236}">
                <a16:creationId xmlns:a16="http://schemas.microsoft.com/office/drawing/2014/main" id="{7315C827-AD49-4024-ACE0-C648F5F225FF}"/>
              </a:ext>
            </a:extLst>
          </p:cNvPr>
          <p:cNvSpPr/>
          <p:nvPr/>
        </p:nvSpPr>
        <p:spPr>
          <a:xfrm>
            <a:off x="4860032"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18" name="Rechteck 417">
            <a:extLst>
              <a:ext uri="{FF2B5EF4-FFF2-40B4-BE49-F238E27FC236}">
                <a16:creationId xmlns:a16="http://schemas.microsoft.com/office/drawing/2014/main" id="{D4ABA001-E62F-4BD2-B4CA-BDD3383389E2}"/>
              </a:ext>
            </a:extLst>
          </p:cNvPr>
          <p:cNvSpPr/>
          <p:nvPr/>
        </p:nvSpPr>
        <p:spPr>
          <a:xfrm>
            <a:off x="4860032"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19" name="Rechteck 418">
            <a:extLst>
              <a:ext uri="{FF2B5EF4-FFF2-40B4-BE49-F238E27FC236}">
                <a16:creationId xmlns:a16="http://schemas.microsoft.com/office/drawing/2014/main" id="{DE97ECE3-8E8D-4495-8E25-0E4D13AF2239}"/>
              </a:ext>
            </a:extLst>
          </p:cNvPr>
          <p:cNvSpPr/>
          <p:nvPr/>
        </p:nvSpPr>
        <p:spPr>
          <a:xfrm>
            <a:off x="4860032"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20" name="Rechteck 419">
            <a:extLst>
              <a:ext uri="{FF2B5EF4-FFF2-40B4-BE49-F238E27FC236}">
                <a16:creationId xmlns:a16="http://schemas.microsoft.com/office/drawing/2014/main" id="{A8CDCCFC-B401-42A9-BC67-75F017BC0543}"/>
              </a:ext>
            </a:extLst>
          </p:cNvPr>
          <p:cNvSpPr/>
          <p:nvPr/>
        </p:nvSpPr>
        <p:spPr>
          <a:xfrm>
            <a:off x="4860032"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21" name="Rechteck 420">
            <a:extLst>
              <a:ext uri="{FF2B5EF4-FFF2-40B4-BE49-F238E27FC236}">
                <a16:creationId xmlns:a16="http://schemas.microsoft.com/office/drawing/2014/main" id="{DB6BCB17-A161-4B1C-A11F-DDDE95D03967}"/>
              </a:ext>
            </a:extLst>
          </p:cNvPr>
          <p:cNvSpPr/>
          <p:nvPr/>
        </p:nvSpPr>
        <p:spPr>
          <a:xfrm>
            <a:off x="4860032"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22" name="Rechteck 421">
            <a:extLst>
              <a:ext uri="{FF2B5EF4-FFF2-40B4-BE49-F238E27FC236}">
                <a16:creationId xmlns:a16="http://schemas.microsoft.com/office/drawing/2014/main" id="{8D9DEE0D-B13E-4010-BAE5-AF190ED1F9E9}"/>
              </a:ext>
            </a:extLst>
          </p:cNvPr>
          <p:cNvSpPr/>
          <p:nvPr/>
        </p:nvSpPr>
        <p:spPr>
          <a:xfrm>
            <a:off x="4860032"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23" name="Gleichschenkliges Dreieck 422">
            <a:extLst>
              <a:ext uri="{FF2B5EF4-FFF2-40B4-BE49-F238E27FC236}">
                <a16:creationId xmlns:a16="http://schemas.microsoft.com/office/drawing/2014/main" id="{20B7AB2C-6F1A-4477-BC68-513777DE27C7}"/>
              </a:ext>
            </a:extLst>
          </p:cNvPr>
          <p:cNvSpPr/>
          <p:nvPr/>
        </p:nvSpPr>
        <p:spPr>
          <a:xfrm rot="16200000">
            <a:off x="853244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b="1">
              <a:solidFill>
                <a:srgbClr val="3366FF"/>
              </a:solidFill>
            </a:endParaRPr>
          </a:p>
        </p:txBody>
      </p:sp>
      <p:sp>
        <p:nvSpPr>
          <p:cNvPr id="424" name="Gleichschenkliges Dreieck 423">
            <a:extLst>
              <a:ext uri="{FF2B5EF4-FFF2-40B4-BE49-F238E27FC236}">
                <a16:creationId xmlns:a16="http://schemas.microsoft.com/office/drawing/2014/main" id="{86103F04-1B80-4ED4-AD4B-C18819E57F0C}"/>
              </a:ext>
            </a:extLst>
          </p:cNvPr>
          <p:cNvSpPr/>
          <p:nvPr/>
        </p:nvSpPr>
        <p:spPr>
          <a:xfrm rot="16200000">
            <a:off x="853244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25" name="Gerade Verbindung 106">
            <a:extLst>
              <a:ext uri="{FF2B5EF4-FFF2-40B4-BE49-F238E27FC236}">
                <a16:creationId xmlns:a16="http://schemas.microsoft.com/office/drawing/2014/main" id="{E413FBE0-C032-4BBA-AE0E-81AD4ADE0D42}"/>
              </a:ext>
            </a:extLst>
          </p:cNvPr>
          <p:cNvCxnSpPr/>
          <p:nvPr/>
        </p:nvCxnSpPr>
        <p:spPr>
          <a:xfrm>
            <a:off x="8244408"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6" name="Gerade Verbindung 142">
            <a:extLst>
              <a:ext uri="{FF2B5EF4-FFF2-40B4-BE49-F238E27FC236}">
                <a16:creationId xmlns:a16="http://schemas.microsoft.com/office/drawing/2014/main" id="{B8138E4B-4F80-45E6-89E2-E2D1896BC0C5}"/>
              </a:ext>
            </a:extLst>
          </p:cNvPr>
          <p:cNvCxnSpPr/>
          <p:nvPr/>
        </p:nvCxnSpPr>
        <p:spPr>
          <a:xfrm>
            <a:off x="8244408"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7" name="Gerade Verbindung 143">
            <a:extLst>
              <a:ext uri="{FF2B5EF4-FFF2-40B4-BE49-F238E27FC236}">
                <a16:creationId xmlns:a16="http://schemas.microsoft.com/office/drawing/2014/main" id="{7A72BA9E-6C94-4F11-82CB-67D32F21813F}"/>
              </a:ext>
            </a:extLst>
          </p:cNvPr>
          <p:cNvCxnSpPr/>
          <p:nvPr/>
        </p:nvCxnSpPr>
        <p:spPr>
          <a:xfrm>
            <a:off x="8244408"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8" name="Rechteck 427">
            <a:extLst>
              <a:ext uri="{FF2B5EF4-FFF2-40B4-BE49-F238E27FC236}">
                <a16:creationId xmlns:a16="http://schemas.microsoft.com/office/drawing/2014/main" id="{BB2BF503-71ED-4E3C-8F21-90A23B79729A}"/>
              </a:ext>
            </a:extLst>
          </p:cNvPr>
          <p:cNvSpPr/>
          <p:nvPr/>
        </p:nvSpPr>
        <p:spPr>
          <a:xfrm>
            <a:off x="7884368"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29" name="Rechteck 428">
            <a:extLst>
              <a:ext uri="{FF2B5EF4-FFF2-40B4-BE49-F238E27FC236}">
                <a16:creationId xmlns:a16="http://schemas.microsoft.com/office/drawing/2014/main" id="{5D61AC1D-C55E-412F-A705-3AB4F31D342A}"/>
              </a:ext>
            </a:extLst>
          </p:cNvPr>
          <p:cNvSpPr/>
          <p:nvPr/>
        </p:nvSpPr>
        <p:spPr>
          <a:xfrm>
            <a:off x="7884368"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30" name="Rechteck 429">
            <a:extLst>
              <a:ext uri="{FF2B5EF4-FFF2-40B4-BE49-F238E27FC236}">
                <a16:creationId xmlns:a16="http://schemas.microsoft.com/office/drawing/2014/main" id="{88B15E0A-FE45-4489-9F78-0FF00BF375B8}"/>
              </a:ext>
            </a:extLst>
          </p:cNvPr>
          <p:cNvSpPr/>
          <p:nvPr/>
        </p:nvSpPr>
        <p:spPr>
          <a:xfrm>
            <a:off x="7884368"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31" name="Rechteck 430">
            <a:extLst>
              <a:ext uri="{FF2B5EF4-FFF2-40B4-BE49-F238E27FC236}">
                <a16:creationId xmlns:a16="http://schemas.microsoft.com/office/drawing/2014/main" id="{6F0CBA0D-D214-4F64-B5A2-D41D430F8F29}"/>
              </a:ext>
            </a:extLst>
          </p:cNvPr>
          <p:cNvSpPr/>
          <p:nvPr/>
        </p:nvSpPr>
        <p:spPr>
          <a:xfrm>
            <a:off x="7884368"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32" name="Rechteck 431">
            <a:extLst>
              <a:ext uri="{FF2B5EF4-FFF2-40B4-BE49-F238E27FC236}">
                <a16:creationId xmlns:a16="http://schemas.microsoft.com/office/drawing/2014/main" id="{45B08FE7-0241-4C98-B8DF-00D1163A608D}"/>
              </a:ext>
            </a:extLst>
          </p:cNvPr>
          <p:cNvSpPr/>
          <p:nvPr/>
        </p:nvSpPr>
        <p:spPr>
          <a:xfrm>
            <a:off x="7884368"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33" name="Rechteck 432">
            <a:extLst>
              <a:ext uri="{FF2B5EF4-FFF2-40B4-BE49-F238E27FC236}">
                <a16:creationId xmlns:a16="http://schemas.microsoft.com/office/drawing/2014/main" id="{63B1429F-AB10-4192-9F25-8DA1F1FBF509}"/>
              </a:ext>
            </a:extLst>
          </p:cNvPr>
          <p:cNvSpPr/>
          <p:nvPr/>
        </p:nvSpPr>
        <p:spPr>
          <a:xfrm>
            <a:off x="7884368"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34" name="Rechteck 433">
            <a:extLst>
              <a:ext uri="{FF2B5EF4-FFF2-40B4-BE49-F238E27FC236}">
                <a16:creationId xmlns:a16="http://schemas.microsoft.com/office/drawing/2014/main" id="{3C335922-65A7-4191-A524-8EDE21D8B9F1}"/>
              </a:ext>
            </a:extLst>
          </p:cNvPr>
          <p:cNvSpPr/>
          <p:nvPr/>
        </p:nvSpPr>
        <p:spPr>
          <a:xfrm>
            <a:off x="7884368"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436" name="Gerade Verbindung 106">
            <a:extLst>
              <a:ext uri="{FF2B5EF4-FFF2-40B4-BE49-F238E27FC236}">
                <a16:creationId xmlns:a16="http://schemas.microsoft.com/office/drawing/2014/main" id="{520F3952-9D6F-42A2-9169-B78D15D7DA05}"/>
              </a:ext>
            </a:extLst>
          </p:cNvPr>
          <p:cNvCxnSpPr/>
          <p:nvPr/>
        </p:nvCxnSpPr>
        <p:spPr>
          <a:xfrm>
            <a:off x="824440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Gerade Verbindung 142">
            <a:extLst>
              <a:ext uri="{FF2B5EF4-FFF2-40B4-BE49-F238E27FC236}">
                <a16:creationId xmlns:a16="http://schemas.microsoft.com/office/drawing/2014/main" id="{4D35429B-460F-4AEA-94A4-3E505E6D86F6}"/>
              </a:ext>
            </a:extLst>
          </p:cNvPr>
          <p:cNvCxnSpPr/>
          <p:nvPr/>
        </p:nvCxnSpPr>
        <p:spPr>
          <a:xfrm>
            <a:off x="824440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143">
            <a:extLst>
              <a:ext uri="{FF2B5EF4-FFF2-40B4-BE49-F238E27FC236}">
                <a16:creationId xmlns:a16="http://schemas.microsoft.com/office/drawing/2014/main" id="{E5EFBE2F-269D-4072-9072-B9A4A4316D74}"/>
              </a:ext>
            </a:extLst>
          </p:cNvPr>
          <p:cNvCxnSpPr/>
          <p:nvPr/>
        </p:nvCxnSpPr>
        <p:spPr>
          <a:xfrm>
            <a:off x="824440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9" name="Rechteck 438">
            <a:extLst>
              <a:ext uri="{FF2B5EF4-FFF2-40B4-BE49-F238E27FC236}">
                <a16:creationId xmlns:a16="http://schemas.microsoft.com/office/drawing/2014/main" id="{EA45532F-974F-4660-81E0-373F3E1F8A77}"/>
              </a:ext>
            </a:extLst>
          </p:cNvPr>
          <p:cNvSpPr/>
          <p:nvPr/>
        </p:nvSpPr>
        <p:spPr>
          <a:xfrm>
            <a:off x="788436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40" name="Rechteck 439">
            <a:extLst>
              <a:ext uri="{FF2B5EF4-FFF2-40B4-BE49-F238E27FC236}">
                <a16:creationId xmlns:a16="http://schemas.microsoft.com/office/drawing/2014/main" id="{DCFA0AE2-BEF1-4F5D-848B-A8D83708E91D}"/>
              </a:ext>
            </a:extLst>
          </p:cNvPr>
          <p:cNvSpPr/>
          <p:nvPr/>
        </p:nvSpPr>
        <p:spPr>
          <a:xfrm>
            <a:off x="788436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1" name="Rechteck 440">
            <a:extLst>
              <a:ext uri="{FF2B5EF4-FFF2-40B4-BE49-F238E27FC236}">
                <a16:creationId xmlns:a16="http://schemas.microsoft.com/office/drawing/2014/main" id="{1D3AA546-E0A7-45EA-A8FF-915C950FBFCE}"/>
              </a:ext>
            </a:extLst>
          </p:cNvPr>
          <p:cNvSpPr/>
          <p:nvPr/>
        </p:nvSpPr>
        <p:spPr>
          <a:xfrm>
            <a:off x="788436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2" name="Rechteck 441">
            <a:extLst>
              <a:ext uri="{FF2B5EF4-FFF2-40B4-BE49-F238E27FC236}">
                <a16:creationId xmlns:a16="http://schemas.microsoft.com/office/drawing/2014/main" id="{8D2F9CAD-56F8-4972-8D41-66E906B7AB54}"/>
              </a:ext>
            </a:extLst>
          </p:cNvPr>
          <p:cNvSpPr/>
          <p:nvPr/>
        </p:nvSpPr>
        <p:spPr>
          <a:xfrm>
            <a:off x="788436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43" name="Rechteck 442">
            <a:extLst>
              <a:ext uri="{FF2B5EF4-FFF2-40B4-BE49-F238E27FC236}">
                <a16:creationId xmlns:a16="http://schemas.microsoft.com/office/drawing/2014/main" id="{1BEE88EC-B663-43C9-B971-1FA91390B671}"/>
              </a:ext>
            </a:extLst>
          </p:cNvPr>
          <p:cNvSpPr/>
          <p:nvPr/>
        </p:nvSpPr>
        <p:spPr>
          <a:xfrm>
            <a:off x="788436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4" name="Rechteck 443">
            <a:extLst>
              <a:ext uri="{FF2B5EF4-FFF2-40B4-BE49-F238E27FC236}">
                <a16:creationId xmlns:a16="http://schemas.microsoft.com/office/drawing/2014/main" id="{025ECD74-7861-418F-8569-3CDFC36A03D6}"/>
              </a:ext>
            </a:extLst>
          </p:cNvPr>
          <p:cNvSpPr/>
          <p:nvPr/>
        </p:nvSpPr>
        <p:spPr>
          <a:xfrm>
            <a:off x="788436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5" name="Rechteck 444">
            <a:extLst>
              <a:ext uri="{FF2B5EF4-FFF2-40B4-BE49-F238E27FC236}">
                <a16:creationId xmlns:a16="http://schemas.microsoft.com/office/drawing/2014/main" id="{89035665-C84C-4922-B7D6-329058C14FD6}"/>
              </a:ext>
            </a:extLst>
          </p:cNvPr>
          <p:cNvSpPr/>
          <p:nvPr/>
        </p:nvSpPr>
        <p:spPr>
          <a:xfrm>
            <a:off x="788436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46" name="Rechteck 445">
            <a:extLst>
              <a:ext uri="{FF2B5EF4-FFF2-40B4-BE49-F238E27FC236}">
                <a16:creationId xmlns:a16="http://schemas.microsoft.com/office/drawing/2014/main" id="{84296583-1F3C-4879-951D-CB87DD778610}"/>
              </a:ext>
            </a:extLst>
          </p:cNvPr>
          <p:cNvSpPr/>
          <p:nvPr/>
        </p:nvSpPr>
        <p:spPr>
          <a:xfrm>
            <a:off x="39531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47" name="Rechteck 446">
            <a:extLst>
              <a:ext uri="{FF2B5EF4-FFF2-40B4-BE49-F238E27FC236}">
                <a16:creationId xmlns:a16="http://schemas.microsoft.com/office/drawing/2014/main" id="{AA2F52A2-5182-40AA-8ABF-2D513379BF06}"/>
              </a:ext>
            </a:extLst>
          </p:cNvPr>
          <p:cNvSpPr/>
          <p:nvPr/>
        </p:nvSpPr>
        <p:spPr>
          <a:xfrm>
            <a:off x="1907480"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gt;~  /  !=~  0</a:t>
            </a:r>
          </a:p>
        </p:txBody>
      </p:sp>
      <p:sp>
        <p:nvSpPr>
          <p:cNvPr id="448" name="Rechteck 447">
            <a:extLst>
              <a:ext uri="{FF2B5EF4-FFF2-40B4-BE49-F238E27FC236}">
                <a16:creationId xmlns:a16="http://schemas.microsoft.com/office/drawing/2014/main" id="{B5AB6B31-AA19-4C3F-B1BB-64FAB8D8DF3F}"/>
              </a:ext>
            </a:extLst>
          </p:cNvPr>
          <p:cNvSpPr/>
          <p:nvPr/>
        </p:nvSpPr>
        <p:spPr>
          <a:xfrm>
            <a:off x="3419648"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49" name="Rechteck 448">
            <a:extLst>
              <a:ext uri="{FF2B5EF4-FFF2-40B4-BE49-F238E27FC236}">
                <a16:creationId xmlns:a16="http://schemas.microsoft.com/office/drawing/2014/main" id="{2C86B039-922B-4D0B-9FBB-B7A196D28C56}"/>
              </a:ext>
            </a:extLst>
          </p:cNvPr>
          <p:cNvSpPr/>
          <p:nvPr/>
        </p:nvSpPr>
        <p:spPr>
          <a:xfrm>
            <a:off x="4931816"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50" name="Rechteck 449">
            <a:extLst>
              <a:ext uri="{FF2B5EF4-FFF2-40B4-BE49-F238E27FC236}">
                <a16:creationId xmlns:a16="http://schemas.microsoft.com/office/drawing/2014/main" id="{9853C1AF-1E10-4CAD-9C86-8C922FDB1877}"/>
              </a:ext>
            </a:extLst>
          </p:cNvPr>
          <p:cNvSpPr/>
          <p:nvPr/>
        </p:nvSpPr>
        <p:spPr>
          <a:xfrm>
            <a:off x="6443984"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1" name="Rechteck 450">
            <a:extLst>
              <a:ext uri="{FF2B5EF4-FFF2-40B4-BE49-F238E27FC236}">
                <a16:creationId xmlns:a16="http://schemas.microsoft.com/office/drawing/2014/main" id="{7FE61F30-B24F-4785-B875-ACE6F0343238}"/>
              </a:ext>
            </a:extLst>
          </p:cNvPr>
          <p:cNvSpPr/>
          <p:nvPr/>
        </p:nvSpPr>
        <p:spPr>
          <a:xfrm>
            <a:off x="795615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2" name="Rechteck 451">
            <a:extLst>
              <a:ext uri="{FF2B5EF4-FFF2-40B4-BE49-F238E27FC236}">
                <a16:creationId xmlns:a16="http://schemas.microsoft.com/office/drawing/2014/main" id="{E16789BD-9E60-4923-8074-826E57205E3E}"/>
              </a:ext>
            </a:extLst>
          </p:cNvPr>
          <p:cNvSpPr/>
          <p:nvPr/>
        </p:nvSpPr>
        <p:spPr>
          <a:xfrm>
            <a:off x="39600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53" name="Rechteck 452">
            <a:extLst>
              <a:ext uri="{FF2B5EF4-FFF2-40B4-BE49-F238E27FC236}">
                <a16:creationId xmlns:a16="http://schemas.microsoft.com/office/drawing/2014/main" id="{BC155719-D0B8-4EAA-BFDC-002ACEA6227B}"/>
              </a:ext>
            </a:extLst>
          </p:cNvPr>
          <p:cNvSpPr/>
          <p:nvPr/>
        </p:nvSpPr>
        <p:spPr>
          <a:xfrm>
            <a:off x="1908168"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gt;  /  !=  0</a:t>
            </a:r>
          </a:p>
        </p:txBody>
      </p:sp>
      <p:sp>
        <p:nvSpPr>
          <p:cNvPr id="454" name="Rechteck 453">
            <a:extLst>
              <a:ext uri="{FF2B5EF4-FFF2-40B4-BE49-F238E27FC236}">
                <a16:creationId xmlns:a16="http://schemas.microsoft.com/office/drawing/2014/main" id="{1893FEF6-166E-47BE-92B4-1E53C1E81682}"/>
              </a:ext>
            </a:extLst>
          </p:cNvPr>
          <p:cNvSpPr/>
          <p:nvPr/>
        </p:nvSpPr>
        <p:spPr>
          <a:xfrm>
            <a:off x="3420336"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5" name="Rechteck 454">
            <a:extLst>
              <a:ext uri="{FF2B5EF4-FFF2-40B4-BE49-F238E27FC236}">
                <a16:creationId xmlns:a16="http://schemas.microsoft.com/office/drawing/2014/main" id="{ED8F7761-2CEF-4850-A7A6-E5D6E2E8AFAD}"/>
              </a:ext>
            </a:extLst>
          </p:cNvPr>
          <p:cNvSpPr/>
          <p:nvPr/>
        </p:nvSpPr>
        <p:spPr>
          <a:xfrm>
            <a:off x="4932504"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6" name="Rechteck 455">
            <a:extLst>
              <a:ext uri="{FF2B5EF4-FFF2-40B4-BE49-F238E27FC236}">
                <a16:creationId xmlns:a16="http://schemas.microsoft.com/office/drawing/2014/main" id="{F518B5F2-2AF5-4D7B-8EDA-B14A48D91E87}"/>
              </a:ext>
            </a:extLst>
          </p:cNvPr>
          <p:cNvSpPr/>
          <p:nvPr/>
        </p:nvSpPr>
        <p:spPr>
          <a:xfrm>
            <a:off x="6444672"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7" name="Rechteck 456">
            <a:extLst>
              <a:ext uri="{FF2B5EF4-FFF2-40B4-BE49-F238E27FC236}">
                <a16:creationId xmlns:a16="http://schemas.microsoft.com/office/drawing/2014/main" id="{9089E543-83B0-42BA-86AB-ACFFB45A6460}"/>
              </a:ext>
            </a:extLst>
          </p:cNvPr>
          <p:cNvSpPr/>
          <p:nvPr/>
        </p:nvSpPr>
        <p:spPr>
          <a:xfrm>
            <a:off x="795684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8" name="Rechteck 457">
            <a:extLst>
              <a:ext uri="{FF2B5EF4-FFF2-40B4-BE49-F238E27FC236}">
                <a16:creationId xmlns:a16="http://schemas.microsoft.com/office/drawing/2014/main" id="{9A6AAF31-A2A1-42D9-B410-20A1E787550A}"/>
              </a:ext>
            </a:extLst>
          </p:cNvPr>
          <p:cNvSpPr/>
          <p:nvPr/>
        </p:nvSpPr>
        <p:spPr>
          <a:xfrm>
            <a:off x="558000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460" name="Rechteck 459">
            <a:extLst>
              <a:ext uri="{FF2B5EF4-FFF2-40B4-BE49-F238E27FC236}">
                <a16:creationId xmlns:a16="http://schemas.microsoft.com/office/drawing/2014/main" id="{62D24826-A193-4D71-B452-927FD0C2E5B5}"/>
              </a:ext>
            </a:extLst>
          </p:cNvPr>
          <p:cNvSpPr/>
          <p:nvPr/>
        </p:nvSpPr>
        <p:spPr>
          <a:xfrm>
            <a:off x="2555776"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461" name="Rechteck 460">
            <a:extLst>
              <a:ext uri="{FF2B5EF4-FFF2-40B4-BE49-F238E27FC236}">
                <a16:creationId xmlns:a16="http://schemas.microsoft.com/office/drawing/2014/main" id="{F28C686B-8179-4B42-8A58-8707950DD695}"/>
              </a:ext>
            </a:extLst>
          </p:cNvPr>
          <p:cNvSpPr/>
          <p:nvPr/>
        </p:nvSpPr>
        <p:spPr>
          <a:xfrm>
            <a:off x="1043608"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Tree>
    <p:extLst>
      <p:ext uri="{BB962C8B-B14F-4D97-AF65-F5344CB8AC3E}">
        <p14:creationId xmlns:p14="http://schemas.microsoft.com/office/powerpoint/2010/main" val="21717627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Deep Operators</a:t>
            </a:r>
            <a:br>
              <a:rPr lang="en-US" dirty="0"/>
            </a:br>
            <a:r>
              <a:rPr lang="en-US" dirty="0"/>
              <a:t>for Matrix Operations</a:t>
            </a:r>
          </a:p>
        </p:txBody>
      </p:sp>
      <p:sp>
        <p:nvSpPr>
          <p:cNvPr id="4" name="Textplatzhalter 3"/>
          <p:cNvSpPr>
            <a:spLocks noGrp="1"/>
          </p:cNvSpPr>
          <p:nvPr>
            <p:ph type="body" sz="quarter" idx="16"/>
          </p:nvPr>
        </p:nvSpPr>
        <p:spPr/>
        <p:txBody>
          <a:bodyPr/>
          <a:lstStyle/>
          <a:p>
            <a:endParaRPr lang="en-US"/>
          </a:p>
        </p:txBody>
      </p:sp>
      <p:grpSp>
        <p:nvGrpSpPr>
          <p:cNvPr id="16" name="Gruppieren 15"/>
          <p:cNvGrpSpPr/>
          <p:nvPr/>
        </p:nvGrpSpPr>
        <p:grpSpPr>
          <a:xfrm>
            <a:off x="1043510" y="1700760"/>
            <a:ext cx="576080" cy="576080"/>
            <a:chOff x="1259540" y="1556740"/>
            <a:chExt cx="576080" cy="576080"/>
          </a:xfrm>
        </p:grpSpPr>
        <p:sp>
          <p:nvSpPr>
            <p:cNvPr id="9" name="Rechteck 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00" name="Rechteck 9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 name="Gruppieren 13"/>
            <p:cNvGrpSpPr/>
            <p:nvPr/>
          </p:nvGrpSpPr>
          <p:grpSpPr>
            <a:xfrm>
              <a:off x="1259540" y="1556740"/>
              <a:ext cx="72010" cy="576080"/>
              <a:chOff x="1259540" y="1556740"/>
              <a:chExt cx="72010" cy="576080"/>
            </a:xfrm>
          </p:grpSpPr>
          <p:cxnSp>
            <p:nvCxnSpPr>
              <p:cNvPr id="5" name="Gerade Verbindung 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5" name="Rechteck 10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06" name="Rechteck 10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07" name="Gruppieren 106"/>
            <p:cNvGrpSpPr/>
            <p:nvPr/>
          </p:nvGrpSpPr>
          <p:grpSpPr>
            <a:xfrm flipH="1">
              <a:off x="1763610" y="1556740"/>
              <a:ext cx="72010" cy="576080"/>
              <a:chOff x="1259540" y="1556740"/>
              <a:chExt cx="72010" cy="576080"/>
            </a:xfrm>
          </p:grpSpPr>
          <p:cxnSp>
            <p:nvCxnSpPr>
              <p:cNvPr id="108" name="Gerade Verbindung 10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21" name="Rechteck 120"/>
          <p:cNvSpPr/>
          <p:nvPr/>
        </p:nvSpPr>
        <p:spPr>
          <a:xfrm>
            <a:off x="7554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22" name="Rechteck 121"/>
          <p:cNvSpPr/>
          <p:nvPr/>
        </p:nvSpPr>
        <p:spPr>
          <a:xfrm>
            <a:off x="161959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7" name="Gruppieren 16"/>
          <p:cNvGrpSpPr/>
          <p:nvPr/>
        </p:nvGrpSpPr>
        <p:grpSpPr>
          <a:xfrm>
            <a:off x="1907630" y="1700760"/>
            <a:ext cx="576080" cy="576080"/>
            <a:chOff x="2195670" y="1556740"/>
            <a:chExt cx="576080" cy="576080"/>
          </a:xfrm>
        </p:grpSpPr>
        <p:sp>
          <p:nvSpPr>
            <p:cNvPr id="123" name="Rechteck 122"/>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24" name="Rechteck 123"/>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grpSp>
          <p:nvGrpSpPr>
            <p:cNvPr id="125" name="Gruppieren 124"/>
            <p:cNvGrpSpPr/>
            <p:nvPr/>
          </p:nvGrpSpPr>
          <p:grpSpPr>
            <a:xfrm>
              <a:off x="2195670" y="1556740"/>
              <a:ext cx="72010" cy="576080"/>
              <a:chOff x="1259540" y="1556740"/>
              <a:chExt cx="72010" cy="576080"/>
            </a:xfrm>
          </p:grpSpPr>
          <p:cxnSp>
            <p:nvCxnSpPr>
              <p:cNvPr id="126" name="Gerade Verbindung 12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12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12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9" name="Rechteck 12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30" name="Rechteck 12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31" name="Gruppieren 130"/>
            <p:cNvGrpSpPr/>
            <p:nvPr/>
          </p:nvGrpSpPr>
          <p:grpSpPr>
            <a:xfrm flipH="1">
              <a:off x="2699740" y="1556740"/>
              <a:ext cx="72010" cy="576080"/>
              <a:chOff x="1259540" y="1556740"/>
              <a:chExt cx="72010" cy="576080"/>
            </a:xfrm>
          </p:grpSpPr>
          <p:cxnSp>
            <p:nvCxnSpPr>
              <p:cNvPr id="132" name="Gerade Verbindung 1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1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38" name="Gruppieren 137"/>
          <p:cNvGrpSpPr/>
          <p:nvPr/>
        </p:nvGrpSpPr>
        <p:grpSpPr>
          <a:xfrm>
            <a:off x="179390" y="2420860"/>
            <a:ext cx="576080" cy="576080"/>
            <a:chOff x="1259540" y="1556740"/>
            <a:chExt cx="576080" cy="576080"/>
          </a:xfrm>
        </p:grpSpPr>
        <p:sp>
          <p:nvSpPr>
            <p:cNvPr id="139" name="Rechteck 13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40" name="Rechteck 13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1" name="Gruppieren 140"/>
            <p:cNvGrpSpPr/>
            <p:nvPr/>
          </p:nvGrpSpPr>
          <p:grpSpPr>
            <a:xfrm>
              <a:off x="1259540" y="1556740"/>
              <a:ext cx="72010" cy="576080"/>
              <a:chOff x="1259540" y="1556740"/>
              <a:chExt cx="72010" cy="576080"/>
            </a:xfrm>
          </p:grpSpPr>
          <p:cxnSp>
            <p:nvCxnSpPr>
              <p:cNvPr id="148" name="Gerade Verbindung 14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14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4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2" name="Rechteck 141"/>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43" name="Rechteck 142"/>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44" name="Gruppieren 143"/>
            <p:cNvGrpSpPr/>
            <p:nvPr/>
          </p:nvGrpSpPr>
          <p:grpSpPr>
            <a:xfrm flipH="1">
              <a:off x="1763610" y="1556740"/>
              <a:ext cx="72010" cy="576080"/>
              <a:chOff x="1259540" y="1556740"/>
              <a:chExt cx="72010" cy="576080"/>
            </a:xfrm>
          </p:grpSpPr>
          <p:cxnSp>
            <p:nvCxnSpPr>
              <p:cNvPr id="145" name="Gerade Verbindung 1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1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1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51" name="Gruppieren 150"/>
          <p:cNvGrpSpPr/>
          <p:nvPr/>
        </p:nvGrpSpPr>
        <p:grpSpPr>
          <a:xfrm>
            <a:off x="1331550" y="2420860"/>
            <a:ext cx="288040" cy="576080"/>
            <a:chOff x="683460" y="1556740"/>
            <a:chExt cx="288040" cy="576080"/>
          </a:xfrm>
        </p:grpSpPr>
        <p:sp>
          <p:nvSpPr>
            <p:cNvPr id="152" name="Rechteck 151"/>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53" name="Rechteck 152"/>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54" name="Gruppieren 153"/>
            <p:cNvGrpSpPr/>
            <p:nvPr/>
          </p:nvGrpSpPr>
          <p:grpSpPr>
            <a:xfrm>
              <a:off x="683460" y="1556740"/>
              <a:ext cx="72010" cy="576080"/>
              <a:chOff x="1259540" y="1556740"/>
              <a:chExt cx="72010" cy="576080"/>
            </a:xfrm>
          </p:grpSpPr>
          <p:cxnSp>
            <p:nvCxnSpPr>
              <p:cNvPr id="160" name="Gerade Verbindung 15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16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16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5" name="Gruppieren 154"/>
            <p:cNvGrpSpPr/>
            <p:nvPr/>
          </p:nvGrpSpPr>
          <p:grpSpPr>
            <a:xfrm flipH="1">
              <a:off x="899490" y="1556740"/>
              <a:ext cx="72010" cy="576080"/>
              <a:chOff x="1259540" y="1556740"/>
              <a:chExt cx="72010" cy="576080"/>
            </a:xfrm>
          </p:grpSpPr>
          <p:cxnSp>
            <p:nvCxnSpPr>
              <p:cNvPr id="156" name="Gerade Verbindung 15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5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5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63" name="Rechteck 162"/>
          <p:cNvSpPr/>
          <p:nvPr/>
        </p:nvSpPr>
        <p:spPr>
          <a:xfrm>
            <a:off x="75547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64" name="Rechteck 163"/>
          <p:cNvSpPr/>
          <p:nvPr/>
        </p:nvSpPr>
        <p:spPr>
          <a:xfrm>
            <a:off x="161959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65" name="Gruppieren 164"/>
          <p:cNvGrpSpPr/>
          <p:nvPr/>
        </p:nvGrpSpPr>
        <p:grpSpPr>
          <a:xfrm>
            <a:off x="1907630" y="2420860"/>
            <a:ext cx="576080" cy="576080"/>
            <a:chOff x="2195670" y="1556740"/>
            <a:chExt cx="576080" cy="576080"/>
          </a:xfrm>
        </p:grpSpPr>
        <p:sp>
          <p:nvSpPr>
            <p:cNvPr id="166" name="Rechteck 16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67" name="Rechteck 16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168" name="Gruppieren 167"/>
            <p:cNvGrpSpPr/>
            <p:nvPr/>
          </p:nvGrpSpPr>
          <p:grpSpPr>
            <a:xfrm>
              <a:off x="2195670" y="1556740"/>
              <a:ext cx="72010" cy="576080"/>
              <a:chOff x="1259540" y="1556740"/>
              <a:chExt cx="72010" cy="576080"/>
            </a:xfrm>
          </p:grpSpPr>
          <p:cxnSp>
            <p:nvCxnSpPr>
              <p:cNvPr id="175" name="Gerade Verbindung 17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7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7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9" name="Rechteck 16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170" name="Rechteck 16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71" name="Gruppieren 170"/>
            <p:cNvGrpSpPr/>
            <p:nvPr/>
          </p:nvGrpSpPr>
          <p:grpSpPr>
            <a:xfrm flipH="1">
              <a:off x="2699740" y="1556740"/>
              <a:ext cx="72010" cy="576080"/>
              <a:chOff x="1259540" y="1556740"/>
              <a:chExt cx="72010" cy="576080"/>
            </a:xfrm>
          </p:grpSpPr>
          <p:cxnSp>
            <p:nvCxnSpPr>
              <p:cNvPr id="172" name="Gerade Verbindung 17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17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17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8" name="Gruppieren 17"/>
          <p:cNvGrpSpPr/>
          <p:nvPr/>
        </p:nvGrpSpPr>
        <p:grpSpPr>
          <a:xfrm>
            <a:off x="179390" y="1844780"/>
            <a:ext cx="576080" cy="288040"/>
            <a:chOff x="683460" y="1700760"/>
            <a:chExt cx="576080" cy="288040"/>
          </a:xfrm>
        </p:grpSpPr>
        <p:sp>
          <p:nvSpPr>
            <p:cNvPr id="179" name="Rechteck 17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1" name="Gruppieren 180"/>
            <p:cNvGrpSpPr/>
            <p:nvPr/>
          </p:nvGrpSpPr>
          <p:grpSpPr>
            <a:xfrm>
              <a:off x="683460" y="1700760"/>
              <a:ext cx="72010" cy="288040"/>
              <a:chOff x="1259540" y="1556740"/>
              <a:chExt cx="72010" cy="576080"/>
            </a:xfrm>
          </p:grpSpPr>
          <p:cxnSp>
            <p:nvCxnSpPr>
              <p:cNvPr id="188" name="Gerade Verbindung 18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2" name="Rechteck 181"/>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84" name="Gruppieren 183"/>
            <p:cNvGrpSpPr/>
            <p:nvPr/>
          </p:nvGrpSpPr>
          <p:grpSpPr>
            <a:xfrm flipH="1">
              <a:off x="1187530" y="1700760"/>
              <a:ext cx="72010" cy="288040"/>
              <a:chOff x="1259540" y="1556740"/>
              <a:chExt cx="72010" cy="576080"/>
            </a:xfrm>
          </p:grpSpPr>
          <p:cxnSp>
            <p:nvCxnSpPr>
              <p:cNvPr id="185" name="Gerade Verbindung 18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Gerade Verbindung 18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3" name="Rechteck 192"/>
          <p:cNvSpPr/>
          <p:nvPr/>
        </p:nvSpPr>
        <p:spPr>
          <a:xfrm>
            <a:off x="2627730" y="25648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br>
              <a:rPr lang="en-US" sz="1000" dirty="0">
                <a:solidFill>
                  <a:schemeClr val="tx1"/>
                </a:solidFill>
              </a:rPr>
            </a:br>
            <a:r>
              <a:rPr lang="en-US" sz="1000" b="1" dirty="0">
                <a:solidFill>
                  <a:schemeClr val="tx1"/>
                </a:solidFill>
              </a:rPr>
              <a:t>vertical</a:t>
            </a:r>
            <a:r>
              <a:rPr lang="en-US" sz="1000" dirty="0">
                <a:solidFill>
                  <a:schemeClr val="tx1"/>
                </a:solidFill>
              </a:rPr>
              <a:t>({2,3}) *^^: {{1,2},{3,4}} </a:t>
            </a:r>
            <a:br>
              <a:rPr lang="en-US" sz="1000" dirty="0">
                <a:solidFill>
                  <a:schemeClr val="tx1"/>
                </a:solidFill>
              </a:rPr>
            </a:br>
            <a:r>
              <a:rPr lang="en-US" sz="1000" dirty="0">
                <a:solidFill>
                  <a:schemeClr val="tx1"/>
                </a:solidFill>
              </a:rPr>
              <a:t>= {{2,4},{9,12}}</a:t>
            </a:r>
          </a:p>
        </p:txBody>
      </p:sp>
      <p:sp>
        <p:nvSpPr>
          <p:cNvPr id="205" name="Rechteck 204"/>
          <p:cNvSpPr/>
          <p:nvPr/>
        </p:nvSpPr>
        <p:spPr>
          <a:xfrm>
            <a:off x="2555720" y="18447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p>
          <a:p>
            <a:r>
              <a:rPr lang="en-US" sz="1000" dirty="0">
                <a:solidFill>
                  <a:schemeClr val="tx1"/>
                </a:solidFill>
              </a:rPr>
              <a:t>= {{2,6},{6,12}}</a:t>
            </a:r>
          </a:p>
          <a:p>
            <a:r>
              <a:rPr lang="en-US" sz="1000" dirty="0">
                <a:solidFill>
                  <a:schemeClr val="tx1"/>
                </a:solidFill>
              </a:rPr>
              <a:t>Don’t forget the colon suffix to</a:t>
            </a:r>
            <a:br>
              <a:rPr lang="en-US" sz="1000" dirty="0">
                <a:solidFill>
                  <a:schemeClr val="tx1"/>
                </a:solidFill>
              </a:rPr>
            </a:br>
            <a:r>
              <a:rPr lang="en-US" sz="1000" dirty="0">
                <a:solidFill>
                  <a:schemeClr val="tx1"/>
                </a:solidFill>
              </a:rPr>
              <a:t>indicate repetition of the {2,3}</a:t>
            </a:r>
            <a:br>
              <a:rPr lang="en-US" sz="1000" dirty="0">
                <a:solidFill>
                  <a:schemeClr val="tx1"/>
                </a:solidFill>
              </a:rPr>
            </a:br>
            <a:r>
              <a:rPr lang="en-US" sz="1000" dirty="0">
                <a:solidFill>
                  <a:schemeClr val="tx1"/>
                </a:solidFill>
              </a:rPr>
              <a:t>sequence</a:t>
            </a:r>
          </a:p>
        </p:txBody>
      </p:sp>
      <p:grpSp>
        <p:nvGrpSpPr>
          <p:cNvPr id="207" name="Gruppieren 206"/>
          <p:cNvGrpSpPr/>
          <p:nvPr/>
        </p:nvGrpSpPr>
        <p:grpSpPr>
          <a:xfrm>
            <a:off x="1043510" y="3140960"/>
            <a:ext cx="576080" cy="576080"/>
            <a:chOff x="1259540" y="1556740"/>
            <a:chExt cx="576080" cy="576080"/>
          </a:xfrm>
        </p:grpSpPr>
        <p:sp>
          <p:nvSpPr>
            <p:cNvPr id="208" name="Rechteck 207"/>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09" name="Rechteck 208"/>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10" name="Gruppieren 209"/>
            <p:cNvGrpSpPr/>
            <p:nvPr/>
          </p:nvGrpSpPr>
          <p:grpSpPr>
            <a:xfrm>
              <a:off x="1259540" y="1556740"/>
              <a:ext cx="72010" cy="576080"/>
              <a:chOff x="1259540" y="1556740"/>
              <a:chExt cx="72010" cy="576080"/>
            </a:xfrm>
          </p:grpSpPr>
          <p:cxnSp>
            <p:nvCxnSpPr>
              <p:cNvPr id="217" name="Gerade Verbindung 21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Gerade Verbindung 21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Gerade Verbindung 21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1" name="Rechteck 210"/>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12" name="Rechteck 211"/>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213" name="Gruppieren 212"/>
            <p:cNvGrpSpPr/>
            <p:nvPr/>
          </p:nvGrpSpPr>
          <p:grpSpPr>
            <a:xfrm flipH="1">
              <a:off x="1763610" y="1556740"/>
              <a:ext cx="72010" cy="576080"/>
              <a:chOff x="1259540" y="1556740"/>
              <a:chExt cx="72010" cy="576080"/>
            </a:xfrm>
          </p:grpSpPr>
          <p:cxnSp>
            <p:nvCxnSpPr>
              <p:cNvPr id="214" name="Gerade Verbindung 2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Gerade Verbindung 2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Gerade Verbindung 2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20" name="Rechteck 219"/>
          <p:cNvSpPr/>
          <p:nvPr/>
        </p:nvSpPr>
        <p:spPr>
          <a:xfrm>
            <a:off x="75547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grpSp>
        <p:nvGrpSpPr>
          <p:cNvPr id="221" name="Gruppieren 220"/>
          <p:cNvGrpSpPr/>
          <p:nvPr/>
        </p:nvGrpSpPr>
        <p:grpSpPr>
          <a:xfrm>
            <a:off x="179390" y="3140960"/>
            <a:ext cx="576080" cy="576080"/>
            <a:chOff x="1259540" y="1556740"/>
            <a:chExt cx="576080" cy="576080"/>
          </a:xfrm>
        </p:grpSpPr>
        <p:sp>
          <p:nvSpPr>
            <p:cNvPr id="222" name="Rechteck 22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23" name="Rechteck 22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24" name="Gruppieren 223"/>
            <p:cNvGrpSpPr/>
            <p:nvPr/>
          </p:nvGrpSpPr>
          <p:grpSpPr>
            <a:xfrm>
              <a:off x="1259540" y="1556740"/>
              <a:ext cx="72010" cy="576080"/>
              <a:chOff x="1259540" y="1556740"/>
              <a:chExt cx="72010" cy="576080"/>
            </a:xfrm>
          </p:grpSpPr>
          <p:cxnSp>
            <p:nvCxnSpPr>
              <p:cNvPr id="231" name="Gerade Verbindung 23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Gerade Verbindung 23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Gerade Verbindung 23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5" name="Rechteck 22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26" name="Rechteck 22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27" name="Gruppieren 226"/>
            <p:cNvGrpSpPr/>
            <p:nvPr/>
          </p:nvGrpSpPr>
          <p:grpSpPr>
            <a:xfrm flipH="1">
              <a:off x="1763610" y="1556740"/>
              <a:ext cx="72010" cy="576080"/>
              <a:chOff x="1259540" y="1556740"/>
              <a:chExt cx="72010" cy="576080"/>
            </a:xfrm>
          </p:grpSpPr>
          <p:cxnSp>
            <p:nvCxnSpPr>
              <p:cNvPr id="228" name="Gerade Verbindung 22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Gerade Verbindung 22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Gerade Verbindung 22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34" name="Rechteck 233"/>
          <p:cNvSpPr/>
          <p:nvPr/>
        </p:nvSpPr>
        <p:spPr>
          <a:xfrm>
            <a:off x="161959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35" name="Gruppieren 234"/>
          <p:cNvGrpSpPr/>
          <p:nvPr/>
        </p:nvGrpSpPr>
        <p:grpSpPr>
          <a:xfrm>
            <a:off x="1907630" y="3140960"/>
            <a:ext cx="576080" cy="576080"/>
            <a:chOff x="2195670" y="1556740"/>
            <a:chExt cx="576080" cy="576080"/>
          </a:xfrm>
        </p:grpSpPr>
        <p:sp>
          <p:nvSpPr>
            <p:cNvPr id="236" name="Rechteck 23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37" name="Rechteck 23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38" name="Gruppieren 237"/>
            <p:cNvGrpSpPr/>
            <p:nvPr/>
          </p:nvGrpSpPr>
          <p:grpSpPr>
            <a:xfrm>
              <a:off x="2195670" y="1556740"/>
              <a:ext cx="72010" cy="576080"/>
              <a:chOff x="1259540" y="1556740"/>
              <a:chExt cx="72010" cy="576080"/>
            </a:xfrm>
          </p:grpSpPr>
          <p:cxnSp>
            <p:nvCxnSpPr>
              <p:cNvPr id="245" name="Gerade Verbindung 2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Gerade Verbindung 2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39" name="Rechteck 23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sp>
          <p:nvSpPr>
            <p:cNvPr id="240" name="Rechteck 23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grpSp>
          <p:nvGrpSpPr>
            <p:cNvPr id="241" name="Gruppieren 240"/>
            <p:cNvGrpSpPr/>
            <p:nvPr/>
          </p:nvGrpSpPr>
          <p:grpSpPr>
            <a:xfrm flipH="1">
              <a:off x="2699740" y="1556740"/>
              <a:ext cx="72010" cy="576080"/>
              <a:chOff x="1259540" y="1556740"/>
              <a:chExt cx="72010" cy="576080"/>
            </a:xfrm>
          </p:grpSpPr>
          <p:cxnSp>
            <p:nvCxnSpPr>
              <p:cNvPr id="242" name="Gerade Verbindung 24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Gerade Verbindung 24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Gerade Verbindung 24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48" name="Rechteck 247"/>
          <p:cNvSpPr/>
          <p:nvPr/>
        </p:nvSpPr>
        <p:spPr>
          <a:xfrm>
            <a:off x="2555720" y="32849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2},{3,4}} *^^ {{8,6},{4,2}} </a:t>
            </a:r>
            <a:br>
              <a:rPr lang="en-US" sz="1000" dirty="0">
                <a:solidFill>
                  <a:schemeClr val="tx1"/>
                </a:solidFill>
              </a:rPr>
            </a:br>
            <a:r>
              <a:rPr lang="en-US" sz="1000" dirty="0">
                <a:solidFill>
                  <a:schemeClr val="tx1"/>
                </a:solidFill>
              </a:rPr>
              <a:t>= {{8,12},{12,8}}</a:t>
            </a:r>
          </a:p>
        </p:txBody>
      </p:sp>
      <p:grpSp>
        <p:nvGrpSpPr>
          <p:cNvPr id="135" name="Gruppieren 134"/>
          <p:cNvGrpSpPr/>
          <p:nvPr/>
        </p:nvGrpSpPr>
        <p:grpSpPr>
          <a:xfrm>
            <a:off x="5436120" y="3140960"/>
            <a:ext cx="576080" cy="576080"/>
            <a:chOff x="1259540" y="1556740"/>
            <a:chExt cx="576080" cy="576080"/>
          </a:xfrm>
        </p:grpSpPr>
        <p:sp>
          <p:nvSpPr>
            <p:cNvPr id="136" name="Rechteck 135"/>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137" name="Rechteck 136"/>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58" name="Gruppieren 157"/>
            <p:cNvGrpSpPr/>
            <p:nvPr/>
          </p:nvGrpSpPr>
          <p:grpSpPr>
            <a:xfrm>
              <a:off x="1259540" y="1556740"/>
              <a:ext cx="72010" cy="576080"/>
              <a:chOff x="1259540" y="1556740"/>
              <a:chExt cx="72010" cy="576080"/>
            </a:xfrm>
          </p:grpSpPr>
          <p:cxnSp>
            <p:nvCxnSpPr>
              <p:cNvPr id="195" name="Gerade Verbindung 19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Gerade Verbindung 19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Gerade Verbindung 19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8" name="Rechteck 177"/>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80" name="Rechteck 179"/>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3" name="Gruppieren 182"/>
            <p:cNvGrpSpPr/>
            <p:nvPr/>
          </p:nvGrpSpPr>
          <p:grpSpPr>
            <a:xfrm flipH="1">
              <a:off x="1763610" y="1556740"/>
              <a:ext cx="72010" cy="576080"/>
              <a:chOff x="1259540" y="1556740"/>
              <a:chExt cx="72010" cy="576080"/>
            </a:xfrm>
          </p:grpSpPr>
          <p:cxnSp>
            <p:nvCxnSpPr>
              <p:cNvPr id="191" name="Gerade Verbindung 19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Gerade Verbindung 19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8" name="Rechteck 197"/>
          <p:cNvSpPr/>
          <p:nvPr/>
        </p:nvSpPr>
        <p:spPr>
          <a:xfrm>
            <a:off x="514808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grpSp>
        <p:nvGrpSpPr>
          <p:cNvPr id="199" name="Gruppieren 198"/>
          <p:cNvGrpSpPr/>
          <p:nvPr/>
        </p:nvGrpSpPr>
        <p:grpSpPr>
          <a:xfrm>
            <a:off x="4572000" y="3140960"/>
            <a:ext cx="576080" cy="576080"/>
            <a:chOff x="1259540" y="1556740"/>
            <a:chExt cx="576080" cy="576080"/>
          </a:xfrm>
        </p:grpSpPr>
        <p:sp>
          <p:nvSpPr>
            <p:cNvPr id="200" name="Rechteck 199"/>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01" name="Rechteck 200"/>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02" name="Gruppieren 201"/>
            <p:cNvGrpSpPr/>
            <p:nvPr/>
          </p:nvGrpSpPr>
          <p:grpSpPr>
            <a:xfrm>
              <a:off x="1259540" y="1556740"/>
              <a:ext cx="72010" cy="576080"/>
              <a:chOff x="1259540" y="1556740"/>
              <a:chExt cx="72010" cy="576080"/>
            </a:xfrm>
          </p:grpSpPr>
          <p:cxnSp>
            <p:nvCxnSpPr>
              <p:cNvPr id="253" name="Gerade Verbindung 25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Gerade Verbindung 25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Gerade Verbindung 25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3" name="Rechteck 202"/>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04" name="Rechteck 203"/>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49" name="Gruppieren 248"/>
            <p:cNvGrpSpPr/>
            <p:nvPr/>
          </p:nvGrpSpPr>
          <p:grpSpPr>
            <a:xfrm flipH="1">
              <a:off x="1763610" y="1556740"/>
              <a:ext cx="72010" cy="576080"/>
              <a:chOff x="1259540" y="1556740"/>
              <a:chExt cx="72010" cy="576080"/>
            </a:xfrm>
          </p:grpSpPr>
          <p:cxnSp>
            <p:nvCxnSpPr>
              <p:cNvPr id="250" name="Gerade Verbindung 2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Gerade Verbindung 2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Gerade Verbindung 2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56" name="Rechteck 255"/>
          <p:cNvSpPr/>
          <p:nvPr/>
        </p:nvSpPr>
        <p:spPr>
          <a:xfrm>
            <a:off x="601220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57" name="Gruppieren 256"/>
          <p:cNvGrpSpPr/>
          <p:nvPr/>
        </p:nvGrpSpPr>
        <p:grpSpPr>
          <a:xfrm>
            <a:off x="6300240" y="3140960"/>
            <a:ext cx="576080" cy="576080"/>
            <a:chOff x="2195670" y="1556740"/>
            <a:chExt cx="576080" cy="576080"/>
          </a:xfrm>
        </p:grpSpPr>
        <p:sp>
          <p:nvSpPr>
            <p:cNvPr id="258" name="Rechteck 257"/>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sp>
          <p:nvSpPr>
            <p:cNvPr id="259" name="Rechteck 258"/>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0</a:t>
              </a:r>
            </a:p>
          </p:txBody>
        </p:sp>
        <p:grpSp>
          <p:nvGrpSpPr>
            <p:cNvPr id="260" name="Gruppieren 259"/>
            <p:cNvGrpSpPr/>
            <p:nvPr/>
          </p:nvGrpSpPr>
          <p:grpSpPr>
            <a:xfrm>
              <a:off x="2195670" y="1556740"/>
              <a:ext cx="72010" cy="576080"/>
              <a:chOff x="1259540" y="1556740"/>
              <a:chExt cx="72010" cy="576080"/>
            </a:xfrm>
          </p:grpSpPr>
          <p:cxnSp>
            <p:nvCxnSpPr>
              <p:cNvPr id="267" name="Gerade Verbindung 26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Gerade Verbindung 26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Gerade Verbindung 26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61" name="Rechteck 260"/>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0</a:t>
              </a:r>
            </a:p>
          </p:txBody>
        </p:sp>
        <p:sp>
          <p:nvSpPr>
            <p:cNvPr id="262" name="Rechteck 261"/>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6</a:t>
              </a:r>
            </a:p>
          </p:txBody>
        </p:sp>
        <p:grpSp>
          <p:nvGrpSpPr>
            <p:cNvPr id="263" name="Gruppieren 262"/>
            <p:cNvGrpSpPr/>
            <p:nvPr/>
          </p:nvGrpSpPr>
          <p:grpSpPr>
            <a:xfrm flipH="1">
              <a:off x="2699740" y="1556740"/>
              <a:ext cx="72010" cy="576080"/>
              <a:chOff x="1259540" y="1556740"/>
              <a:chExt cx="72010" cy="576080"/>
            </a:xfrm>
          </p:grpSpPr>
          <p:cxnSp>
            <p:nvCxnSpPr>
              <p:cNvPr id="264" name="Gerade Verbindung 26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Gerade Verbindung 26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Gerade Verbindung 26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70" name="Rechteck 269"/>
          <p:cNvSpPr/>
          <p:nvPr/>
        </p:nvSpPr>
        <p:spPr>
          <a:xfrm>
            <a:off x="6948330" y="32849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8,6},{4,2}} ) </a:t>
            </a:r>
            <a:br>
              <a:rPr lang="en-US" sz="1000" dirty="0">
                <a:solidFill>
                  <a:schemeClr val="tx1"/>
                </a:solidFill>
              </a:rPr>
            </a:br>
            <a:r>
              <a:rPr lang="en-US" sz="1000" dirty="0">
                <a:solidFill>
                  <a:schemeClr val="tx1"/>
                </a:solidFill>
              </a:rPr>
              <a:t>= {{16,10},{40,26}}</a:t>
            </a:r>
          </a:p>
        </p:txBody>
      </p:sp>
      <p:grpSp>
        <p:nvGrpSpPr>
          <p:cNvPr id="271" name="Gruppieren 270"/>
          <p:cNvGrpSpPr/>
          <p:nvPr/>
        </p:nvGrpSpPr>
        <p:grpSpPr>
          <a:xfrm>
            <a:off x="1043510" y="980660"/>
            <a:ext cx="576080" cy="576080"/>
            <a:chOff x="1259540" y="1556740"/>
            <a:chExt cx="576080" cy="576080"/>
          </a:xfrm>
        </p:grpSpPr>
        <p:sp>
          <p:nvSpPr>
            <p:cNvPr id="272" name="Rechteck 27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73" name="Rechteck 27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74" name="Gruppieren 273"/>
            <p:cNvGrpSpPr/>
            <p:nvPr/>
          </p:nvGrpSpPr>
          <p:grpSpPr>
            <a:xfrm>
              <a:off x="1259540" y="1556740"/>
              <a:ext cx="72010" cy="576080"/>
              <a:chOff x="1259540" y="1556740"/>
              <a:chExt cx="72010" cy="576080"/>
            </a:xfrm>
          </p:grpSpPr>
          <p:cxnSp>
            <p:nvCxnSpPr>
              <p:cNvPr id="281" name="Gerade Verbindung 28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Gerade Verbindung 28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Gerade Verbindung 28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5" name="Rechteck 27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76" name="Rechteck 27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77" name="Gruppieren 276"/>
            <p:cNvGrpSpPr/>
            <p:nvPr/>
          </p:nvGrpSpPr>
          <p:grpSpPr>
            <a:xfrm flipH="1">
              <a:off x="1763610" y="1556740"/>
              <a:ext cx="72010" cy="576080"/>
              <a:chOff x="1259540" y="1556740"/>
              <a:chExt cx="72010" cy="576080"/>
            </a:xfrm>
          </p:grpSpPr>
          <p:cxnSp>
            <p:nvCxnSpPr>
              <p:cNvPr id="278" name="Gerade Verbindung 27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Gerade Verbindung 27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Gerade Verbindung 27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84" name="Rechteck 283"/>
          <p:cNvSpPr/>
          <p:nvPr/>
        </p:nvSpPr>
        <p:spPr>
          <a:xfrm>
            <a:off x="75547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285" name="Rechteck 284"/>
          <p:cNvSpPr/>
          <p:nvPr/>
        </p:nvSpPr>
        <p:spPr>
          <a:xfrm>
            <a:off x="161959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86" name="Gruppieren 285"/>
          <p:cNvGrpSpPr/>
          <p:nvPr/>
        </p:nvGrpSpPr>
        <p:grpSpPr>
          <a:xfrm>
            <a:off x="1907630" y="980660"/>
            <a:ext cx="576080" cy="576080"/>
            <a:chOff x="2195670" y="1556740"/>
            <a:chExt cx="576080" cy="576080"/>
          </a:xfrm>
        </p:grpSpPr>
        <p:sp>
          <p:nvSpPr>
            <p:cNvPr id="287" name="Rechteck 286"/>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sp>
          <p:nvSpPr>
            <p:cNvPr id="288" name="Rechteck 287"/>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289" name="Gruppieren 288"/>
            <p:cNvGrpSpPr/>
            <p:nvPr/>
          </p:nvGrpSpPr>
          <p:grpSpPr>
            <a:xfrm>
              <a:off x="2195670" y="1556740"/>
              <a:ext cx="72010" cy="576080"/>
              <a:chOff x="1259540" y="1556740"/>
              <a:chExt cx="72010" cy="576080"/>
            </a:xfrm>
          </p:grpSpPr>
          <p:cxnSp>
            <p:nvCxnSpPr>
              <p:cNvPr id="296" name="Gerade Verbindung 29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Gerade Verbindung 29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Gerade Verbindung 29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0" name="Rechteck 289"/>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91" name="Rechteck 290"/>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92" name="Gruppieren 291"/>
            <p:cNvGrpSpPr/>
            <p:nvPr/>
          </p:nvGrpSpPr>
          <p:grpSpPr>
            <a:xfrm flipH="1">
              <a:off x="2699740" y="1556740"/>
              <a:ext cx="72010" cy="576080"/>
              <a:chOff x="1259540" y="1556740"/>
              <a:chExt cx="72010" cy="576080"/>
            </a:xfrm>
          </p:grpSpPr>
          <p:cxnSp>
            <p:nvCxnSpPr>
              <p:cNvPr id="293" name="Gerade Verbindung 29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Gerade Verbindung 29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Gerade Verbindung 29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9" name="Rechteck 298"/>
          <p:cNvSpPr/>
          <p:nvPr/>
        </p:nvSpPr>
        <p:spPr>
          <a:xfrm>
            <a:off x="2555720" y="11246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1,2},{3,4}} </a:t>
            </a:r>
            <a:br>
              <a:rPr lang="en-US" sz="1000" dirty="0">
                <a:solidFill>
                  <a:schemeClr val="tx1"/>
                </a:solidFill>
              </a:rPr>
            </a:br>
            <a:r>
              <a:rPr lang="en-US" sz="1000" dirty="0">
                <a:solidFill>
                  <a:schemeClr val="tx1"/>
                </a:solidFill>
              </a:rPr>
              <a:t>= {{3,6},{9,12}}</a:t>
            </a:r>
          </a:p>
        </p:txBody>
      </p:sp>
      <p:sp>
        <p:nvSpPr>
          <p:cNvPr id="302" name="Rechteck 301"/>
          <p:cNvSpPr/>
          <p:nvPr/>
        </p:nvSpPr>
        <p:spPr>
          <a:xfrm>
            <a:off x="46743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3" name="Gruppieren 312"/>
          <p:cNvGrpSpPr/>
          <p:nvPr/>
        </p:nvGrpSpPr>
        <p:grpSpPr>
          <a:xfrm>
            <a:off x="4572000" y="1196690"/>
            <a:ext cx="576080" cy="288040"/>
            <a:chOff x="683460" y="1700760"/>
            <a:chExt cx="576080" cy="288040"/>
          </a:xfrm>
        </p:grpSpPr>
        <p:sp>
          <p:nvSpPr>
            <p:cNvPr id="314" name="Rechteck 313"/>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15" name="Gruppieren 314"/>
            <p:cNvGrpSpPr/>
            <p:nvPr/>
          </p:nvGrpSpPr>
          <p:grpSpPr>
            <a:xfrm>
              <a:off x="683460" y="1700760"/>
              <a:ext cx="72010" cy="288040"/>
              <a:chOff x="1259540" y="1556740"/>
              <a:chExt cx="72010" cy="576080"/>
            </a:xfrm>
          </p:grpSpPr>
          <p:cxnSp>
            <p:nvCxnSpPr>
              <p:cNvPr id="321" name="Gerade Verbindung 32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Gerade Verbindung 32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Gerade Verbindung 32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6" name="Rechteck 315"/>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7" name="Gruppieren 316"/>
            <p:cNvGrpSpPr/>
            <p:nvPr/>
          </p:nvGrpSpPr>
          <p:grpSpPr>
            <a:xfrm flipH="1">
              <a:off x="1187530" y="1700760"/>
              <a:ext cx="72010" cy="288040"/>
              <a:chOff x="1259540" y="1556740"/>
              <a:chExt cx="72010" cy="576080"/>
            </a:xfrm>
          </p:grpSpPr>
          <p:cxnSp>
            <p:nvCxnSpPr>
              <p:cNvPr id="318" name="Gerade Verbindung 31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Gerade Verbindung 31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Gerade Verbindung 31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24" name="Gruppieren 323"/>
          <p:cNvGrpSpPr/>
          <p:nvPr/>
        </p:nvGrpSpPr>
        <p:grpSpPr>
          <a:xfrm>
            <a:off x="5724160" y="1052670"/>
            <a:ext cx="288040" cy="576080"/>
            <a:chOff x="683460" y="1556740"/>
            <a:chExt cx="288040" cy="576080"/>
          </a:xfrm>
        </p:grpSpPr>
        <p:sp>
          <p:nvSpPr>
            <p:cNvPr id="325" name="Rechteck 324"/>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326" name="Rechteck 325"/>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5</a:t>
              </a:r>
            </a:p>
          </p:txBody>
        </p:sp>
        <p:grpSp>
          <p:nvGrpSpPr>
            <p:cNvPr id="327" name="Gruppieren 326"/>
            <p:cNvGrpSpPr/>
            <p:nvPr/>
          </p:nvGrpSpPr>
          <p:grpSpPr>
            <a:xfrm>
              <a:off x="683460" y="1556740"/>
              <a:ext cx="72010" cy="576080"/>
              <a:chOff x="1259540" y="1556740"/>
              <a:chExt cx="72010" cy="576080"/>
            </a:xfrm>
          </p:grpSpPr>
          <p:cxnSp>
            <p:nvCxnSpPr>
              <p:cNvPr id="332" name="Gerade Verbindung 3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3" name="Gerade Verbindung 3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4" name="Gerade Verbindung 3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8" name="Gruppieren 327"/>
            <p:cNvGrpSpPr/>
            <p:nvPr/>
          </p:nvGrpSpPr>
          <p:grpSpPr>
            <a:xfrm flipH="1">
              <a:off x="899490" y="1556740"/>
              <a:ext cx="72010" cy="576080"/>
              <a:chOff x="1259540" y="1556740"/>
              <a:chExt cx="72010" cy="576080"/>
            </a:xfrm>
          </p:grpSpPr>
          <p:cxnSp>
            <p:nvCxnSpPr>
              <p:cNvPr id="329" name="Gerade Verbindung 328"/>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0" name="Gerade Verbindung 329"/>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1" name="Gerade Verbindung 330"/>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35" name="Rechteck 334"/>
          <p:cNvSpPr/>
          <p:nvPr/>
        </p:nvSpPr>
        <p:spPr>
          <a:xfrm>
            <a:off x="514808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36" name="Rechteck 335"/>
          <p:cNvSpPr/>
          <p:nvPr/>
        </p:nvSpPr>
        <p:spPr>
          <a:xfrm>
            <a:off x="601220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sp>
        <p:nvSpPr>
          <p:cNvPr id="339" name="Rechteck 338"/>
          <p:cNvSpPr/>
          <p:nvPr/>
        </p:nvSpPr>
        <p:spPr>
          <a:xfrm>
            <a:off x="6948330" y="119669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dd</a:t>
            </a:r>
            <a:r>
              <a:rPr lang="en-US" sz="1000" dirty="0">
                <a:solidFill>
                  <a:schemeClr val="tx1"/>
                </a:solidFill>
              </a:rPr>
              <a:t> ( {2,3} *^ {4,5} ) = 23</a:t>
            </a:r>
          </a:p>
          <a:p>
            <a:r>
              <a:rPr lang="en-US" sz="1000" b="1" dirty="0" err="1">
                <a:solidFill>
                  <a:schemeClr val="tx1"/>
                </a:solidFill>
              </a:rPr>
              <a:t>mmul</a:t>
            </a:r>
            <a:r>
              <a:rPr lang="en-US" sz="1000" dirty="0">
                <a:solidFill>
                  <a:schemeClr val="tx1"/>
                </a:solidFill>
              </a:rPr>
              <a:t>( {{2,3}}, {{4},{5}} ) = {{ 23 }}</a:t>
            </a:r>
          </a:p>
          <a:p>
            <a:r>
              <a:rPr lang="en-US" sz="1000" b="1" dirty="0" err="1">
                <a:solidFill>
                  <a:schemeClr val="tx1"/>
                </a:solidFill>
              </a:rPr>
              <a:t>mmul</a:t>
            </a:r>
            <a:r>
              <a:rPr lang="en-US" sz="1000" dirty="0">
                <a:solidFill>
                  <a:schemeClr val="tx1"/>
                </a:solidFill>
              </a:rPr>
              <a:t>( {{2,3}}, </a:t>
            </a:r>
            <a:r>
              <a:rPr lang="en-US" sz="1000" b="1" dirty="0">
                <a:solidFill>
                  <a:schemeClr val="tx1"/>
                </a:solidFill>
              </a:rPr>
              <a:t>vertical</a:t>
            </a:r>
            <a:r>
              <a:rPr lang="en-US" sz="1000" dirty="0">
                <a:solidFill>
                  <a:schemeClr val="tx1"/>
                </a:solidFill>
              </a:rPr>
              <a:t>({4,5}) ) = {{ 23 }}</a:t>
            </a:r>
          </a:p>
        </p:txBody>
      </p:sp>
      <p:grpSp>
        <p:nvGrpSpPr>
          <p:cNvPr id="340" name="Gruppieren 339"/>
          <p:cNvGrpSpPr/>
          <p:nvPr/>
        </p:nvGrpSpPr>
        <p:grpSpPr>
          <a:xfrm>
            <a:off x="5436120" y="1700760"/>
            <a:ext cx="576080" cy="576080"/>
            <a:chOff x="1259540" y="1556740"/>
            <a:chExt cx="576080" cy="576080"/>
          </a:xfrm>
        </p:grpSpPr>
        <p:sp>
          <p:nvSpPr>
            <p:cNvPr id="341" name="Rechteck 340"/>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42" name="Rechteck 341"/>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43" name="Gruppieren 342"/>
            <p:cNvGrpSpPr/>
            <p:nvPr/>
          </p:nvGrpSpPr>
          <p:grpSpPr>
            <a:xfrm>
              <a:off x="1259540" y="1556740"/>
              <a:ext cx="72010" cy="576080"/>
              <a:chOff x="1259540" y="1556740"/>
              <a:chExt cx="72010" cy="576080"/>
            </a:xfrm>
          </p:grpSpPr>
          <p:cxnSp>
            <p:nvCxnSpPr>
              <p:cNvPr id="350" name="Gerade Verbindung 3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1" name="Gerade Verbindung 3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Gerade Verbindung 3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4" name="Rechteck 343"/>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45" name="Rechteck 344"/>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46" name="Gruppieren 345"/>
            <p:cNvGrpSpPr/>
            <p:nvPr/>
          </p:nvGrpSpPr>
          <p:grpSpPr>
            <a:xfrm flipH="1">
              <a:off x="1763610" y="1556740"/>
              <a:ext cx="72010" cy="576080"/>
              <a:chOff x="1259540" y="1556740"/>
              <a:chExt cx="72010" cy="576080"/>
            </a:xfrm>
          </p:grpSpPr>
          <p:cxnSp>
            <p:nvCxnSpPr>
              <p:cNvPr id="347" name="Gerade Verbindung 34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Gerade Verbindung 34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9" name="Gerade Verbindung 34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53" name="Rechteck 352"/>
          <p:cNvSpPr/>
          <p:nvPr/>
        </p:nvSpPr>
        <p:spPr>
          <a:xfrm>
            <a:off x="51480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54" name="Rechteck 353"/>
          <p:cNvSpPr/>
          <p:nvPr/>
        </p:nvSpPr>
        <p:spPr>
          <a:xfrm>
            <a:off x="601220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3" name="Gruppieren 2"/>
          <p:cNvGrpSpPr/>
          <p:nvPr/>
        </p:nvGrpSpPr>
        <p:grpSpPr>
          <a:xfrm>
            <a:off x="6300240" y="1844780"/>
            <a:ext cx="576080" cy="288040"/>
            <a:chOff x="2195670" y="5445280"/>
            <a:chExt cx="576080" cy="288040"/>
          </a:xfrm>
        </p:grpSpPr>
        <p:sp>
          <p:nvSpPr>
            <p:cNvPr id="356" name="Rechteck 355"/>
            <p:cNvSpPr/>
            <p:nvPr/>
          </p:nvSpPr>
          <p:spPr>
            <a:xfrm>
              <a:off x="219567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1</a:t>
              </a:r>
            </a:p>
          </p:txBody>
        </p:sp>
        <p:grpSp>
          <p:nvGrpSpPr>
            <p:cNvPr id="358" name="Gruppieren 357"/>
            <p:cNvGrpSpPr/>
            <p:nvPr/>
          </p:nvGrpSpPr>
          <p:grpSpPr>
            <a:xfrm>
              <a:off x="2195670" y="5445280"/>
              <a:ext cx="72010" cy="288040"/>
              <a:chOff x="1259540" y="1556740"/>
              <a:chExt cx="72010" cy="576080"/>
            </a:xfrm>
          </p:grpSpPr>
          <p:cxnSp>
            <p:nvCxnSpPr>
              <p:cNvPr id="365" name="Gerade Verbindung 36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Gerade Verbindung 36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Gerade Verbindung 36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9" name="Rechteck 358"/>
            <p:cNvSpPr/>
            <p:nvPr/>
          </p:nvSpPr>
          <p:spPr>
            <a:xfrm>
              <a:off x="248371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grpSp>
          <p:nvGrpSpPr>
            <p:cNvPr id="361" name="Gruppieren 360"/>
            <p:cNvGrpSpPr/>
            <p:nvPr/>
          </p:nvGrpSpPr>
          <p:grpSpPr>
            <a:xfrm flipH="1">
              <a:off x="2699740" y="5445280"/>
              <a:ext cx="72010" cy="288040"/>
              <a:chOff x="1259540" y="1556740"/>
              <a:chExt cx="72010" cy="576080"/>
            </a:xfrm>
          </p:grpSpPr>
          <p:cxnSp>
            <p:nvCxnSpPr>
              <p:cNvPr id="362" name="Gerade Verbindung 36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3" name="Gerade Verbindung 36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Gerade Verbindung 36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68" name="Gruppieren 367"/>
          <p:cNvGrpSpPr/>
          <p:nvPr/>
        </p:nvGrpSpPr>
        <p:grpSpPr>
          <a:xfrm>
            <a:off x="4572000" y="1844780"/>
            <a:ext cx="576080" cy="288040"/>
            <a:chOff x="683460" y="1700760"/>
            <a:chExt cx="576080" cy="288040"/>
          </a:xfrm>
        </p:grpSpPr>
        <p:sp>
          <p:nvSpPr>
            <p:cNvPr id="369" name="Rechteck 36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70" name="Gruppieren 369"/>
            <p:cNvGrpSpPr/>
            <p:nvPr/>
          </p:nvGrpSpPr>
          <p:grpSpPr>
            <a:xfrm>
              <a:off x="683460" y="1700760"/>
              <a:ext cx="72010" cy="288040"/>
              <a:chOff x="1259540" y="1556740"/>
              <a:chExt cx="72010" cy="576080"/>
            </a:xfrm>
          </p:grpSpPr>
          <p:cxnSp>
            <p:nvCxnSpPr>
              <p:cNvPr id="376" name="Gerade Verbindung 37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7" name="Gerade Verbindung 37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8" name="Gerade Verbindung 37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1" name="Rechteck 370"/>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72" name="Gruppieren 371"/>
            <p:cNvGrpSpPr/>
            <p:nvPr/>
          </p:nvGrpSpPr>
          <p:grpSpPr>
            <a:xfrm flipH="1">
              <a:off x="1187530" y="1700760"/>
              <a:ext cx="72010" cy="288040"/>
              <a:chOff x="1259540" y="1556740"/>
              <a:chExt cx="72010" cy="576080"/>
            </a:xfrm>
          </p:grpSpPr>
          <p:cxnSp>
            <p:nvCxnSpPr>
              <p:cNvPr id="373" name="Gerade Verbindung 37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4" name="Gerade Verbindung 37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Gerade Verbindung 37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79" name="Rechteck 378"/>
          <p:cNvSpPr/>
          <p:nvPr/>
        </p:nvSpPr>
        <p:spPr>
          <a:xfrm>
            <a:off x="6948330" y="18447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2,3}}, {{1,2},{3,4}} ) </a:t>
            </a:r>
            <a:br>
              <a:rPr lang="en-US" sz="1000" dirty="0">
                <a:solidFill>
                  <a:schemeClr val="tx1"/>
                </a:solidFill>
              </a:rPr>
            </a:br>
            <a:r>
              <a:rPr lang="en-US" sz="1000" dirty="0">
                <a:solidFill>
                  <a:schemeClr val="tx1"/>
                </a:solidFill>
              </a:rPr>
              <a:t>= {{ 11,16 }}</a:t>
            </a:r>
          </a:p>
        </p:txBody>
      </p:sp>
      <p:grpSp>
        <p:nvGrpSpPr>
          <p:cNvPr id="7" name="Gruppieren 6"/>
          <p:cNvGrpSpPr/>
          <p:nvPr/>
        </p:nvGrpSpPr>
        <p:grpSpPr>
          <a:xfrm>
            <a:off x="6300240" y="1196690"/>
            <a:ext cx="288040" cy="288040"/>
            <a:chOff x="3203810" y="4509150"/>
            <a:chExt cx="288040" cy="288040"/>
          </a:xfrm>
        </p:grpSpPr>
        <p:sp>
          <p:nvSpPr>
            <p:cNvPr id="381" name="Rechteck 380"/>
            <p:cNvSpPr/>
            <p:nvPr/>
          </p:nvSpPr>
          <p:spPr>
            <a:xfrm>
              <a:off x="3203810" y="450915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3</a:t>
              </a:r>
            </a:p>
          </p:txBody>
        </p:sp>
        <p:grpSp>
          <p:nvGrpSpPr>
            <p:cNvPr id="383" name="Gruppieren 382"/>
            <p:cNvGrpSpPr/>
            <p:nvPr/>
          </p:nvGrpSpPr>
          <p:grpSpPr>
            <a:xfrm>
              <a:off x="3203810" y="4509150"/>
              <a:ext cx="72010" cy="288040"/>
              <a:chOff x="1259540" y="1556740"/>
              <a:chExt cx="72010" cy="576080"/>
            </a:xfrm>
          </p:grpSpPr>
          <p:cxnSp>
            <p:nvCxnSpPr>
              <p:cNvPr id="390" name="Gerade Verbindung 38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Gerade Verbindung 39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Gerade Verbindung 39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6" name="Gruppieren 385"/>
            <p:cNvGrpSpPr/>
            <p:nvPr/>
          </p:nvGrpSpPr>
          <p:grpSpPr>
            <a:xfrm flipH="1">
              <a:off x="3419840" y="4509150"/>
              <a:ext cx="72010" cy="288040"/>
              <a:chOff x="1259540" y="1556740"/>
              <a:chExt cx="72010" cy="576080"/>
            </a:xfrm>
          </p:grpSpPr>
          <p:cxnSp>
            <p:nvCxnSpPr>
              <p:cNvPr id="387" name="Gerade Verbindung 38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8" name="Gerade Verbindung 38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9" name="Gerade Verbindung 38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93" name="Gruppieren 392"/>
          <p:cNvGrpSpPr/>
          <p:nvPr/>
        </p:nvGrpSpPr>
        <p:grpSpPr>
          <a:xfrm>
            <a:off x="4572000" y="2420860"/>
            <a:ext cx="576080" cy="576080"/>
            <a:chOff x="1259540" y="1556740"/>
            <a:chExt cx="576080" cy="576080"/>
          </a:xfrm>
        </p:grpSpPr>
        <p:sp>
          <p:nvSpPr>
            <p:cNvPr id="394" name="Rechteck 393"/>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95" name="Rechteck 394"/>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96" name="Gruppieren 395"/>
            <p:cNvGrpSpPr/>
            <p:nvPr/>
          </p:nvGrpSpPr>
          <p:grpSpPr>
            <a:xfrm>
              <a:off x="1259540" y="1556740"/>
              <a:ext cx="72010" cy="576080"/>
              <a:chOff x="1259540" y="1556740"/>
              <a:chExt cx="72010" cy="576080"/>
            </a:xfrm>
          </p:grpSpPr>
          <p:cxnSp>
            <p:nvCxnSpPr>
              <p:cNvPr id="403" name="Gerade Verbindung 40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40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5" name="Gerade Verbindung 40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7" name="Rechteck 396"/>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98" name="Rechteck 397"/>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99" name="Gruppieren 398"/>
            <p:cNvGrpSpPr/>
            <p:nvPr/>
          </p:nvGrpSpPr>
          <p:grpSpPr>
            <a:xfrm flipH="1">
              <a:off x="1763610" y="1556740"/>
              <a:ext cx="72010" cy="576080"/>
              <a:chOff x="1259540" y="1556740"/>
              <a:chExt cx="72010" cy="576080"/>
            </a:xfrm>
          </p:grpSpPr>
          <p:cxnSp>
            <p:nvCxnSpPr>
              <p:cNvPr id="400" name="Gerade Verbindung 39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Gerade Verbindung 40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2" name="Gerade Verbindung 40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406" name="Gruppieren 405"/>
          <p:cNvGrpSpPr/>
          <p:nvPr/>
        </p:nvGrpSpPr>
        <p:grpSpPr>
          <a:xfrm>
            <a:off x="5724160" y="2420860"/>
            <a:ext cx="288040" cy="576080"/>
            <a:chOff x="683460" y="1556740"/>
            <a:chExt cx="288040" cy="576080"/>
          </a:xfrm>
        </p:grpSpPr>
        <p:sp>
          <p:nvSpPr>
            <p:cNvPr id="407" name="Rechteck 406"/>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408" name="Rechteck 407"/>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409" name="Gruppieren 408"/>
            <p:cNvGrpSpPr/>
            <p:nvPr/>
          </p:nvGrpSpPr>
          <p:grpSpPr>
            <a:xfrm>
              <a:off x="683460" y="1556740"/>
              <a:ext cx="72010" cy="576080"/>
              <a:chOff x="1259540" y="1556740"/>
              <a:chExt cx="72010" cy="576080"/>
            </a:xfrm>
          </p:grpSpPr>
          <p:cxnSp>
            <p:nvCxnSpPr>
              <p:cNvPr id="414" name="Gerade Verbindung 4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4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6" name="Gerade Verbindung 4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0" name="Gruppieren 409"/>
            <p:cNvGrpSpPr/>
            <p:nvPr/>
          </p:nvGrpSpPr>
          <p:grpSpPr>
            <a:xfrm flipH="1">
              <a:off x="899490" y="1556740"/>
              <a:ext cx="72010" cy="576080"/>
              <a:chOff x="1259540" y="1556740"/>
              <a:chExt cx="72010" cy="576080"/>
            </a:xfrm>
          </p:grpSpPr>
          <p:cxnSp>
            <p:nvCxnSpPr>
              <p:cNvPr id="411" name="Gerade Verbindung 41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2" name="Gerade Verbindung 41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3" name="Gerade Verbindung 41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7" name="Rechteck 416"/>
          <p:cNvSpPr/>
          <p:nvPr/>
        </p:nvSpPr>
        <p:spPr>
          <a:xfrm>
            <a:off x="514808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418" name="Rechteck 417"/>
          <p:cNvSpPr/>
          <p:nvPr/>
        </p:nvSpPr>
        <p:spPr>
          <a:xfrm>
            <a:off x="601220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432" name="Gruppieren 431"/>
          <p:cNvGrpSpPr/>
          <p:nvPr/>
        </p:nvGrpSpPr>
        <p:grpSpPr>
          <a:xfrm>
            <a:off x="6300240" y="2420860"/>
            <a:ext cx="288040" cy="576080"/>
            <a:chOff x="683460" y="1556740"/>
            <a:chExt cx="288040" cy="576080"/>
          </a:xfrm>
        </p:grpSpPr>
        <p:sp>
          <p:nvSpPr>
            <p:cNvPr id="433" name="Rechteck 432"/>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434" name="Rechteck 433"/>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8</a:t>
              </a:r>
            </a:p>
          </p:txBody>
        </p:sp>
        <p:grpSp>
          <p:nvGrpSpPr>
            <p:cNvPr id="435" name="Gruppieren 434"/>
            <p:cNvGrpSpPr/>
            <p:nvPr/>
          </p:nvGrpSpPr>
          <p:grpSpPr>
            <a:xfrm>
              <a:off x="683460" y="1556740"/>
              <a:ext cx="72010" cy="576080"/>
              <a:chOff x="1259540" y="1556740"/>
              <a:chExt cx="72010" cy="576080"/>
            </a:xfrm>
          </p:grpSpPr>
          <p:cxnSp>
            <p:nvCxnSpPr>
              <p:cNvPr id="440" name="Gerade Verbindung 43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1" name="Gerade Verbindung 44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2" name="Gerade Verbindung 44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6" name="Gruppieren 435"/>
            <p:cNvGrpSpPr/>
            <p:nvPr/>
          </p:nvGrpSpPr>
          <p:grpSpPr>
            <a:xfrm flipH="1">
              <a:off x="899490" y="1556740"/>
              <a:ext cx="72010" cy="576080"/>
              <a:chOff x="1259540" y="1556740"/>
              <a:chExt cx="72010" cy="576080"/>
            </a:xfrm>
          </p:grpSpPr>
          <p:cxnSp>
            <p:nvCxnSpPr>
              <p:cNvPr id="437" name="Gerade Verbindung 43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43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9" name="Gerade Verbindung 43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43" name="Rechteck 442"/>
          <p:cNvSpPr/>
          <p:nvPr/>
        </p:nvSpPr>
        <p:spPr>
          <a:xfrm>
            <a:off x="6948330" y="25648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2},{3}} ) </a:t>
            </a:r>
            <a:br>
              <a:rPr lang="en-US" sz="1000" dirty="0">
                <a:solidFill>
                  <a:schemeClr val="tx1"/>
                </a:solidFill>
              </a:rPr>
            </a:br>
            <a:r>
              <a:rPr lang="en-US" sz="1000" b="1" dirty="0" err="1">
                <a:solidFill>
                  <a:schemeClr val="tx1"/>
                </a:solidFill>
              </a:rPr>
              <a:t>mmul</a:t>
            </a:r>
            <a:r>
              <a:rPr lang="en-US" sz="1000" dirty="0">
                <a:solidFill>
                  <a:schemeClr val="tx1"/>
                </a:solidFill>
              </a:rPr>
              <a:t> ( {{1,2},{3,4}}, </a:t>
            </a:r>
            <a:r>
              <a:rPr lang="en-US" sz="1000" b="1" dirty="0">
                <a:solidFill>
                  <a:schemeClr val="tx1"/>
                </a:solidFill>
              </a:rPr>
              <a:t>vertical</a:t>
            </a:r>
            <a:r>
              <a:rPr lang="en-US" sz="1000" dirty="0">
                <a:solidFill>
                  <a:schemeClr val="tx1"/>
                </a:solidFill>
              </a:rPr>
              <a:t>({2,3}) ) </a:t>
            </a:r>
            <a:br>
              <a:rPr lang="en-US" sz="1000" dirty="0">
                <a:solidFill>
                  <a:schemeClr val="tx1"/>
                </a:solidFill>
              </a:rPr>
            </a:br>
            <a:r>
              <a:rPr lang="en-US" sz="1000" dirty="0">
                <a:solidFill>
                  <a:schemeClr val="tx1"/>
                </a:solidFill>
              </a:rPr>
              <a:t>= {{8},{18}}</a:t>
            </a:r>
          </a:p>
          <a:p>
            <a:r>
              <a:rPr lang="en-US" sz="1000" dirty="0">
                <a:solidFill>
                  <a:schemeClr val="tx1"/>
                </a:solidFill>
              </a:rPr>
              <a:t>Use </a:t>
            </a:r>
            <a:r>
              <a:rPr lang="en-US" sz="1000" b="1" dirty="0">
                <a:solidFill>
                  <a:schemeClr val="tx1"/>
                </a:solidFill>
              </a:rPr>
              <a:t>flat</a:t>
            </a:r>
            <a:r>
              <a:rPr lang="en-US" sz="1000" dirty="0">
                <a:solidFill>
                  <a:schemeClr val="tx1"/>
                </a:solidFill>
              </a:rPr>
              <a:t>(..) to simplify result.</a:t>
            </a:r>
          </a:p>
        </p:txBody>
      </p:sp>
    </p:spTree>
    <p:extLst>
      <p:ext uri="{BB962C8B-B14F-4D97-AF65-F5344CB8AC3E}">
        <p14:creationId xmlns:p14="http://schemas.microsoft.com/office/powerpoint/2010/main" val="17882337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03B25F4F-FBCF-4C4E-AA15-04F7EA0CB832}"/>
              </a:ext>
            </a:extLst>
          </p:cNvPr>
          <p:cNvSpPr/>
          <p:nvPr/>
        </p:nvSpPr>
        <p:spPr>
          <a:xfrm>
            <a:off x="36000" y="981000"/>
            <a:ext cx="2232000" cy="1728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a:solidFill>
                  <a:schemeClr val="tx1"/>
                </a:solidFill>
              </a:rPr>
              <a:t>Star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Reflective code execution</a:t>
            </a:r>
          </a:p>
          <a:p>
            <a:pPr marL="171450" indent="-171450">
              <a:buFont typeface="Wingdings" panose="05000000000000000000" pitchFamily="2" charset="2"/>
              <a:buChar char="§"/>
            </a:pPr>
            <a:r>
              <a:rPr lang="en-US" sz="1000" dirty="0">
                <a:solidFill>
                  <a:schemeClr val="tx1"/>
                </a:solidFill>
              </a:rPr>
              <a:t>Misc. control flow functions</a:t>
            </a:r>
          </a:p>
        </p:txBody>
      </p:sp>
      <p:sp>
        <p:nvSpPr>
          <p:cNvPr id="380" name="Rechteck 379">
            <a:extLst>
              <a:ext uri="{FF2B5EF4-FFF2-40B4-BE49-F238E27FC236}">
                <a16:creationId xmlns:a16="http://schemas.microsoft.com/office/drawing/2014/main" id="{566E23E7-F9CA-4744-B890-4CDCF09827FC}"/>
              </a:ext>
            </a:extLst>
          </p:cNvPr>
          <p:cNvSpPr/>
          <p:nvPr/>
        </p:nvSpPr>
        <p:spPr>
          <a:xfrm>
            <a:off x="36000" y="2781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Input / Output Functions</a:t>
            </a:r>
          </a:p>
          <a:p>
            <a:pPr marL="171450" indent="-171450">
              <a:buFont typeface="Wingdings" panose="05000000000000000000" pitchFamily="2" charset="2"/>
              <a:buChar char="§"/>
            </a:pPr>
            <a:r>
              <a:rPr lang="en-US" sz="1000" dirty="0">
                <a:solidFill>
                  <a:schemeClr val="tx1"/>
                </a:solidFill>
              </a:rPr>
              <a:t>Standard text I/O </a:t>
            </a:r>
            <a:br>
              <a:rPr lang="en-US" sz="1000" dirty="0">
                <a:solidFill>
                  <a:schemeClr val="tx1"/>
                </a:solidFill>
              </a:rPr>
            </a:br>
            <a:r>
              <a:rPr lang="en-US" sz="1000" dirty="0">
                <a:solidFill>
                  <a:schemeClr val="tx1"/>
                </a:solidFill>
              </a:rPr>
              <a:t>(e.g. echo, input, ..)</a:t>
            </a:r>
          </a:p>
          <a:p>
            <a:pPr marL="171450" indent="-171450">
              <a:buFont typeface="Wingdings" panose="05000000000000000000" pitchFamily="2" charset="2"/>
              <a:buChar char="§"/>
            </a:pPr>
            <a:r>
              <a:rPr lang="en-US" sz="1000" dirty="0">
                <a:solidFill>
                  <a:schemeClr val="tx1"/>
                </a:solidFill>
              </a:rPr>
              <a:t>Console special effects</a:t>
            </a:r>
            <a:br>
              <a:rPr lang="en-US" sz="1000" dirty="0">
                <a:solidFill>
                  <a:schemeClr val="tx1"/>
                </a:solidFill>
              </a:rPr>
            </a:br>
            <a:r>
              <a:rPr lang="en-US" sz="1000" dirty="0">
                <a:solidFill>
                  <a:schemeClr val="tx1"/>
                </a:solidFill>
              </a:rPr>
              <a:t>(e.g. clear screen, cursor positions,</a:t>
            </a:r>
            <a:br>
              <a:rPr lang="en-US" sz="1000" dirty="0">
                <a:solidFill>
                  <a:schemeClr val="tx1"/>
                </a:solidFill>
              </a:rPr>
            </a:br>
            <a:r>
              <a:rPr lang="en-US" sz="1000" dirty="0">
                <a:solidFill>
                  <a:schemeClr val="tx1"/>
                </a:solidFill>
              </a:rPr>
              <a:t>colors)</a:t>
            </a:r>
          </a:p>
          <a:p>
            <a:pPr marL="171450" indent="-171450">
              <a:buFont typeface="Wingdings" panose="05000000000000000000" pitchFamily="2" charset="2"/>
              <a:buChar char="§"/>
            </a:pPr>
            <a:r>
              <a:rPr lang="en-US" sz="1000" dirty="0">
                <a:solidFill>
                  <a:schemeClr val="tx1"/>
                </a:solidFill>
              </a:rPr>
              <a:t>Inspection and debugging</a:t>
            </a:r>
          </a:p>
        </p:txBody>
      </p:sp>
      <p:sp>
        <p:nvSpPr>
          <p:cNvPr id="382" name="Rechteck 381">
            <a:extLst>
              <a:ext uri="{FF2B5EF4-FFF2-40B4-BE49-F238E27FC236}">
                <a16:creationId xmlns:a16="http://schemas.microsoft.com/office/drawing/2014/main" id="{2715AA32-8EAF-45C8-BE31-703315685336}"/>
              </a:ext>
            </a:extLst>
          </p:cNvPr>
          <p:cNvSpPr/>
          <p:nvPr/>
        </p:nvSpPr>
        <p:spPr>
          <a:xfrm>
            <a:off x="36000" y="4149000"/>
            <a:ext cx="2232000" cy="1224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amp; Format</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parameter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384" name="Rechteck 383">
            <a:extLst>
              <a:ext uri="{FF2B5EF4-FFF2-40B4-BE49-F238E27FC236}">
                <a16:creationId xmlns:a16="http://schemas.microsoft.com/office/drawing/2014/main" id="{AD1C4384-F554-4025-9591-3A94928D4694}"/>
              </a:ext>
            </a:extLst>
          </p:cNvPr>
          <p:cNvSpPr/>
          <p:nvPr/>
        </p:nvSpPr>
        <p:spPr>
          <a:xfrm>
            <a:off x="2340000" y="981000"/>
            <a:ext cx="2232000" cy="144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385" name="Rechteck 384">
            <a:extLst>
              <a:ext uri="{FF2B5EF4-FFF2-40B4-BE49-F238E27FC236}">
                <a16:creationId xmlns:a16="http://schemas.microsoft.com/office/drawing/2014/main" id="{EC8EBD0E-614A-41CA-B43C-08F197604B8B}"/>
              </a:ext>
            </a:extLst>
          </p:cNvPr>
          <p:cNvSpPr/>
          <p:nvPr/>
        </p:nvSpPr>
        <p:spPr>
          <a:xfrm>
            <a:off x="2340000" y="249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coding, decoding</a:t>
            </a:r>
          </a:p>
          <a:p>
            <a:pPr marL="171450" indent="-171450">
              <a:buFont typeface="Wingdings" panose="05000000000000000000" pitchFamily="2" charset="2"/>
              <a:buChar char="§"/>
            </a:pPr>
            <a:r>
              <a:rPr lang="en-US" sz="1000" dirty="0">
                <a:solidFill>
                  <a:schemeClr val="tx1"/>
                </a:solidFill>
              </a:rPr>
              <a:t>Miscellaneous functions</a:t>
            </a:r>
            <a:br>
              <a:rPr lang="en-US" sz="1000" dirty="0">
                <a:solidFill>
                  <a:schemeClr val="tx1"/>
                </a:solidFill>
              </a:rPr>
            </a:br>
            <a:r>
              <a:rPr lang="en-US" sz="1000" dirty="0">
                <a:solidFill>
                  <a:schemeClr val="tx1"/>
                </a:solidFill>
              </a:rPr>
              <a:t>(e.g. random strings)</a:t>
            </a:r>
          </a:p>
        </p:txBody>
      </p:sp>
      <p:sp>
        <p:nvSpPr>
          <p:cNvPr id="419" name="Rechteck 418">
            <a:extLst>
              <a:ext uri="{FF2B5EF4-FFF2-40B4-BE49-F238E27FC236}">
                <a16:creationId xmlns:a16="http://schemas.microsoft.com/office/drawing/2014/main" id="{410563D6-851F-43B6-85E5-39C51DBE734E}"/>
              </a:ext>
            </a:extLst>
          </p:cNvPr>
          <p:cNvSpPr/>
          <p:nvPr/>
        </p:nvSpPr>
        <p:spPr>
          <a:xfrm>
            <a:off x="2340000" y="357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functions </a:t>
            </a:r>
            <a:br>
              <a:rPr lang="en-US" sz="1000" dirty="0">
                <a:solidFill>
                  <a:schemeClr val="tx1"/>
                </a:solidFill>
              </a:rPr>
            </a:br>
            <a:r>
              <a:rPr lang="en-US" sz="1000" dirty="0">
                <a:solidFill>
                  <a:schemeClr val="tx1"/>
                </a:solidFill>
              </a:rPr>
              <a:t>(e.g. weekday from date)</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420" name="Rechteck 419">
            <a:extLst>
              <a:ext uri="{FF2B5EF4-FFF2-40B4-BE49-F238E27FC236}">
                <a16:creationId xmlns:a16="http://schemas.microsoft.com/office/drawing/2014/main" id="{00A816FA-9898-44C1-9E25-33A6764929DF}"/>
              </a:ext>
            </a:extLst>
          </p:cNvPr>
          <p:cNvSpPr/>
          <p:nvPr/>
        </p:nvSpPr>
        <p:spPr>
          <a:xfrm>
            <a:off x="2340000" y="4653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 Set functions</a:t>
            </a:r>
          </a:p>
          <a:p>
            <a:pPr marL="171450" indent="-171450">
              <a:buFont typeface="Wingdings" panose="05000000000000000000" pitchFamily="2" charset="2"/>
              <a:buChar char="§"/>
            </a:pPr>
            <a:r>
              <a:rPr lang="en-US" sz="1000" dirty="0">
                <a:solidFill>
                  <a:schemeClr val="tx1"/>
                </a:solidFill>
              </a:rPr>
              <a:t>Parameter set search &amp; extraction</a:t>
            </a:r>
          </a:p>
          <a:p>
            <a:pPr marL="171450" indent="-171450">
              <a:buFont typeface="Wingdings" panose="05000000000000000000" pitchFamily="2" charset="2"/>
              <a:buChar char="§"/>
            </a:pPr>
            <a:r>
              <a:rPr lang="en-US" sz="1000" dirty="0">
                <a:solidFill>
                  <a:schemeClr val="tx1"/>
                </a:solidFill>
              </a:rPr>
              <a:t>Matrix manipulations</a:t>
            </a:r>
            <a:br>
              <a:rPr lang="en-US" sz="1000" dirty="0">
                <a:solidFill>
                  <a:schemeClr val="tx1"/>
                </a:solidFill>
              </a:rPr>
            </a:br>
            <a:r>
              <a:rPr lang="en-US" sz="1000" dirty="0">
                <a:solidFill>
                  <a:schemeClr val="tx1"/>
                </a:solidFill>
              </a:rPr>
              <a:t>(e.g. transpose)</a:t>
            </a:r>
          </a:p>
        </p:txBody>
      </p:sp>
      <p:sp>
        <p:nvSpPr>
          <p:cNvPr id="421" name="Rechteck 420">
            <a:extLst>
              <a:ext uri="{FF2B5EF4-FFF2-40B4-BE49-F238E27FC236}">
                <a16:creationId xmlns:a16="http://schemas.microsoft.com/office/drawing/2014/main" id="{8C66F0B6-5B68-44DA-A605-A3883BE0ACEF}"/>
              </a:ext>
            </a:extLst>
          </p:cNvPr>
          <p:cNvSpPr/>
          <p:nvPr/>
        </p:nvSpPr>
        <p:spPr>
          <a:xfrm>
            <a:off x="4644000" y="981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Basics</a:t>
            </a:r>
          </a:p>
          <a:p>
            <a:pPr marL="171450" indent="-171450">
              <a:buFont typeface="Wingdings" panose="05000000000000000000" pitchFamily="2" charset="2"/>
              <a:buChar char="§"/>
            </a:pPr>
            <a:r>
              <a:rPr lang="en-US" sz="1000" dirty="0">
                <a:solidFill>
                  <a:schemeClr val="tx1"/>
                </a:solidFill>
              </a:rPr>
              <a:t>Create and delete tables</a:t>
            </a:r>
          </a:p>
          <a:p>
            <a:pPr marL="171450" indent="-171450">
              <a:buFont typeface="Wingdings" panose="05000000000000000000" pitchFamily="2" charset="2"/>
              <a:buChar char="§"/>
            </a:pPr>
            <a:r>
              <a:rPr lang="en-US" sz="1000" dirty="0">
                <a:solidFill>
                  <a:schemeClr val="tx1"/>
                </a:solidFill>
              </a:rPr>
              <a:t>Access table information</a:t>
            </a:r>
          </a:p>
          <a:p>
            <a:pPr marL="171450" indent="-171450">
              <a:buFont typeface="Wingdings" panose="05000000000000000000" pitchFamily="2" charset="2"/>
              <a:buChar char="§"/>
            </a:pPr>
            <a:r>
              <a:rPr lang="en-US" sz="1000" dirty="0">
                <a:solidFill>
                  <a:schemeClr val="tx1"/>
                </a:solidFill>
              </a:rPr>
              <a:t>Access table contents</a:t>
            </a:r>
          </a:p>
          <a:p>
            <a:pPr marL="171450" indent="-171450">
              <a:buFont typeface="Wingdings" panose="05000000000000000000" pitchFamily="2" charset="2"/>
              <a:buChar char="§"/>
            </a:pPr>
            <a:r>
              <a:rPr lang="en-US" sz="1000" dirty="0">
                <a:solidFill>
                  <a:schemeClr val="tx1"/>
                </a:solidFill>
              </a:rPr>
              <a:t>Load / save tables</a:t>
            </a:r>
          </a:p>
          <a:p>
            <a:pPr marL="171450" indent="-171450">
              <a:buFont typeface="Wingdings" panose="05000000000000000000" pitchFamily="2" charset="2"/>
              <a:buChar char="§"/>
            </a:pPr>
            <a:r>
              <a:rPr lang="en-US" sz="1000" dirty="0">
                <a:solidFill>
                  <a:schemeClr val="tx1"/>
                </a:solidFill>
              </a:rPr>
              <a:t>Input / output with tables</a:t>
            </a:r>
            <a:br>
              <a:rPr lang="en-US" sz="1000" dirty="0">
                <a:solidFill>
                  <a:schemeClr val="tx1"/>
                </a:solidFill>
              </a:rPr>
            </a:br>
            <a:r>
              <a:rPr lang="en-US" sz="1000" dirty="0">
                <a:solidFill>
                  <a:schemeClr val="tx1"/>
                </a:solidFill>
              </a:rPr>
              <a:t>(e.g. listing tables, menus)</a:t>
            </a:r>
          </a:p>
        </p:txBody>
      </p:sp>
      <p:sp>
        <p:nvSpPr>
          <p:cNvPr id="422" name="Rechteck 421">
            <a:extLst>
              <a:ext uri="{FF2B5EF4-FFF2-40B4-BE49-F238E27FC236}">
                <a16:creationId xmlns:a16="http://schemas.microsoft.com/office/drawing/2014/main" id="{88E43557-5919-4BC9-B344-BBF82C0014A9}"/>
              </a:ext>
            </a:extLst>
          </p:cNvPr>
          <p:cNvSpPr/>
          <p:nvPr/>
        </p:nvSpPr>
        <p:spPr>
          <a:xfrm>
            <a:off x="4644000" y="2277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Processing</a:t>
            </a:r>
          </a:p>
          <a:p>
            <a:pPr marL="171450" indent="-171450">
              <a:buFont typeface="Wingdings" panose="05000000000000000000" pitchFamily="2" charset="2"/>
              <a:buChar char="§"/>
            </a:pPr>
            <a:r>
              <a:rPr lang="en-US" sz="1000" dirty="0">
                <a:solidFill>
                  <a:schemeClr val="tx1"/>
                </a:solidFill>
              </a:rPr>
              <a:t>Check and process headers</a:t>
            </a:r>
          </a:p>
          <a:p>
            <a:pPr marL="171450" indent="-171450">
              <a:buFont typeface="Wingdings" panose="05000000000000000000" pitchFamily="2" charset="2"/>
              <a:buChar char="§"/>
            </a:pPr>
            <a:r>
              <a:rPr lang="en-US" sz="1000" dirty="0">
                <a:solidFill>
                  <a:schemeClr val="tx1"/>
                </a:solidFill>
              </a:rPr>
              <a:t>Search tables</a:t>
            </a:r>
          </a:p>
          <a:p>
            <a:pPr marL="171450" indent="-171450">
              <a:buFont typeface="Wingdings" panose="05000000000000000000" pitchFamily="2" charset="2"/>
              <a:buChar char="§"/>
            </a:pPr>
            <a:r>
              <a:rPr lang="en-US" sz="1000" dirty="0">
                <a:solidFill>
                  <a:schemeClr val="tx1"/>
                </a:solidFill>
              </a:rPr>
              <a:t>Process table columns</a:t>
            </a:r>
          </a:p>
          <a:p>
            <a:pPr marL="171450" indent="-171450">
              <a:buFont typeface="Wingdings" panose="05000000000000000000" pitchFamily="2" charset="2"/>
              <a:buChar char="§"/>
            </a:pPr>
            <a:r>
              <a:rPr lang="en-US" sz="1000" dirty="0">
                <a:solidFill>
                  <a:schemeClr val="tx1"/>
                </a:solidFill>
              </a:rPr>
              <a:t>Process table rows</a:t>
            </a:r>
          </a:p>
          <a:p>
            <a:pPr marL="171450" indent="-171450">
              <a:buFont typeface="Wingdings" panose="05000000000000000000" pitchFamily="2" charset="2"/>
              <a:buChar char="§"/>
            </a:pPr>
            <a:r>
              <a:rPr lang="en-US" sz="1000" dirty="0">
                <a:solidFill>
                  <a:schemeClr val="tx1"/>
                </a:solidFill>
              </a:rPr>
              <a:t>Process table contents</a:t>
            </a:r>
          </a:p>
          <a:p>
            <a:pPr marL="171450" indent="-171450">
              <a:buFont typeface="Wingdings" panose="05000000000000000000" pitchFamily="2" charset="2"/>
              <a:buChar char="§"/>
            </a:pPr>
            <a:r>
              <a:rPr lang="en-US" sz="1000" dirty="0">
                <a:solidFill>
                  <a:schemeClr val="tx1"/>
                </a:solidFill>
              </a:rPr>
              <a:t>Rename, copy and split tables</a:t>
            </a:r>
          </a:p>
          <a:p>
            <a:pPr marL="171450" indent="-171450">
              <a:buFont typeface="Wingdings" panose="05000000000000000000" pitchFamily="2" charset="2"/>
              <a:buChar char="§"/>
            </a:pPr>
            <a:endParaRPr lang="en-US" sz="1000" dirty="0">
              <a:solidFill>
                <a:schemeClr val="tx1"/>
              </a:solidFill>
            </a:endParaRPr>
          </a:p>
        </p:txBody>
      </p:sp>
      <p:sp>
        <p:nvSpPr>
          <p:cNvPr id="423" name="Rechteck 422">
            <a:extLst>
              <a:ext uri="{FF2B5EF4-FFF2-40B4-BE49-F238E27FC236}">
                <a16:creationId xmlns:a16="http://schemas.microsoft.com/office/drawing/2014/main" id="{C0DC8E5A-B1F0-4A2C-B66C-604E4568E713}"/>
              </a:ext>
            </a:extLst>
          </p:cNvPr>
          <p:cNvSpPr/>
          <p:nvPr/>
        </p:nvSpPr>
        <p:spPr>
          <a:xfrm>
            <a:off x="4644000" y="3573000"/>
            <a:ext cx="2232000" cy="100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Advanced</a:t>
            </a:r>
          </a:p>
          <a:p>
            <a:pPr marL="171450" indent="-171450">
              <a:buFont typeface="Wingdings" panose="05000000000000000000" pitchFamily="2" charset="2"/>
              <a:buChar char="§"/>
            </a:pPr>
            <a:r>
              <a:rPr lang="en-US" sz="1000" dirty="0">
                <a:solidFill>
                  <a:schemeClr val="tx1"/>
                </a:solidFill>
              </a:rPr>
              <a:t>Check and compare tables</a:t>
            </a:r>
          </a:p>
          <a:p>
            <a:pPr marL="171450" indent="-171450">
              <a:buFont typeface="Wingdings" panose="05000000000000000000" pitchFamily="2" charset="2"/>
              <a:buChar char="§"/>
            </a:pPr>
            <a:r>
              <a:rPr lang="en-US" sz="1000" dirty="0">
                <a:solidFill>
                  <a:schemeClr val="tx1"/>
                </a:solidFill>
              </a:rPr>
              <a:t>Look up from other tables</a:t>
            </a:r>
          </a:p>
          <a:p>
            <a:pPr marL="171450" indent="-171450">
              <a:buFont typeface="Wingdings" panose="05000000000000000000" pitchFamily="2" charset="2"/>
              <a:buChar char="§"/>
            </a:pPr>
            <a:r>
              <a:rPr lang="en-US" sz="1000" dirty="0">
                <a:solidFill>
                  <a:schemeClr val="tx1"/>
                </a:solidFill>
              </a:rPr>
              <a:t>Pivoting and consolidating tables</a:t>
            </a:r>
          </a:p>
          <a:p>
            <a:pPr marL="171450" indent="-171450">
              <a:buFont typeface="Wingdings" panose="05000000000000000000" pitchFamily="2" charset="2"/>
              <a:buChar char="§"/>
            </a:pPr>
            <a:r>
              <a:rPr lang="en-US" sz="1000" dirty="0">
                <a:solidFill>
                  <a:schemeClr val="tx1"/>
                </a:solidFill>
              </a:rPr>
              <a:t>Combining multiple tables</a:t>
            </a:r>
          </a:p>
          <a:p>
            <a:pPr marL="171450" indent="-171450">
              <a:buFont typeface="Wingdings" panose="05000000000000000000" pitchFamily="2" charset="2"/>
              <a:buChar char="§"/>
            </a:pPr>
            <a:r>
              <a:rPr lang="en-US" sz="1000" dirty="0">
                <a:solidFill>
                  <a:schemeClr val="tx1"/>
                </a:solidFill>
              </a:rPr>
              <a:t>Exploring and extracting tables</a:t>
            </a:r>
          </a:p>
        </p:txBody>
      </p:sp>
      <p:sp>
        <p:nvSpPr>
          <p:cNvPr id="424" name="Rechteck 423">
            <a:extLst>
              <a:ext uri="{FF2B5EF4-FFF2-40B4-BE49-F238E27FC236}">
                <a16:creationId xmlns:a16="http://schemas.microsoft.com/office/drawing/2014/main" id="{CA30B6CA-DB3C-403A-85E5-82A8DC5DA1C0}"/>
              </a:ext>
            </a:extLst>
          </p:cNvPr>
          <p:cNvSpPr/>
          <p:nvPr/>
        </p:nvSpPr>
        <p:spPr>
          <a:xfrm>
            <a:off x="4644000" y="4653000"/>
            <a:ext cx="2232000" cy="72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ormatting &amp; Styling Tables</a:t>
            </a:r>
          </a:p>
          <a:p>
            <a:pPr marL="171450" indent="-171450">
              <a:buFont typeface="Wingdings" panose="05000000000000000000" pitchFamily="2" charset="2"/>
              <a:buChar char="§"/>
            </a:pPr>
            <a:r>
              <a:rPr lang="en-US" sz="1000" dirty="0">
                <a:solidFill>
                  <a:schemeClr val="tx1"/>
                </a:solidFill>
              </a:rPr>
              <a:t>Define colors to use</a:t>
            </a:r>
          </a:p>
          <a:p>
            <a:pPr marL="171450" indent="-171450">
              <a:buFont typeface="Wingdings" panose="05000000000000000000" pitchFamily="2" charset="2"/>
              <a:buChar char="§"/>
            </a:pPr>
            <a:r>
              <a:rPr lang="en-US" sz="1000" dirty="0">
                <a:solidFill>
                  <a:schemeClr val="tx1"/>
                </a:solidFill>
              </a:rPr>
              <a:t>Format tables, rows, columns, cells</a:t>
            </a:r>
          </a:p>
          <a:p>
            <a:pPr marL="171450" indent="-171450">
              <a:buFont typeface="Wingdings" panose="05000000000000000000" pitchFamily="2" charset="2"/>
              <a:buChar char="§"/>
            </a:pPr>
            <a:r>
              <a:rPr lang="en-US" sz="1000" dirty="0">
                <a:solidFill>
                  <a:schemeClr val="tx1"/>
                </a:solidFill>
              </a:rPr>
              <a:t>Translating to file format to save</a:t>
            </a:r>
          </a:p>
        </p:txBody>
      </p:sp>
      <p:sp>
        <p:nvSpPr>
          <p:cNvPr id="425" name="Rechteck 424">
            <a:extLst>
              <a:ext uri="{FF2B5EF4-FFF2-40B4-BE49-F238E27FC236}">
                <a16:creationId xmlns:a16="http://schemas.microsoft.com/office/drawing/2014/main" id="{FD78D88E-B925-4B6C-B1D2-02CDC487C87F}"/>
              </a:ext>
            </a:extLst>
          </p:cNvPr>
          <p:cNvSpPr/>
          <p:nvPr/>
        </p:nvSpPr>
        <p:spPr>
          <a:xfrm>
            <a:off x="6948000" y="981000"/>
            <a:ext cx="2232000" cy="122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br>
              <a:rPr lang="en-US" sz="1000" dirty="0">
                <a:solidFill>
                  <a:schemeClr val="tx1"/>
                </a:solidFill>
              </a:rPr>
            </a:br>
            <a:r>
              <a:rPr lang="en-US" sz="1000" dirty="0">
                <a:solidFill>
                  <a:schemeClr val="tx1"/>
                </a:solidFill>
              </a:rPr>
              <a:t>(JSON format)</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 functions</a:t>
            </a:r>
          </a:p>
        </p:txBody>
      </p:sp>
      <p:sp>
        <p:nvSpPr>
          <p:cNvPr id="426" name="Rechteck 425">
            <a:extLst>
              <a:ext uri="{FF2B5EF4-FFF2-40B4-BE49-F238E27FC236}">
                <a16:creationId xmlns:a16="http://schemas.microsoft.com/office/drawing/2014/main" id="{C4F78FB8-0471-454E-BCE6-090533527454}"/>
              </a:ext>
            </a:extLst>
          </p:cNvPr>
          <p:cNvSpPr/>
          <p:nvPr/>
        </p:nvSpPr>
        <p:spPr>
          <a:xfrm>
            <a:off x="6948000" y="2277000"/>
            <a:ext cx="2232000" cy="122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s, files</a:t>
            </a:r>
            <a:br>
              <a:rPr lang="en-US" sz="1000" dirty="0">
                <a:solidFill>
                  <a:schemeClr val="tx1"/>
                </a:solidFill>
              </a:rPr>
            </a:br>
            <a:r>
              <a:rPr lang="en-US" sz="1000" dirty="0">
                <a:solidFill>
                  <a:schemeClr val="tx1"/>
                </a:solidFill>
              </a:rPr>
              <a:t>(copy, rename, delete, sym. links)</a:t>
            </a:r>
          </a:p>
          <a:p>
            <a:pPr marL="171450" indent="-171450">
              <a:buFont typeface="Wingdings" panose="05000000000000000000" pitchFamily="2" charset="2"/>
              <a:buChar char="§"/>
            </a:pPr>
            <a:r>
              <a:rPr lang="en-US" sz="1000" dirty="0">
                <a:solidFill>
                  <a:schemeClr val="tx1"/>
                </a:solidFill>
              </a:rPr>
              <a:t>File compression and </a:t>
            </a:r>
            <a:br>
              <a:rPr lang="en-US" sz="1000" dirty="0">
                <a:solidFill>
                  <a:schemeClr val="tx1"/>
                </a:solidFill>
              </a:rPr>
            </a:br>
            <a:r>
              <a:rPr lang="en-US" sz="1000" dirty="0">
                <a:solidFill>
                  <a:schemeClr val="tx1"/>
                </a:solidFill>
              </a:rPr>
              <a:t>decompression</a:t>
            </a:r>
          </a:p>
        </p:txBody>
      </p:sp>
      <p:sp>
        <p:nvSpPr>
          <p:cNvPr id="427" name="Rechteck 426">
            <a:extLst>
              <a:ext uri="{FF2B5EF4-FFF2-40B4-BE49-F238E27FC236}">
                <a16:creationId xmlns:a16="http://schemas.microsoft.com/office/drawing/2014/main" id="{BD0E58F2-F6F8-4475-A960-140F76E8DDDF}"/>
              </a:ext>
            </a:extLst>
          </p:cNvPr>
          <p:cNvSpPr/>
          <p:nvPr/>
        </p:nvSpPr>
        <p:spPr>
          <a:xfrm>
            <a:off x="6948000" y="3573000"/>
            <a:ext cx="2232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428" name="Rechteck 427">
            <a:extLst>
              <a:ext uri="{FF2B5EF4-FFF2-40B4-BE49-F238E27FC236}">
                <a16:creationId xmlns:a16="http://schemas.microsoft.com/office/drawing/2014/main" id="{8FC7A6AA-ECC5-40C9-92E7-3E158C71FE5E}"/>
              </a:ext>
            </a:extLst>
          </p:cNvPr>
          <p:cNvSpPr/>
          <p:nvPr/>
        </p:nvSpPr>
        <p:spPr>
          <a:xfrm>
            <a:off x="6948000" y="4653000"/>
            <a:ext cx="2232000" cy="720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 – local assistance</a:t>
            </a:r>
          </a:p>
          <a:p>
            <a:pPr marL="171450" indent="-171450">
              <a:buFont typeface="Wingdings" panose="05000000000000000000" pitchFamily="2" charset="2"/>
              <a:buChar char="§"/>
            </a:pPr>
            <a:r>
              <a:rPr lang="en-US" sz="1000" dirty="0">
                <a:solidFill>
                  <a:schemeClr val="tx1"/>
                </a:solidFill>
              </a:rPr>
              <a:t>search and access online docs</a:t>
            </a:r>
          </a:p>
          <a:p>
            <a:pPr marL="171450" indent="-171450">
              <a:buFont typeface="Wingdings" panose="05000000000000000000" pitchFamily="2" charset="2"/>
              <a:buChar char="§"/>
            </a:pPr>
            <a:r>
              <a:rPr lang="en-US" sz="1000" dirty="0">
                <a:solidFill>
                  <a:schemeClr val="tx1"/>
                </a:solidFill>
              </a:rPr>
              <a:t>view tables with browsers or tools</a:t>
            </a:r>
          </a:p>
        </p:txBody>
      </p:sp>
    </p:spTree>
    <p:extLst>
      <p:ext uri="{BB962C8B-B14F-4D97-AF65-F5344CB8AC3E}">
        <p14:creationId xmlns:p14="http://schemas.microsoft.com/office/powerpoint/2010/main" val="19499288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endParaRPr lang="en-US"/>
          </a:p>
        </p:txBody>
      </p:sp>
      <p:sp>
        <p:nvSpPr>
          <p:cNvPr id="19" name="Rechteck 18">
            <a:extLst>
              <a:ext uri="{FF2B5EF4-FFF2-40B4-BE49-F238E27FC236}">
                <a16:creationId xmlns:a16="http://schemas.microsoft.com/office/drawing/2014/main" id="{5FE1916B-A96F-45A4-B2DB-3A890EED082D}"/>
              </a:ext>
            </a:extLst>
          </p:cNvPr>
          <p:cNvSpPr/>
          <p:nvPr/>
        </p:nvSpPr>
        <p:spPr>
          <a:xfrm>
            <a:off x="36000" y="981000"/>
            <a:ext cx="2232000" cy="1440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err="1">
                <a:solidFill>
                  <a:schemeClr val="tx1"/>
                </a:solidFill>
              </a:rPr>
              <a:t>Lauch</a:t>
            </a:r>
            <a:r>
              <a:rPr lang="en-US" sz="1000" dirty="0">
                <a:solidFill>
                  <a:schemeClr val="tx1"/>
                </a:solidFill>
              </a:rPr>
              <a: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 func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Code execution functions</a:t>
            </a:r>
          </a:p>
        </p:txBody>
      </p:sp>
      <p:sp>
        <p:nvSpPr>
          <p:cNvPr id="20" name="Rechteck 19">
            <a:extLst>
              <a:ext uri="{FF2B5EF4-FFF2-40B4-BE49-F238E27FC236}">
                <a16:creationId xmlns:a16="http://schemas.microsoft.com/office/drawing/2014/main" id="{202C29BE-EAFB-43C6-9803-85E7D0311EC4}"/>
              </a:ext>
            </a:extLst>
          </p:cNvPr>
          <p:cNvSpPr/>
          <p:nvPr/>
        </p:nvSpPr>
        <p:spPr>
          <a:xfrm>
            <a:off x="36000" y="2493000"/>
            <a:ext cx="2232000" cy="79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err="1">
                <a:solidFill>
                  <a:schemeClr val="tx1"/>
                </a:solidFill>
              </a:rPr>
              <a:t>Consle</a:t>
            </a:r>
            <a:r>
              <a:rPr lang="en-US" sz="1200" b="1" dirty="0">
                <a:solidFill>
                  <a:schemeClr val="tx1"/>
                </a:solidFill>
              </a:rPr>
              <a:t> I/O Functions</a:t>
            </a:r>
          </a:p>
          <a:p>
            <a:pPr marL="171450" indent="-171450">
              <a:buFont typeface="Wingdings" panose="05000000000000000000" pitchFamily="2" charset="2"/>
              <a:buChar char="§"/>
            </a:pPr>
            <a:r>
              <a:rPr lang="en-US" sz="1000" dirty="0">
                <a:solidFill>
                  <a:schemeClr val="tx1"/>
                </a:solidFill>
              </a:rPr>
              <a:t>Standard text I/O  (echo, input, ...)</a:t>
            </a:r>
          </a:p>
          <a:p>
            <a:pPr marL="171450" indent="-171450">
              <a:buFont typeface="Wingdings" panose="05000000000000000000" pitchFamily="2" charset="2"/>
              <a:buChar char="§"/>
            </a:pPr>
            <a:r>
              <a:rPr lang="en-US" sz="1000" dirty="0">
                <a:solidFill>
                  <a:schemeClr val="tx1"/>
                </a:solidFill>
              </a:rPr>
              <a:t>Console special effects</a:t>
            </a:r>
          </a:p>
          <a:p>
            <a:pPr marL="171450" indent="-171450">
              <a:buFont typeface="Wingdings" panose="05000000000000000000" pitchFamily="2" charset="2"/>
              <a:buChar char="§"/>
            </a:pPr>
            <a:r>
              <a:rPr lang="en-US" sz="1000" dirty="0">
                <a:solidFill>
                  <a:schemeClr val="tx1"/>
                </a:solidFill>
              </a:rPr>
              <a:t>Inspection and debugging</a:t>
            </a:r>
          </a:p>
        </p:txBody>
      </p:sp>
      <p:sp>
        <p:nvSpPr>
          <p:cNvPr id="21" name="Rechteck 20">
            <a:extLst>
              <a:ext uri="{FF2B5EF4-FFF2-40B4-BE49-F238E27FC236}">
                <a16:creationId xmlns:a16="http://schemas.microsoft.com/office/drawing/2014/main" id="{9B45363B-C0D0-4599-967D-C0BE8673F1EA}"/>
              </a:ext>
            </a:extLst>
          </p:cNvPr>
          <p:cNvSpPr/>
          <p:nvPr/>
        </p:nvSpPr>
        <p:spPr>
          <a:xfrm>
            <a:off x="36000" y="3357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Formatting</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parameter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22" name="Rechteck 21">
            <a:extLst>
              <a:ext uri="{FF2B5EF4-FFF2-40B4-BE49-F238E27FC236}">
                <a16:creationId xmlns:a16="http://schemas.microsoft.com/office/drawing/2014/main" id="{8BBB3F0D-3297-4955-B5EA-A06F99C1D8A3}"/>
              </a:ext>
            </a:extLst>
          </p:cNvPr>
          <p:cNvSpPr/>
          <p:nvPr/>
        </p:nvSpPr>
        <p:spPr>
          <a:xfrm>
            <a:off x="2340000" y="981000"/>
            <a:ext cx="2232000" cy="136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23" name="Rechteck 22">
            <a:extLst>
              <a:ext uri="{FF2B5EF4-FFF2-40B4-BE49-F238E27FC236}">
                <a16:creationId xmlns:a16="http://schemas.microsoft.com/office/drawing/2014/main" id="{78D52D5E-256A-4717-8AE1-F0595B76F937}"/>
              </a:ext>
            </a:extLst>
          </p:cNvPr>
          <p:cNvSpPr/>
          <p:nvPr/>
        </p:nvSpPr>
        <p:spPr>
          <a:xfrm>
            <a:off x="2340000" y="2421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encoding and decoding</a:t>
            </a:r>
          </a:p>
          <a:p>
            <a:pPr marL="171450" indent="-171450">
              <a:buFont typeface="Wingdings" panose="05000000000000000000" pitchFamily="2" charset="2"/>
              <a:buChar char="§"/>
            </a:pPr>
            <a:r>
              <a:rPr lang="en-US" sz="1000" dirty="0">
                <a:solidFill>
                  <a:schemeClr val="tx1"/>
                </a:solidFill>
              </a:rPr>
              <a:t>Miscellaneous string functions</a:t>
            </a:r>
          </a:p>
        </p:txBody>
      </p:sp>
      <p:sp>
        <p:nvSpPr>
          <p:cNvPr id="24" name="Rechteck 23">
            <a:extLst>
              <a:ext uri="{FF2B5EF4-FFF2-40B4-BE49-F238E27FC236}">
                <a16:creationId xmlns:a16="http://schemas.microsoft.com/office/drawing/2014/main" id="{A3CC33A6-6945-45DB-A371-67D1C2D5FAF9}"/>
              </a:ext>
            </a:extLst>
          </p:cNvPr>
          <p:cNvSpPr/>
          <p:nvPr/>
        </p:nvSpPr>
        <p:spPr>
          <a:xfrm>
            <a:off x="2340000" y="3213000"/>
            <a:ext cx="2232000" cy="936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and rescheduling functions </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25" name="Rechteck 24">
            <a:extLst>
              <a:ext uri="{FF2B5EF4-FFF2-40B4-BE49-F238E27FC236}">
                <a16:creationId xmlns:a16="http://schemas.microsoft.com/office/drawing/2014/main" id="{A6D7E4C6-25B6-4558-9727-E5D9F523B3BA}"/>
              </a:ext>
            </a:extLst>
          </p:cNvPr>
          <p:cNvSpPr/>
          <p:nvPr/>
        </p:nvSpPr>
        <p:spPr>
          <a:xfrm>
            <a:off x="2340000" y="4221000"/>
            <a:ext cx="2232000" cy="432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 Set functions</a:t>
            </a:r>
          </a:p>
          <a:p>
            <a:pPr marL="171450" indent="-171450">
              <a:buFont typeface="Wingdings" panose="05000000000000000000" pitchFamily="2" charset="2"/>
              <a:buChar char="§"/>
            </a:pPr>
            <a:r>
              <a:rPr lang="en-US" sz="1000" dirty="0">
                <a:solidFill>
                  <a:schemeClr val="tx1"/>
                </a:solidFill>
              </a:rPr>
              <a:t>Set search &amp; extraction</a:t>
            </a:r>
          </a:p>
        </p:txBody>
      </p:sp>
      <p:sp>
        <p:nvSpPr>
          <p:cNvPr id="26" name="Rechteck 25">
            <a:extLst>
              <a:ext uri="{FF2B5EF4-FFF2-40B4-BE49-F238E27FC236}">
                <a16:creationId xmlns:a16="http://schemas.microsoft.com/office/drawing/2014/main" id="{C4D45550-7F32-4714-A5D6-1B6484C1B68A}"/>
              </a:ext>
            </a:extLst>
          </p:cNvPr>
          <p:cNvSpPr/>
          <p:nvPr/>
        </p:nvSpPr>
        <p:spPr>
          <a:xfrm>
            <a:off x="4644000" y="981000"/>
            <a:ext cx="2232000" cy="23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a:t>
            </a:r>
          </a:p>
          <a:p>
            <a:pPr marL="171450" indent="-171450">
              <a:buFont typeface="Wingdings" panose="05000000000000000000" pitchFamily="2" charset="2"/>
              <a:buChar char="§"/>
            </a:pPr>
            <a:r>
              <a:rPr lang="en-US" sz="1000" dirty="0">
                <a:solidFill>
                  <a:schemeClr val="tx1"/>
                </a:solidFill>
              </a:rPr>
              <a:t>Loading and saving tables</a:t>
            </a:r>
          </a:p>
          <a:p>
            <a:pPr marL="171450" indent="-171450">
              <a:buFont typeface="Wingdings" panose="05000000000000000000" pitchFamily="2" charset="2"/>
              <a:buChar char="§"/>
            </a:pPr>
            <a:r>
              <a:rPr lang="en-US" sz="1000" dirty="0">
                <a:solidFill>
                  <a:schemeClr val="tx1"/>
                </a:solidFill>
              </a:rPr>
              <a:t>Console I/O with tables</a:t>
            </a:r>
          </a:p>
          <a:p>
            <a:pPr marL="171450" indent="-171450">
              <a:buFont typeface="Wingdings" panose="05000000000000000000" pitchFamily="2" charset="2"/>
              <a:buChar char="§"/>
            </a:pPr>
            <a:r>
              <a:rPr lang="en-US" sz="1000" dirty="0">
                <a:solidFill>
                  <a:schemeClr val="tx1"/>
                </a:solidFill>
              </a:rPr>
              <a:t>Creating, writing, reading, deleting</a:t>
            </a:r>
          </a:p>
          <a:p>
            <a:pPr marL="171450" indent="-171450">
              <a:buFont typeface="Wingdings" panose="05000000000000000000" pitchFamily="2" charset="2"/>
              <a:buChar char="§"/>
            </a:pPr>
            <a:r>
              <a:rPr lang="en-US" sz="1000" dirty="0">
                <a:solidFill>
                  <a:schemeClr val="tx1"/>
                </a:solidFill>
              </a:rPr>
              <a:t>Accessing table information</a:t>
            </a:r>
          </a:p>
          <a:p>
            <a:pPr marL="171450" indent="-171450">
              <a:buFont typeface="Wingdings" panose="05000000000000000000" pitchFamily="2" charset="2"/>
              <a:buChar char="§"/>
            </a:pPr>
            <a:r>
              <a:rPr lang="en-US" sz="1000" dirty="0">
                <a:solidFill>
                  <a:schemeClr val="tx1"/>
                </a:solidFill>
              </a:rPr>
              <a:t>Searching and exploring tables</a:t>
            </a:r>
          </a:p>
          <a:p>
            <a:pPr marL="171450" indent="-171450">
              <a:buFont typeface="Wingdings" panose="05000000000000000000" pitchFamily="2" charset="2"/>
              <a:buChar char="§"/>
            </a:pPr>
            <a:r>
              <a:rPr lang="en-US" sz="1000" dirty="0">
                <a:solidFill>
                  <a:schemeClr val="tx1"/>
                </a:solidFill>
              </a:rPr>
              <a:t>Control flow functions for tables</a:t>
            </a:r>
          </a:p>
          <a:p>
            <a:pPr marL="171450" indent="-171450">
              <a:buFont typeface="Wingdings" panose="05000000000000000000" pitchFamily="2" charset="2"/>
              <a:buChar char="§"/>
            </a:pPr>
            <a:r>
              <a:rPr lang="en-US" sz="1000" dirty="0">
                <a:solidFill>
                  <a:schemeClr val="tx1"/>
                </a:solidFill>
              </a:rPr>
              <a:t>Processing tables</a:t>
            </a:r>
            <a:br>
              <a:rPr lang="en-US" sz="1000" dirty="0">
                <a:solidFill>
                  <a:schemeClr val="tx1"/>
                </a:solidFill>
              </a:rPr>
            </a:br>
            <a:r>
              <a:rPr lang="en-US" sz="1000" dirty="0">
                <a:solidFill>
                  <a:schemeClr val="tx1"/>
                </a:solidFill>
              </a:rPr>
              <a:t>(Headers, columns, rows, cells,</a:t>
            </a:r>
            <a:br>
              <a:rPr lang="en-US" sz="1000" dirty="0">
                <a:solidFill>
                  <a:schemeClr val="tx1"/>
                </a:solidFill>
              </a:rPr>
            </a:br>
            <a:r>
              <a:rPr lang="en-US" sz="1000" dirty="0">
                <a:solidFill>
                  <a:schemeClr val="tx1"/>
                </a:solidFill>
              </a:rPr>
              <a:t> pivoting, consolidating, etc.)</a:t>
            </a:r>
          </a:p>
          <a:p>
            <a:pPr marL="171450" indent="-171450">
              <a:buFont typeface="Wingdings" panose="05000000000000000000" pitchFamily="2" charset="2"/>
              <a:buChar char="§"/>
            </a:pPr>
            <a:r>
              <a:rPr lang="en-US" sz="1000" dirty="0">
                <a:solidFill>
                  <a:schemeClr val="tx1"/>
                </a:solidFill>
              </a:rPr>
              <a:t>Multi-table integration</a:t>
            </a:r>
            <a:br>
              <a:rPr lang="en-US" sz="1000" dirty="0">
                <a:solidFill>
                  <a:schemeClr val="tx1"/>
                </a:solidFill>
              </a:rPr>
            </a:br>
            <a:r>
              <a:rPr lang="en-US" sz="1000" dirty="0">
                <a:solidFill>
                  <a:schemeClr val="tx1"/>
                </a:solidFill>
              </a:rPr>
              <a:t>(Comparing, validating, lookups,</a:t>
            </a:r>
            <a:br>
              <a:rPr lang="en-US" sz="1000" dirty="0">
                <a:solidFill>
                  <a:schemeClr val="tx1"/>
                </a:solidFill>
              </a:rPr>
            </a:br>
            <a:r>
              <a:rPr lang="en-US" sz="1000" dirty="0">
                <a:solidFill>
                  <a:schemeClr val="tx1"/>
                </a:solidFill>
              </a:rPr>
              <a:t> combining multiple tables)</a:t>
            </a:r>
          </a:p>
          <a:p>
            <a:pPr marL="171450" indent="-171450">
              <a:buFont typeface="Wingdings" panose="05000000000000000000" pitchFamily="2" charset="2"/>
              <a:buChar char="§"/>
            </a:pPr>
            <a:r>
              <a:rPr lang="en-US" sz="1000" dirty="0">
                <a:solidFill>
                  <a:schemeClr val="tx1"/>
                </a:solidFill>
              </a:rPr>
              <a:t>Formatting and styling tables</a:t>
            </a:r>
            <a:br>
              <a:rPr lang="en-US" sz="1000" dirty="0">
                <a:solidFill>
                  <a:schemeClr val="tx1"/>
                </a:solidFill>
              </a:rPr>
            </a:br>
            <a:r>
              <a:rPr lang="en-US" sz="1000" dirty="0">
                <a:solidFill>
                  <a:schemeClr val="tx1"/>
                </a:solidFill>
              </a:rPr>
              <a:t>(Making the final touch)</a:t>
            </a:r>
          </a:p>
        </p:txBody>
      </p:sp>
      <p:sp>
        <p:nvSpPr>
          <p:cNvPr id="27" name="Rechteck 26">
            <a:extLst>
              <a:ext uri="{FF2B5EF4-FFF2-40B4-BE49-F238E27FC236}">
                <a16:creationId xmlns:a16="http://schemas.microsoft.com/office/drawing/2014/main" id="{FC6242F2-1362-4166-9177-6B08BB4D8874}"/>
              </a:ext>
            </a:extLst>
          </p:cNvPr>
          <p:cNvSpPr/>
          <p:nvPr/>
        </p:nvSpPr>
        <p:spPr>
          <a:xfrm>
            <a:off x="4644000" y="3429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 variables function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s functions</a:t>
            </a:r>
          </a:p>
        </p:txBody>
      </p:sp>
      <p:sp>
        <p:nvSpPr>
          <p:cNvPr id="28" name="Rechteck 27">
            <a:extLst>
              <a:ext uri="{FF2B5EF4-FFF2-40B4-BE49-F238E27FC236}">
                <a16:creationId xmlns:a16="http://schemas.microsoft.com/office/drawing/2014/main" id="{3229E2CC-5971-4446-8F15-1BC04250557A}"/>
              </a:ext>
            </a:extLst>
          </p:cNvPr>
          <p:cNvSpPr/>
          <p:nvPr/>
        </p:nvSpPr>
        <p:spPr>
          <a:xfrm>
            <a:off x="6948000" y="981000"/>
            <a:ext cx="2232000" cy="129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 directory and file function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ies, files</a:t>
            </a:r>
            <a:br>
              <a:rPr lang="en-US" sz="1000" dirty="0">
                <a:solidFill>
                  <a:schemeClr val="tx1"/>
                </a:solidFill>
              </a:rPr>
            </a:br>
            <a:r>
              <a:rPr lang="en-US" sz="1000" dirty="0">
                <a:solidFill>
                  <a:schemeClr val="tx1"/>
                </a:solidFill>
              </a:rPr>
              <a:t>(copy, rename, delete, </a:t>
            </a:r>
            <a:br>
              <a:rPr lang="en-US" sz="1000" dirty="0">
                <a:solidFill>
                  <a:schemeClr val="tx1"/>
                </a:solidFill>
              </a:rPr>
            </a:br>
            <a:r>
              <a:rPr lang="en-US" sz="1000" dirty="0">
                <a:solidFill>
                  <a:schemeClr val="tx1"/>
                </a:solidFill>
              </a:rPr>
              <a:t> </a:t>
            </a:r>
            <a:r>
              <a:rPr lang="en-US" sz="1000" dirty="0" err="1">
                <a:solidFill>
                  <a:schemeClr val="tx1"/>
                </a:solidFill>
              </a:rPr>
              <a:t>symolic</a:t>
            </a:r>
            <a:r>
              <a:rPr lang="en-US" sz="1000" dirty="0">
                <a:solidFill>
                  <a:schemeClr val="tx1"/>
                </a:solidFill>
              </a:rPr>
              <a:t> links)</a:t>
            </a:r>
          </a:p>
          <a:p>
            <a:pPr marL="171450" indent="-171450">
              <a:buFont typeface="Wingdings" panose="05000000000000000000" pitchFamily="2" charset="2"/>
              <a:buChar char="§"/>
            </a:pPr>
            <a:r>
              <a:rPr lang="en-US" sz="1000" dirty="0">
                <a:solidFill>
                  <a:schemeClr val="tx1"/>
                </a:solidFill>
              </a:rPr>
              <a:t>File compression &amp; decompression</a:t>
            </a:r>
          </a:p>
        </p:txBody>
      </p:sp>
      <p:sp>
        <p:nvSpPr>
          <p:cNvPr id="29" name="Rechteck 28">
            <a:extLst>
              <a:ext uri="{FF2B5EF4-FFF2-40B4-BE49-F238E27FC236}">
                <a16:creationId xmlns:a16="http://schemas.microsoft.com/office/drawing/2014/main" id="{B241ADF3-C154-4DFE-9485-79E26D04FEA4}"/>
              </a:ext>
            </a:extLst>
          </p:cNvPr>
          <p:cNvSpPr/>
          <p:nvPr/>
        </p:nvSpPr>
        <p:spPr>
          <a:xfrm>
            <a:off x="6931680" y="2349000"/>
            <a:ext cx="2232000" cy="7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30" name="Rechteck 29">
            <a:extLst>
              <a:ext uri="{FF2B5EF4-FFF2-40B4-BE49-F238E27FC236}">
                <a16:creationId xmlns:a16="http://schemas.microsoft.com/office/drawing/2014/main" id="{CF9F0305-B84F-45BF-805A-5963757D46A7}"/>
              </a:ext>
            </a:extLst>
          </p:cNvPr>
          <p:cNvSpPr/>
          <p:nvPr/>
        </p:nvSpPr>
        <p:spPr>
          <a:xfrm>
            <a:off x="6948000" y="3213000"/>
            <a:ext cx="2232000" cy="144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a:t>
            </a:r>
          </a:p>
          <a:p>
            <a:pPr marL="171450" indent="-171450">
              <a:buFont typeface="Wingdings" panose="05000000000000000000" pitchFamily="2" charset="2"/>
              <a:buChar char="§"/>
            </a:pPr>
            <a:r>
              <a:rPr lang="en-US" sz="1000" dirty="0">
                <a:solidFill>
                  <a:schemeClr val="tx1"/>
                </a:solidFill>
              </a:rPr>
              <a:t>docs, docs search (on-line docs)</a:t>
            </a:r>
          </a:p>
          <a:p>
            <a:pPr marL="171450" indent="-171450">
              <a:buFont typeface="Wingdings" panose="05000000000000000000" pitchFamily="2" charset="2"/>
              <a:buChar char="§"/>
            </a:pPr>
            <a:r>
              <a:rPr lang="en-US" sz="1000" dirty="0">
                <a:solidFill>
                  <a:schemeClr val="tx1"/>
                </a:solidFill>
              </a:rPr>
              <a:t>view, view reset</a:t>
            </a:r>
          </a:p>
          <a:p>
            <a:pPr marL="171450" indent="-171450">
              <a:buFont typeface="Wingdings" panose="05000000000000000000" pitchFamily="2" charset="2"/>
              <a:buChar char="§"/>
            </a:pPr>
            <a:r>
              <a:rPr lang="en-US" sz="1000" dirty="0">
                <a:solidFill>
                  <a:schemeClr val="tx1"/>
                </a:solidFill>
              </a:rPr>
              <a:t>list / explain / dump functions</a:t>
            </a:r>
          </a:p>
        </p:txBody>
      </p:sp>
    </p:spTree>
    <p:extLst>
      <p:ext uri="{BB962C8B-B14F-4D97-AF65-F5344CB8AC3E}">
        <p14:creationId xmlns:p14="http://schemas.microsoft.com/office/powerpoint/2010/main" val="16444767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 name="Rechteck 334"/>
          <p:cNvSpPr/>
          <p:nvPr/>
        </p:nvSpPr>
        <p:spPr>
          <a:xfrm>
            <a:off x="6876170" y="429312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6876170" y="436513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7" name="Rechteck 336"/>
          <p:cNvSpPr/>
          <p:nvPr/>
        </p:nvSpPr>
        <p:spPr>
          <a:xfrm>
            <a:off x="6876170" y="443714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p:cNvSpPr/>
          <p:nvPr/>
        </p:nvSpPr>
        <p:spPr>
          <a:xfrm>
            <a:off x="6876170" y="450915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p:cNvSpPr/>
          <p:nvPr/>
        </p:nvSpPr>
        <p:spPr>
          <a:xfrm>
            <a:off x="6876170" y="458116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6876170" y="465317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6876170" y="472518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6876170" y="479719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6876170" y="486920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6876170" y="494121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p:cNvSpPr/>
          <p:nvPr/>
        </p:nvSpPr>
        <p:spPr>
          <a:xfrm>
            <a:off x="6876170" y="501322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442798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6" name="Rechteck 305"/>
          <p:cNvSpPr/>
          <p:nvPr/>
        </p:nvSpPr>
        <p:spPr>
          <a:xfrm>
            <a:off x="442798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313180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131800" y="3356990"/>
            <a:ext cx="1152010" cy="3598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131800" y="1484730"/>
            <a:ext cx="115216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131800" y="1556740"/>
            <a:ext cx="115201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6" name="Rechteck 215"/>
          <p:cNvSpPr/>
          <p:nvPr/>
        </p:nvSpPr>
        <p:spPr>
          <a:xfrm>
            <a:off x="1475570" y="1484730"/>
            <a:ext cx="122417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475570" y="1556740"/>
            <a:ext cx="122417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mparison – Output Models</a:t>
            </a:r>
          </a:p>
        </p:txBody>
      </p:sp>
      <p:sp>
        <p:nvSpPr>
          <p:cNvPr id="4" name="Textplatzhalter 3"/>
          <p:cNvSpPr>
            <a:spLocks noGrp="1"/>
          </p:cNvSpPr>
          <p:nvPr>
            <p:ph type="body" sz="quarter" idx="16"/>
          </p:nvPr>
        </p:nvSpPr>
        <p:spPr/>
        <p:txBody>
          <a:bodyPr/>
          <a:lstStyle/>
          <a:p>
            <a:endParaRPr lang="en-US"/>
          </a:p>
        </p:txBody>
      </p:sp>
      <p:sp>
        <p:nvSpPr>
          <p:cNvPr id="79" name="Rechteck 78"/>
          <p:cNvSpPr/>
          <p:nvPr/>
        </p:nvSpPr>
        <p:spPr>
          <a:xfrm>
            <a:off x="4860190" y="1484730"/>
            <a:ext cx="115201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p:cNvSpPr/>
          <p:nvPr/>
        </p:nvSpPr>
        <p:spPr>
          <a:xfrm>
            <a:off x="514808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29210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572418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529210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514808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86004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486004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96" name="Rechteck 95"/>
          <p:cNvSpPr/>
          <p:nvPr/>
        </p:nvSpPr>
        <p:spPr>
          <a:xfrm>
            <a:off x="514808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8" name="Rechteck 97"/>
          <p:cNvSpPr/>
          <p:nvPr/>
        </p:nvSpPr>
        <p:spPr>
          <a:xfrm>
            <a:off x="529210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572418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529210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514808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6660290" y="1484730"/>
            <a:ext cx="72010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p:cNvSpPr/>
          <p:nvPr/>
        </p:nvSpPr>
        <p:spPr>
          <a:xfrm>
            <a:off x="680431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694833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723637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94833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680431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6660290" y="3284980"/>
            <a:ext cx="72010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5" name="Rechteck 144"/>
          <p:cNvSpPr/>
          <p:nvPr/>
        </p:nvSpPr>
        <p:spPr>
          <a:xfrm>
            <a:off x="680431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723637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94833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680431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341984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56386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399594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356386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341984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4" name="Gerade Verbindung 203"/>
          <p:cNvCxnSpPr/>
          <p:nvPr/>
        </p:nvCxnSpPr>
        <p:spPr>
          <a:xfrm>
            <a:off x="4427980" y="1556740"/>
            <a:ext cx="288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6" name="Gerade Verbindung 205"/>
          <p:cNvCxnSpPr/>
          <p:nvPr/>
        </p:nvCxnSpPr>
        <p:spPr>
          <a:xfrm>
            <a:off x="313180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207" name="Rechteck 206"/>
          <p:cNvSpPr/>
          <p:nvPr/>
        </p:nvSpPr>
        <p:spPr>
          <a:xfrm>
            <a:off x="341984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356386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399594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356386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341984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6660290" y="4221110"/>
            <a:ext cx="792110" cy="864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25" name="Gerade Verbindung 224"/>
          <p:cNvCxnSpPr/>
          <p:nvPr/>
        </p:nvCxnSpPr>
        <p:spPr>
          <a:xfrm>
            <a:off x="6660290" y="4293120"/>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p:cNvSpPr/>
          <p:nvPr/>
        </p:nvSpPr>
        <p:spPr>
          <a:xfrm>
            <a:off x="7020340" y="42931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7164360" y="42931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3707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5292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5436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6948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7092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563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707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5292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5436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6948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7092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7020340" y="43651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7164360" y="43651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7020340" y="44371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7164360" y="443714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7020340" y="45091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7164360" y="450915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7020340" y="45811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7164360" y="45811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7020340" y="46531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7164360" y="46531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7020340" y="47251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7164360" y="47251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13180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86004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p:cNvSpPr/>
          <p:nvPr/>
        </p:nvSpPr>
        <p:spPr>
          <a:xfrm>
            <a:off x="6660290" y="2924930"/>
            <a:ext cx="72010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131800" y="371704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4860040" y="3717040"/>
            <a:ext cx="115201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60290" y="3717040"/>
            <a:ext cx="72010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37078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356386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341984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370788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370788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356386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34198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1" name="Rechteck 270"/>
          <p:cNvSpPr/>
          <p:nvPr/>
        </p:nvSpPr>
        <p:spPr>
          <a:xfrm>
            <a:off x="370788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54361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529212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514810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543614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709235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94833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80431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709235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543612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529210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51480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543612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709235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94833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680431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709235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7020340" y="47971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7020340" y="48692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7020340" y="49412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7020340" y="50132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7164360" y="47971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7164360" y="48692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164360" y="494121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7164360" y="50132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ld Table</a:t>
            </a:r>
          </a:p>
        </p:txBody>
      </p:sp>
      <p:sp>
        <p:nvSpPr>
          <p:cNvPr id="298" name="Rechteck 297"/>
          <p:cNvSpPr/>
          <p:nvPr/>
        </p:nvSpPr>
        <p:spPr>
          <a:xfrm>
            <a:off x="14755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ew Table</a:t>
            </a:r>
          </a:p>
        </p:txBody>
      </p:sp>
      <p:sp>
        <p:nvSpPr>
          <p:cNvPr id="299" name="Rechteck 298"/>
          <p:cNvSpPr/>
          <p:nvPr/>
        </p:nvSpPr>
        <p:spPr>
          <a:xfrm>
            <a:off x="313210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table</a:t>
            </a:r>
          </a:p>
        </p:txBody>
      </p:sp>
      <p:sp>
        <p:nvSpPr>
          <p:cNvPr id="300" name="Rechteck 299"/>
          <p:cNvSpPr/>
          <p:nvPr/>
        </p:nvSpPr>
        <p:spPr>
          <a:xfrm>
            <a:off x="313180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rows</a:t>
            </a:r>
          </a:p>
        </p:txBody>
      </p:sp>
      <p:sp>
        <p:nvSpPr>
          <p:cNvPr id="301" name="Rechteck 300"/>
          <p:cNvSpPr/>
          <p:nvPr/>
        </p:nvSpPr>
        <p:spPr>
          <a:xfrm>
            <a:off x="48600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ces</a:t>
            </a:r>
          </a:p>
        </p:txBody>
      </p:sp>
      <p:sp>
        <p:nvSpPr>
          <p:cNvPr id="302" name="Rechteck 301"/>
          <p:cNvSpPr/>
          <p:nvPr/>
        </p:nvSpPr>
        <p:spPr>
          <a:xfrm>
            <a:off x="48601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rows</a:t>
            </a:r>
          </a:p>
        </p:txBody>
      </p:sp>
      <p:sp>
        <p:nvSpPr>
          <p:cNvPr id="303" name="Rechteck 302"/>
          <p:cNvSpPr/>
          <p:nvPr/>
        </p:nvSpPr>
        <p:spPr>
          <a:xfrm>
            <a:off x="66604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columns</a:t>
            </a:r>
          </a:p>
        </p:txBody>
      </p:sp>
      <p:sp>
        <p:nvSpPr>
          <p:cNvPr id="304" name="Rechteck 303"/>
          <p:cNvSpPr/>
          <p:nvPr/>
        </p:nvSpPr>
        <p:spPr>
          <a:xfrm>
            <a:off x="66602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condensed</a:t>
            </a:r>
          </a:p>
        </p:txBody>
      </p:sp>
      <p:sp>
        <p:nvSpPr>
          <p:cNvPr id="305" name="Rechteck 304"/>
          <p:cNvSpPr/>
          <p:nvPr/>
        </p:nvSpPr>
        <p:spPr>
          <a:xfrm>
            <a:off x="6660290" y="40770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journal</a:t>
            </a:r>
          </a:p>
        </p:txBody>
      </p:sp>
      <p:sp>
        <p:nvSpPr>
          <p:cNvPr id="307" name="Rechteck 306"/>
          <p:cNvSpPr/>
          <p:nvPr/>
        </p:nvSpPr>
        <p:spPr>
          <a:xfrm>
            <a:off x="615622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8" name="Rechteck 307"/>
          <p:cNvSpPr/>
          <p:nvPr/>
        </p:nvSpPr>
        <p:spPr>
          <a:xfrm>
            <a:off x="615622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9" name="Gerade Verbindung 308"/>
          <p:cNvCxnSpPr/>
          <p:nvPr/>
        </p:nvCxnSpPr>
        <p:spPr>
          <a:xfrm>
            <a:off x="615622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752441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p:cNvSpPr/>
          <p:nvPr/>
        </p:nvSpPr>
        <p:spPr>
          <a:xfrm>
            <a:off x="752441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2" name="Gerade Verbindung 311"/>
          <p:cNvCxnSpPr/>
          <p:nvPr/>
        </p:nvCxnSpPr>
        <p:spPr>
          <a:xfrm>
            <a:off x="752441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3" name="Rechteck 312"/>
          <p:cNvSpPr/>
          <p:nvPr/>
        </p:nvSpPr>
        <p:spPr>
          <a:xfrm>
            <a:off x="7524410" y="422111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4" name="Rechteck 313"/>
          <p:cNvSpPr/>
          <p:nvPr/>
        </p:nvSpPr>
        <p:spPr>
          <a:xfrm>
            <a:off x="7524410" y="429312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5" name="Gerade Verbindung 314"/>
          <p:cNvCxnSpPr/>
          <p:nvPr/>
        </p:nvCxnSpPr>
        <p:spPr>
          <a:xfrm>
            <a:off x="7524410" y="429312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6" name="Rechteck 315"/>
          <p:cNvSpPr/>
          <p:nvPr/>
        </p:nvSpPr>
        <p:spPr>
          <a:xfrm>
            <a:off x="442798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7" name="Rechteck 316"/>
          <p:cNvSpPr/>
          <p:nvPr/>
        </p:nvSpPr>
        <p:spPr>
          <a:xfrm>
            <a:off x="442798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8" name="Gerade Verbindung 317"/>
          <p:cNvCxnSpPr/>
          <p:nvPr/>
        </p:nvCxnSpPr>
        <p:spPr>
          <a:xfrm>
            <a:off x="442798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9" name="Rechteck 318"/>
          <p:cNvSpPr/>
          <p:nvPr/>
        </p:nvSpPr>
        <p:spPr>
          <a:xfrm>
            <a:off x="615622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0" name="Rechteck 319"/>
          <p:cNvSpPr/>
          <p:nvPr/>
        </p:nvSpPr>
        <p:spPr>
          <a:xfrm>
            <a:off x="615622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1" name="Gerade Verbindung 320"/>
          <p:cNvCxnSpPr/>
          <p:nvPr/>
        </p:nvCxnSpPr>
        <p:spPr>
          <a:xfrm>
            <a:off x="615622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2" name="Rechteck 321"/>
          <p:cNvSpPr/>
          <p:nvPr/>
        </p:nvSpPr>
        <p:spPr>
          <a:xfrm>
            <a:off x="752441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3" name="Rechteck 322"/>
          <p:cNvSpPr/>
          <p:nvPr/>
        </p:nvSpPr>
        <p:spPr>
          <a:xfrm>
            <a:off x="752441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4" name="Gerade Verbindung 323"/>
          <p:cNvCxnSpPr/>
          <p:nvPr/>
        </p:nvCxnSpPr>
        <p:spPr>
          <a:xfrm>
            <a:off x="752441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147557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4755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7" name="Rechteck 326"/>
          <p:cNvSpPr/>
          <p:nvPr/>
        </p:nvSpPr>
        <p:spPr>
          <a:xfrm>
            <a:off x="313180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55" name="Gerade Verbindung 154"/>
          <p:cNvCxnSpPr>
            <a:endCxn id="398" idx="0"/>
          </p:cNvCxnSpPr>
          <p:nvPr/>
        </p:nvCxnSpPr>
        <p:spPr>
          <a:xfrm>
            <a:off x="313180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8" name="Rechteck 327"/>
          <p:cNvSpPr/>
          <p:nvPr/>
        </p:nvSpPr>
        <p:spPr>
          <a:xfrm>
            <a:off x="313180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486004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486004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79"/>
          <p:cNvCxnSpPr/>
          <p:nvPr/>
        </p:nvCxnSpPr>
        <p:spPr>
          <a:xfrm>
            <a:off x="4860040" y="155674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331" name="Rechteck 330"/>
          <p:cNvSpPr/>
          <p:nvPr/>
        </p:nvSpPr>
        <p:spPr>
          <a:xfrm>
            <a:off x="666029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666029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7" name="Gerade Verbindung 106"/>
          <p:cNvCxnSpPr/>
          <p:nvPr/>
        </p:nvCxnSpPr>
        <p:spPr>
          <a:xfrm>
            <a:off x="6660290" y="155674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333" name="Rechteck 332"/>
          <p:cNvSpPr/>
          <p:nvPr/>
        </p:nvSpPr>
        <p:spPr>
          <a:xfrm>
            <a:off x="6660290" y="3717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6660290" y="3356990"/>
            <a:ext cx="14402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4" name="Gerade Verbindung 143"/>
          <p:cNvCxnSpPr/>
          <p:nvPr/>
        </p:nvCxnSpPr>
        <p:spPr>
          <a:xfrm>
            <a:off x="6660290" y="335699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p:cNvSpPr/>
          <p:nvPr/>
        </p:nvSpPr>
        <p:spPr>
          <a:xfrm>
            <a:off x="694833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183562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p:cNvSpPr/>
          <p:nvPr/>
        </p:nvSpPr>
        <p:spPr>
          <a:xfrm>
            <a:off x="197964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241172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197964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183562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p:cNvSpPr/>
          <p:nvPr/>
        </p:nvSpPr>
        <p:spPr>
          <a:xfrm>
            <a:off x="1979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p:cNvSpPr/>
          <p:nvPr/>
        </p:nvSpPr>
        <p:spPr>
          <a:xfrm>
            <a:off x="2123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971500" y="1556740"/>
            <a:ext cx="144020" cy="15122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76" name="Rechteck 375"/>
          <p:cNvSpPr/>
          <p:nvPr/>
        </p:nvSpPr>
        <p:spPr>
          <a:xfrm>
            <a:off x="17939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68346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111554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8346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0" name="Rechteck 379"/>
          <p:cNvSpPr/>
          <p:nvPr/>
        </p:nvSpPr>
        <p:spPr>
          <a:xfrm>
            <a:off x="179390" y="24928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1" name="Rechteck 380"/>
          <p:cNvSpPr/>
          <p:nvPr/>
        </p:nvSpPr>
        <p:spPr>
          <a:xfrm>
            <a:off x="683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2" name="Rechteck 381"/>
          <p:cNvSpPr/>
          <p:nvPr/>
        </p:nvSpPr>
        <p:spPr>
          <a:xfrm>
            <a:off x="827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68348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82750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827480" y="28529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17939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s being compared</a:t>
            </a:r>
          </a:p>
        </p:txBody>
      </p:sp>
      <p:sp>
        <p:nvSpPr>
          <p:cNvPr id="390" name="Rechteck 389"/>
          <p:cNvSpPr/>
          <p:nvPr/>
        </p:nvSpPr>
        <p:spPr>
          <a:xfrm>
            <a:off x="313195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Different forms of reporting tables</a:t>
            </a:r>
          </a:p>
        </p:txBody>
      </p:sp>
      <p:sp>
        <p:nvSpPr>
          <p:cNvPr id="391" name="Rechteck 390"/>
          <p:cNvSpPr/>
          <p:nvPr/>
        </p:nvSpPr>
        <p:spPr>
          <a:xfrm>
            <a:off x="395420" y="443714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179390" y="443714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53944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rientation data,</a:t>
            </a:r>
            <a:br>
              <a:rPr lang="en-US" sz="1000" dirty="0">
                <a:solidFill>
                  <a:schemeClr val="tx1"/>
                </a:solidFill>
              </a:rPr>
            </a:br>
            <a:r>
              <a:rPr lang="en-US" sz="1000" dirty="0">
                <a:solidFill>
                  <a:schemeClr val="tx1"/>
                </a:solidFill>
              </a:rPr>
              <a:t>e.g. unique identifiers</a:t>
            </a:r>
          </a:p>
        </p:txBody>
      </p:sp>
      <p:sp>
        <p:nvSpPr>
          <p:cNvPr id="394" name="Rechteck 393"/>
          <p:cNvSpPr/>
          <p:nvPr/>
        </p:nvSpPr>
        <p:spPr>
          <a:xfrm>
            <a:off x="1979640" y="443714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1979640" y="450915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226768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tatistics</a:t>
            </a:r>
          </a:p>
          <a:p>
            <a:r>
              <a:rPr lang="en-US" sz="1000" dirty="0">
                <a:solidFill>
                  <a:schemeClr val="tx1"/>
                </a:solidFill>
              </a:rPr>
              <a:t>Table (2 columns)</a:t>
            </a:r>
          </a:p>
        </p:txBody>
      </p:sp>
      <p:sp>
        <p:nvSpPr>
          <p:cNvPr id="397" name="Rechteck 396"/>
          <p:cNvSpPr/>
          <p:nvPr/>
        </p:nvSpPr>
        <p:spPr>
          <a:xfrm>
            <a:off x="179390" y="3140960"/>
            <a:ext cx="24483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ngement of rows and columns</a:t>
            </a:r>
            <a:br>
              <a:rPr lang="en-US" sz="1000" dirty="0">
                <a:solidFill>
                  <a:schemeClr val="tx1"/>
                </a:solidFill>
              </a:rPr>
            </a:br>
            <a:r>
              <a:rPr lang="en-US" sz="1000" dirty="0">
                <a:solidFill>
                  <a:schemeClr val="tx1"/>
                </a:solidFill>
              </a:rPr>
              <a:t>may be different.</a:t>
            </a:r>
          </a:p>
        </p:txBody>
      </p:sp>
      <p:sp>
        <p:nvSpPr>
          <p:cNvPr id="398" name="Rechteck 397"/>
          <p:cNvSpPr/>
          <p:nvPr/>
        </p:nvSpPr>
        <p:spPr>
          <a:xfrm>
            <a:off x="428396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9" name="Rechteck 398"/>
          <p:cNvSpPr/>
          <p:nvPr/>
        </p:nvSpPr>
        <p:spPr>
          <a:xfrm>
            <a:off x="428398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01220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p:cNvSpPr/>
          <p:nvPr/>
        </p:nvSpPr>
        <p:spPr>
          <a:xfrm>
            <a:off x="601222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738039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Rechteck 402"/>
          <p:cNvSpPr/>
          <p:nvPr/>
        </p:nvSpPr>
        <p:spPr>
          <a:xfrm>
            <a:off x="738041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428396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428398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01220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01222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738039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738041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0" name="Rechteck 409"/>
          <p:cNvSpPr/>
          <p:nvPr/>
        </p:nvSpPr>
        <p:spPr>
          <a:xfrm>
            <a:off x="7308400" y="42931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7308400" y="436513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7308400" y="443714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308400" y="450915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p:cNvSpPr/>
          <p:nvPr/>
        </p:nvSpPr>
        <p:spPr>
          <a:xfrm>
            <a:off x="7308400" y="458116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7308400" y="465317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7308400" y="472518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p:cNvSpPr/>
          <p:nvPr/>
        </p:nvSpPr>
        <p:spPr>
          <a:xfrm>
            <a:off x="7308400" y="479719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308400" y="486920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7308400" y="494121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7308400" y="50132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1" name="Rechteck 420"/>
          <p:cNvSpPr/>
          <p:nvPr/>
        </p:nvSpPr>
        <p:spPr>
          <a:xfrm>
            <a:off x="3419840" y="443714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356386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rks, e.g.</a:t>
            </a:r>
          </a:p>
          <a:p>
            <a:r>
              <a:rPr lang="en-US" sz="1000" dirty="0">
                <a:solidFill>
                  <a:schemeClr val="tx1"/>
                </a:solidFill>
              </a:rPr>
              <a:t>“row added”,</a:t>
            </a:r>
          </a:p>
          <a:p>
            <a:r>
              <a:rPr lang="en-US" sz="1000" dirty="0">
                <a:solidFill>
                  <a:schemeClr val="tx1"/>
                </a:solidFill>
              </a:rPr>
              <a:t>“row removed”, …</a:t>
            </a:r>
          </a:p>
          <a:p>
            <a:r>
              <a:rPr lang="en-US" sz="1000" dirty="0">
                <a:solidFill>
                  <a:schemeClr val="tx1"/>
                </a:solidFill>
              </a:rPr>
              <a:t>(1 column added)</a:t>
            </a:r>
          </a:p>
        </p:txBody>
      </p:sp>
      <p:sp>
        <p:nvSpPr>
          <p:cNvPr id="31" name="Gleichschenkliges Dreieck 30"/>
          <p:cNvSpPr/>
          <p:nvPr/>
        </p:nvSpPr>
        <p:spPr>
          <a:xfrm rot="5400000">
            <a:off x="2519715" y="209681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500406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white: Kept blank</a:t>
            </a:r>
          </a:p>
          <a:p>
            <a:r>
              <a:rPr lang="en-US" sz="1000" dirty="0">
                <a:solidFill>
                  <a:schemeClr val="tx1"/>
                </a:solidFill>
              </a:rPr>
              <a:t>for all equal</a:t>
            </a:r>
          </a:p>
          <a:p>
            <a:r>
              <a:rPr lang="en-US" sz="1000" dirty="0">
                <a:solidFill>
                  <a:schemeClr val="tx1"/>
                </a:solidFill>
              </a:rPr>
              <a:t>values</a:t>
            </a:r>
          </a:p>
        </p:txBody>
      </p:sp>
      <p:sp>
        <p:nvSpPr>
          <p:cNvPr id="226" name="Rechteck 225"/>
          <p:cNvSpPr/>
          <p:nvPr/>
        </p:nvSpPr>
        <p:spPr>
          <a:xfrm>
            <a:off x="327582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gray: New values</a:t>
            </a:r>
            <a:br>
              <a:rPr lang="en-US" sz="1000" dirty="0">
                <a:solidFill>
                  <a:schemeClr val="tx1"/>
                </a:solidFill>
              </a:rPr>
            </a:br>
            <a:r>
              <a:rPr lang="en-US" sz="1000" dirty="0">
                <a:solidFill>
                  <a:schemeClr val="tx1"/>
                </a:solidFill>
              </a:rPr>
              <a:t>as default.</a:t>
            </a:r>
          </a:p>
        </p:txBody>
      </p:sp>
    </p:spTree>
    <p:extLst>
      <p:ext uri="{BB962C8B-B14F-4D97-AF65-F5344CB8AC3E}">
        <p14:creationId xmlns:p14="http://schemas.microsoft.com/office/powerpoint/2010/main" val="28388653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hteck 197"/>
          <p:cNvSpPr/>
          <p:nvPr/>
        </p:nvSpPr>
        <p:spPr>
          <a:xfrm>
            <a:off x="2124000" y="1557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p>
        </p:txBody>
      </p:sp>
      <p:sp>
        <p:nvSpPr>
          <p:cNvPr id="392" name="Rechteck 391"/>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601218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629000"/>
            <a:ext cx="432060" cy="1008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Rechteck 360"/>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60" name="Rechteck 59"/>
          <p:cNvSpPr/>
          <p:nvPr/>
        </p:nvSpPr>
        <p:spPr>
          <a:xfrm>
            <a:off x="1908170" y="227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908600" y="234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1908430" y="242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1908430" y="249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p:cNvSpPr/>
          <p:nvPr/>
        </p:nvSpPr>
        <p:spPr>
          <a:xfrm>
            <a:off x="1908430" y="256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0" name="Rechteck 149"/>
          <p:cNvSpPr/>
          <p:nvPr/>
        </p:nvSpPr>
        <p:spPr>
          <a:xfrm>
            <a:off x="1908530" y="206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p:cNvSpPr/>
          <p:nvPr/>
        </p:nvSpPr>
        <p:spPr>
          <a:xfrm>
            <a:off x="1908530" y="213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908530" y="220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1908000" y="155683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1908430" y="1628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557000"/>
            <a:ext cx="864000" cy="288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204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557000"/>
            <a:ext cx="0" cy="108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4715656" y="3933000"/>
            <a:ext cx="1080392"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a:t>
            </a:r>
            <a:br>
              <a:rPr lang="en-US" sz="1000" dirty="0">
                <a:solidFill>
                  <a:schemeClr val="tx1"/>
                </a:solidFill>
              </a:rPr>
            </a:br>
            <a:r>
              <a:rPr lang="en-US" sz="1000" dirty="0">
                <a:solidFill>
                  <a:schemeClr val="tx1"/>
                </a:solidFill>
              </a:rPr>
              <a:t>checked</a:t>
            </a:r>
          </a:p>
        </p:txBody>
      </p:sp>
    </p:spTree>
    <p:extLst>
      <p:ext uri="{BB962C8B-B14F-4D97-AF65-F5344CB8AC3E}">
        <p14:creationId xmlns:p14="http://schemas.microsoft.com/office/powerpoint/2010/main" val="3527750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troduction</a:t>
            </a:r>
            <a:br>
              <a:rPr lang="en-US" dirty="0"/>
            </a:br>
            <a:r>
              <a:rPr lang="en-US" dirty="0"/>
              <a:t>Workflow Overview</a:t>
            </a:r>
          </a:p>
        </p:txBody>
      </p:sp>
      <p:sp>
        <p:nvSpPr>
          <p:cNvPr id="3" name="Rechteck: abgerundete Ecken 14">
            <a:extLst>
              <a:ext uri="{FF2B5EF4-FFF2-40B4-BE49-F238E27FC236}">
                <a16:creationId xmlns:a16="http://schemas.microsoft.com/office/drawing/2014/main" id="{832A4DA8-14F5-B274-83F4-F5DA5592359F}"/>
              </a:ext>
            </a:extLst>
          </p:cNvPr>
          <p:cNvSpPr/>
          <p:nvPr/>
        </p:nvSpPr>
        <p:spPr>
          <a:xfrm>
            <a:off x="3443" y="2133000"/>
            <a:ext cx="8963999" cy="2929517"/>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4" name="Rechteck 48">
            <a:extLst>
              <a:ext uri="{FF2B5EF4-FFF2-40B4-BE49-F238E27FC236}">
                <a16:creationId xmlns:a16="http://schemas.microsoft.com/office/drawing/2014/main" id="{312EECA3-9927-3AC7-63C7-699918CC2FDF}"/>
              </a:ext>
            </a:extLst>
          </p:cNvPr>
          <p:cNvSpPr/>
          <p:nvPr/>
        </p:nvSpPr>
        <p:spPr>
          <a:xfrm>
            <a:off x="211904" y="3085170"/>
            <a:ext cx="864000" cy="36933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Import</a:t>
            </a:r>
          </a:p>
        </p:txBody>
      </p:sp>
      <p:sp>
        <p:nvSpPr>
          <p:cNvPr id="6" name="Rechteck 49">
            <a:extLst>
              <a:ext uri="{FF2B5EF4-FFF2-40B4-BE49-F238E27FC236}">
                <a16:creationId xmlns:a16="http://schemas.microsoft.com/office/drawing/2014/main" id="{F9236918-DB65-31F5-12DF-F826F69528F0}"/>
              </a:ext>
            </a:extLst>
          </p:cNvPr>
          <p:cNvSpPr/>
          <p:nvPr/>
        </p:nvSpPr>
        <p:spPr>
          <a:xfrm>
            <a:off x="2379442" y="3077551"/>
            <a:ext cx="864000" cy="384570"/>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Validate</a:t>
            </a:r>
          </a:p>
        </p:txBody>
      </p:sp>
      <p:sp>
        <p:nvSpPr>
          <p:cNvPr id="7" name="Rechteck 50">
            <a:extLst>
              <a:ext uri="{FF2B5EF4-FFF2-40B4-BE49-F238E27FC236}">
                <a16:creationId xmlns:a16="http://schemas.microsoft.com/office/drawing/2014/main" id="{14FA2DF9-C54B-C604-F032-89A382EF21E5}"/>
              </a:ext>
            </a:extLst>
          </p:cNvPr>
          <p:cNvSpPr/>
          <p:nvPr/>
        </p:nvSpPr>
        <p:spPr>
          <a:xfrm>
            <a:off x="5619442" y="3066866"/>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nalyze</a:t>
            </a:r>
          </a:p>
        </p:txBody>
      </p:sp>
      <p:sp>
        <p:nvSpPr>
          <p:cNvPr id="8" name="Rechteck 51">
            <a:extLst>
              <a:ext uri="{FF2B5EF4-FFF2-40B4-BE49-F238E27FC236}">
                <a16:creationId xmlns:a16="http://schemas.microsoft.com/office/drawing/2014/main" id="{83CC15F2-5EA5-9BA0-7F87-C76ACC9756EB}"/>
              </a:ext>
            </a:extLst>
          </p:cNvPr>
          <p:cNvSpPr/>
          <p:nvPr/>
        </p:nvSpPr>
        <p:spPr>
          <a:xfrm>
            <a:off x="7707443" y="3077552"/>
            <a:ext cx="864000" cy="384569"/>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Export</a:t>
            </a:r>
          </a:p>
        </p:txBody>
      </p:sp>
      <p:sp>
        <p:nvSpPr>
          <p:cNvPr id="9" name="Gleichschenkliges Dreieck 52">
            <a:extLst>
              <a:ext uri="{FF2B5EF4-FFF2-40B4-BE49-F238E27FC236}">
                <a16:creationId xmlns:a16="http://schemas.microsoft.com/office/drawing/2014/main" id="{2177432F-BAAD-B59A-9B01-CA8CB80C92C2}"/>
              </a:ext>
            </a:extLst>
          </p:cNvPr>
          <p:cNvSpPr/>
          <p:nvPr/>
        </p:nvSpPr>
        <p:spPr>
          <a:xfrm rot="5400000">
            <a:off x="1155442" y="3210865"/>
            <a:ext cx="144016" cy="144016"/>
          </a:xfrm>
          <a:prstGeom prst="triangle">
            <a:avLst/>
          </a:prstGeom>
          <a:solidFill>
            <a:schemeClr val="bg1">
              <a:lumMod val="95000"/>
            </a:schemeClr>
          </a:solidFill>
          <a:ln w="9525">
            <a:noFill/>
          </a:ln>
          <a:effectLst>
            <a:outerShdw blurRad="796129" dist="254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 name="Gleichschenkliges Dreieck 53">
            <a:extLst>
              <a:ext uri="{FF2B5EF4-FFF2-40B4-BE49-F238E27FC236}">
                <a16:creationId xmlns:a16="http://schemas.microsoft.com/office/drawing/2014/main" id="{4051C003-F353-E3D2-2EA1-F322907B0E95}"/>
              </a:ext>
            </a:extLst>
          </p:cNvPr>
          <p:cNvSpPr/>
          <p:nvPr/>
        </p:nvSpPr>
        <p:spPr>
          <a:xfrm rot="5400000">
            <a:off x="547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 name="Gleichschenkliges Dreieck 54">
            <a:extLst>
              <a:ext uri="{FF2B5EF4-FFF2-40B4-BE49-F238E27FC236}">
                <a16:creationId xmlns:a16="http://schemas.microsoft.com/office/drawing/2014/main" id="{5D47FC18-5FD1-D84A-51F5-70AEB876F5BC}"/>
              </a:ext>
            </a:extLst>
          </p:cNvPr>
          <p:cNvSpPr/>
          <p:nvPr/>
        </p:nvSpPr>
        <p:spPr>
          <a:xfrm rot="5400000">
            <a:off x="7563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3" name="Gerade Verbindung mit Pfeil 55">
            <a:extLst>
              <a:ext uri="{FF2B5EF4-FFF2-40B4-BE49-F238E27FC236}">
                <a16:creationId xmlns:a16="http://schemas.microsoft.com/office/drawing/2014/main" id="{7C64FFA7-8DCB-C67F-C4BA-17FF1173B24B}"/>
              </a:ext>
            </a:extLst>
          </p:cNvPr>
          <p:cNvCxnSpPr>
            <a:cxnSpLocks/>
          </p:cNvCxnSpPr>
          <p:nvPr/>
        </p:nvCxnSpPr>
        <p:spPr>
          <a:xfrm>
            <a:off x="211904" y="3006962"/>
            <a:ext cx="8431538" cy="0"/>
          </a:xfrm>
          <a:prstGeom prst="straightConnector1">
            <a:avLst/>
          </a:prstGeom>
          <a:ln w="22225">
            <a:solidFill>
              <a:schemeClr val="bg1">
                <a:lumMod val="8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5" name="Rechteck 58">
            <a:extLst>
              <a:ext uri="{FF2B5EF4-FFF2-40B4-BE49-F238E27FC236}">
                <a16:creationId xmlns:a16="http://schemas.microsoft.com/office/drawing/2014/main" id="{59E582DF-B809-5C37-0642-D9FBE04C6874}"/>
              </a:ext>
            </a:extLst>
          </p:cNvPr>
          <p:cNvSpPr/>
          <p:nvPr/>
        </p:nvSpPr>
        <p:spPr>
          <a:xfrm>
            <a:off x="1299442" y="3077551"/>
            <a:ext cx="864000" cy="38457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Clean</a:t>
            </a:r>
          </a:p>
        </p:txBody>
      </p:sp>
      <p:sp>
        <p:nvSpPr>
          <p:cNvPr id="16" name="Gleichschenkliges Dreieck 59">
            <a:extLst>
              <a:ext uri="{FF2B5EF4-FFF2-40B4-BE49-F238E27FC236}">
                <a16:creationId xmlns:a16="http://schemas.microsoft.com/office/drawing/2014/main" id="{0ECD57D7-546C-CA6D-8E44-3373266E0BAD}"/>
              </a:ext>
            </a:extLst>
          </p:cNvPr>
          <p:cNvSpPr/>
          <p:nvPr/>
        </p:nvSpPr>
        <p:spPr>
          <a:xfrm rot="5400000">
            <a:off x="223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7" name="Rechteck 65">
            <a:extLst>
              <a:ext uri="{FF2B5EF4-FFF2-40B4-BE49-F238E27FC236}">
                <a16:creationId xmlns:a16="http://schemas.microsoft.com/office/drawing/2014/main" id="{739F77FA-DCF1-00EE-EA9D-7FB4E2D2DB6F}"/>
              </a:ext>
            </a:extLst>
          </p:cNvPr>
          <p:cNvSpPr/>
          <p:nvPr/>
        </p:nvSpPr>
        <p:spPr>
          <a:xfrm>
            <a:off x="4539442" y="3066865"/>
            <a:ext cx="864000" cy="40594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ugment</a:t>
            </a:r>
          </a:p>
        </p:txBody>
      </p:sp>
      <p:sp>
        <p:nvSpPr>
          <p:cNvPr id="19" name="Gleichschenkliges Dreieck 66">
            <a:extLst>
              <a:ext uri="{FF2B5EF4-FFF2-40B4-BE49-F238E27FC236}">
                <a16:creationId xmlns:a16="http://schemas.microsoft.com/office/drawing/2014/main" id="{7B864755-8167-CB05-2154-0E85921A5A82}"/>
              </a:ext>
            </a:extLst>
          </p:cNvPr>
          <p:cNvSpPr/>
          <p:nvPr/>
        </p:nvSpPr>
        <p:spPr>
          <a:xfrm rot="5400000">
            <a:off x="331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 name="Gleichschenkliges Dreieck 72">
            <a:extLst>
              <a:ext uri="{FF2B5EF4-FFF2-40B4-BE49-F238E27FC236}">
                <a16:creationId xmlns:a16="http://schemas.microsoft.com/office/drawing/2014/main" id="{4961AFC3-CDC4-CEBE-D794-A08A5056D71F}"/>
              </a:ext>
            </a:extLst>
          </p:cNvPr>
          <p:cNvSpPr/>
          <p:nvPr/>
        </p:nvSpPr>
        <p:spPr>
          <a:xfrm rot="5400000">
            <a:off x="4395442" y="3210865"/>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1" name="Rechteck 73">
            <a:extLst>
              <a:ext uri="{FF2B5EF4-FFF2-40B4-BE49-F238E27FC236}">
                <a16:creationId xmlns:a16="http://schemas.microsoft.com/office/drawing/2014/main" id="{2AB4B69A-E5D1-D697-6E81-7691E1499D16}"/>
              </a:ext>
            </a:extLst>
          </p:cNvPr>
          <p:cNvSpPr/>
          <p:nvPr/>
        </p:nvSpPr>
        <p:spPr>
          <a:xfrm>
            <a:off x="3459442" y="3074091"/>
            <a:ext cx="864000" cy="39149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Merge</a:t>
            </a:r>
          </a:p>
        </p:txBody>
      </p:sp>
      <p:sp>
        <p:nvSpPr>
          <p:cNvPr id="22" name="Rechteck 74">
            <a:extLst>
              <a:ext uri="{FF2B5EF4-FFF2-40B4-BE49-F238E27FC236}">
                <a16:creationId xmlns:a16="http://schemas.microsoft.com/office/drawing/2014/main" id="{1075787A-43CE-F1D5-4898-651FA6F29767}"/>
              </a:ext>
            </a:extLst>
          </p:cNvPr>
          <p:cNvSpPr/>
          <p:nvPr/>
        </p:nvSpPr>
        <p:spPr>
          <a:xfrm>
            <a:off x="6699442" y="3066866"/>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Format</a:t>
            </a:r>
          </a:p>
        </p:txBody>
      </p:sp>
      <p:sp>
        <p:nvSpPr>
          <p:cNvPr id="23" name="Gleichschenkliges Dreieck 75">
            <a:extLst>
              <a:ext uri="{FF2B5EF4-FFF2-40B4-BE49-F238E27FC236}">
                <a16:creationId xmlns:a16="http://schemas.microsoft.com/office/drawing/2014/main" id="{CDBC9524-ED2B-CA5E-CC55-A120FB8AD237}"/>
              </a:ext>
            </a:extLst>
          </p:cNvPr>
          <p:cNvSpPr/>
          <p:nvPr/>
        </p:nvSpPr>
        <p:spPr>
          <a:xfrm rot="5400000">
            <a:off x="655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4" name="Rechteck 4">
            <a:extLst>
              <a:ext uri="{FF2B5EF4-FFF2-40B4-BE49-F238E27FC236}">
                <a16:creationId xmlns:a16="http://schemas.microsoft.com/office/drawing/2014/main" id="{9B2CBEAA-6393-D683-74E4-4CC0B61DA34C}"/>
              </a:ext>
            </a:extLst>
          </p:cNvPr>
          <p:cNvSpPr/>
          <p:nvPr/>
        </p:nvSpPr>
        <p:spPr>
          <a:xfrm>
            <a:off x="211904" y="3642865"/>
            <a:ext cx="955522"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database 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earch and Identify</a:t>
            </a:r>
            <a:br>
              <a:rPr lang="en-US" sz="800" dirty="0">
                <a:solidFill>
                  <a:schemeClr val="bg1"/>
                </a:solidFill>
              </a:rPr>
            </a:br>
            <a:r>
              <a:rPr lang="en-US" sz="800" dirty="0">
                <a:solidFill>
                  <a:schemeClr val="bg1"/>
                </a:solidFill>
              </a:rPr>
              <a:t>any files to import</a:t>
            </a:r>
          </a:p>
          <a:p>
            <a:pPr>
              <a:spcBef>
                <a:spcPts val="100"/>
              </a:spcBef>
              <a:spcAft>
                <a:spcPts val="100"/>
              </a:spcAft>
              <a:buClr>
                <a:schemeClr val="bg1">
                  <a:lumMod val="50000"/>
                </a:schemeClr>
              </a:buClr>
            </a:pPr>
            <a:endParaRPr lang="en-US" sz="800" dirty="0">
              <a:solidFill>
                <a:schemeClr val="bg1"/>
              </a:solidFill>
            </a:endParaRPr>
          </a:p>
        </p:txBody>
      </p:sp>
      <p:sp>
        <p:nvSpPr>
          <p:cNvPr id="25" name="Rechteck 77">
            <a:extLst>
              <a:ext uri="{FF2B5EF4-FFF2-40B4-BE49-F238E27FC236}">
                <a16:creationId xmlns:a16="http://schemas.microsoft.com/office/drawing/2014/main" id="{5D94BA7D-30AB-A11D-E9CA-BE73AC5BC1A4}"/>
              </a:ext>
            </a:extLst>
          </p:cNvPr>
          <p:cNvSpPr/>
          <p:nvPr/>
        </p:nvSpPr>
        <p:spPr>
          <a:xfrm>
            <a:off x="237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relevant</a:t>
            </a:r>
            <a:br>
              <a:rPr lang="en-US" sz="800" dirty="0">
                <a:solidFill>
                  <a:schemeClr val="bg1"/>
                </a:solidFill>
              </a:rPr>
            </a:br>
            <a:r>
              <a:rPr lang="en-US" sz="800" dirty="0">
                <a:solidFill>
                  <a:schemeClr val="bg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Harmonize</a:t>
            </a:r>
            <a:br>
              <a:rPr lang="en-US" sz="800" dirty="0">
                <a:solidFill>
                  <a:schemeClr val="bg1"/>
                </a:solidFill>
              </a:rPr>
            </a:br>
            <a:r>
              <a:rPr lang="en-US" sz="800" dirty="0">
                <a:solidFill>
                  <a:schemeClr val="bg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solve</a:t>
            </a:r>
            <a:br>
              <a:rPr lang="en-US" sz="800" dirty="0">
                <a:solidFill>
                  <a:schemeClr val="bg1"/>
                </a:solidFill>
              </a:rPr>
            </a:br>
            <a:r>
              <a:rPr lang="en-US" sz="800" dirty="0">
                <a:solidFill>
                  <a:schemeClr val="bg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a:t>
            </a:r>
            <a:br>
              <a:rPr lang="en-US" sz="800" dirty="0">
                <a:solidFill>
                  <a:schemeClr val="bg1"/>
                </a:solidFill>
              </a:rPr>
            </a:br>
            <a:r>
              <a:rPr lang="en-US" sz="800" dirty="0">
                <a:solidFill>
                  <a:schemeClr val="bg1"/>
                </a:solidFill>
              </a:rPr>
              <a:t>duplications</a:t>
            </a:r>
          </a:p>
        </p:txBody>
      </p:sp>
      <p:sp>
        <p:nvSpPr>
          <p:cNvPr id="26" name="Rechteck 78">
            <a:extLst>
              <a:ext uri="{FF2B5EF4-FFF2-40B4-BE49-F238E27FC236}">
                <a16:creationId xmlns:a16="http://schemas.microsoft.com/office/drawing/2014/main" id="{66F5BF58-FADE-99F5-3A7F-E14F06C24D89}"/>
              </a:ext>
            </a:extLst>
          </p:cNvPr>
          <p:cNvSpPr/>
          <p:nvPr/>
        </p:nvSpPr>
        <p:spPr>
          <a:xfrm>
            <a:off x="129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heck and </a:t>
            </a:r>
            <a:br>
              <a:rPr lang="en-US" sz="800" dirty="0">
                <a:solidFill>
                  <a:schemeClr val="bg1"/>
                </a:solidFill>
              </a:rPr>
            </a:br>
            <a:r>
              <a:rPr lang="en-US" sz="800" dirty="0">
                <a:solidFill>
                  <a:schemeClr val="bg1"/>
                </a:solidFill>
              </a:rPr>
              <a:t>align headers</a:t>
            </a:r>
            <a:br>
              <a:rPr lang="en-US" sz="800" dirty="0">
                <a:solidFill>
                  <a:schemeClr val="bg1"/>
                </a:solidFill>
              </a:rPr>
            </a:br>
            <a:r>
              <a:rPr lang="en-US" sz="800" dirty="0">
                <a:solidFill>
                  <a:schemeClr val="bg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xplore and </a:t>
            </a:r>
            <a:br>
              <a:rPr lang="en-US" sz="800" dirty="0">
                <a:solidFill>
                  <a:schemeClr val="bg1"/>
                </a:solidFill>
              </a:rPr>
            </a:br>
            <a:r>
              <a:rPr lang="en-US" sz="800" dirty="0">
                <a:solidFill>
                  <a:schemeClr val="bg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ter out data</a:t>
            </a:r>
            <a:br>
              <a:rPr lang="en-US" sz="800" dirty="0">
                <a:solidFill>
                  <a:schemeClr val="bg1"/>
                </a:solidFill>
              </a:rPr>
            </a:br>
            <a:r>
              <a:rPr lang="en-US" sz="800" dirty="0">
                <a:solidFill>
                  <a:schemeClr val="bg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number</a:t>
            </a:r>
            <a:br>
              <a:rPr lang="en-US" sz="800" dirty="0">
                <a:solidFill>
                  <a:schemeClr val="bg1"/>
                </a:solidFill>
              </a:rPr>
            </a:br>
            <a:r>
              <a:rPr lang="en-US" sz="800" dirty="0">
                <a:solidFill>
                  <a:schemeClr val="bg1"/>
                </a:solidFill>
              </a:rPr>
              <a:t>formats</a:t>
            </a:r>
          </a:p>
        </p:txBody>
      </p:sp>
      <p:sp>
        <p:nvSpPr>
          <p:cNvPr id="27" name="Rechteck 79">
            <a:extLst>
              <a:ext uri="{FF2B5EF4-FFF2-40B4-BE49-F238E27FC236}">
                <a16:creationId xmlns:a16="http://schemas.microsoft.com/office/drawing/2014/main" id="{178FB7F5-6E54-3FF9-9272-F423042172E3}"/>
              </a:ext>
            </a:extLst>
          </p:cNvPr>
          <p:cNvSpPr/>
          <p:nvPr/>
        </p:nvSpPr>
        <p:spPr>
          <a:xfrm>
            <a:off x="345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Merge </a:t>
            </a:r>
            <a:br>
              <a:rPr lang="en-US" sz="800" dirty="0">
                <a:solidFill>
                  <a:schemeClr val="bg1"/>
                </a:solidFill>
              </a:rPr>
            </a:br>
            <a:r>
              <a:rPr lang="en-US" sz="800" dirty="0">
                <a:solidFill>
                  <a:schemeClr val="bg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nsolidate</a:t>
            </a:r>
            <a:br>
              <a:rPr lang="en-US" sz="800" dirty="0">
                <a:solidFill>
                  <a:schemeClr val="bg1"/>
                </a:solidFill>
              </a:rPr>
            </a:br>
            <a:r>
              <a:rPr lang="en-US" sz="800" dirty="0">
                <a:solidFill>
                  <a:schemeClr val="bg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commonalities </a:t>
            </a:r>
            <a:br>
              <a:rPr lang="en-US" sz="800" dirty="0">
                <a:solidFill>
                  <a:schemeClr val="bg1"/>
                </a:solidFill>
              </a:rPr>
            </a:br>
            <a:r>
              <a:rPr lang="en-US" sz="800" dirty="0">
                <a:solidFill>
                  <a:schemeClr val="bg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 redundancies</a:t>
            </a:r>
          </a:p>
        </p:txBody>
      </p:sp>
      <p:sp>
        <p:nvSpPr>
          <p:cNvPr id="28" name="Rechteck 80">
            <a:extLst>
              <a:ext uri="{FF2B5EF4-FFF2-40B4-BE49-F238E27FC236}">
                <a16:creationId xmlns:a16="http://schemas.microsoft.com/office/drawing/2014/main" id="{237443D6-86E5-77BE-78A4-8ED73940B7F2}"/>
              </a:ext>
            </a:extLst>
          </p:cNvPr>
          <p:cNvSpPr/>
          <p:nvPr/>
        </p:nvSpPr>
        <p:spPr>
          <a:xfrm>
            <a:off x="4561076"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trieve data</a:t>
            </a:r>
            <a:br>
              <a:rPr lang="en-US" sz="800" dirty="0">
                <a:solidFill>
                  <a:schemeClr val="bg1"/>
                </a:solidFill>
              </a:rPr>
            </a:br>
            <a:r>
              <a:rPr lang="en-US" sz="800" dirty="0">
                <a:solidFill>
                  <a:schemeClr val="bg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new calculated</a:t>
            </a:r>
            <a:br>
              <a:rPr lang="en-US" sz="800" dirty="0">
                <a:solidFill>
                  <a:schemeClr val="bg1"/>
                </a:solidFill>
              </a:rPr>
            </a:br>
            <a:r>
              <a:rPr lang="en-US" sz="800" dirty="0">
                <a:solidFill>
                  <a:schemeClr val="bg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nrich the </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bg1"/>
              </a:solidFill>
            </a:endParaRPr>
          </a:p>
        </p:txBody>
      </p:sp>
      <p:sp>
        <p:nvSpPr>
          <p:cNvPr id="29" name="Rechteck 86">
            <a:extLst>
              <a:ext uri="{FF2B5EF4-FFF2-40B4-BE49-F238E27FC236}">
                <a16:creationId xmlns:a16="http://schemas.microsoft.com/office/drawing/2014/main" id="{047C7530-4350-3C6E-733C-240EC878E596}"/>
              </a:ext>
            </a:extLst>
          </p:cNvPr>
          <p:cNvSpPr/>
          <p:nvPr/>
        </p:nvSpPr>
        <p:spPr>
          <a:xfrm>
            <a:off x="561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results</a:t>
            </a:r>
          </a:p>
        </p:txBody>
      </p:sp>
      <p:sp>
        <p:nvSpPr>
          <p:cNvPr id="30" name="Rechteck 88">
            <a:extLst>
              <a:ext uri="{FF2B5EF4-FFF2-40B4-BE49-F238E27FC236}">
                <a16:creationId xmlns:a16="http://schemas.microsoft.com/office/drawing/2014/main" id="{1681A0A9-A93F-0FB6-4C8F-D1ECD56C9608}"/>
              </a:ext>
            </a:extLst>
          </p:cNvPr>
          <p:cNvSpPr/>
          <p:nvPr/>
        </p:nvSpPr>
        <p:spPr>
          <a:xfrm>
            <a:off x="669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and arrange</a:t>
            </a:r>
            <a:br>
              <a:rPr lang="en-US" sz="800" dirty="0">
                <a:solidFill>
                  <a:schemeClr val="bg1"/>
                </a:solidFill>
              </a:rPr>
            </a:br>
            <a:r>
              <a:rPr lang="en-US" sz="800" dirty="0">
                <a:solidFill>
                  <a:schemeClr val="bg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style,</a:t>
            </a:r>
            <a:br>
              <a:rPr lang="en-US" sz="800" dirty="0">
                <a:solidFill>
                  <a:schemeClr val="bg1"/>
                </a:solidFill>
              </a:rPr>
            </a:br>
            <a:r>
              <a:rPr lang="en-US" sz="800" dirty="0">
                <a:solidFill>
                  <a:schemeClr val="bg1"/>
                </a:solidFill>
              </a:rPr>
              <a:t>formats and</a:t>
            </a:r>
            <a:br>
              <a:rPr lang="en-US" sz="800" dirty="0">
                <a:solidFill>
                  <a:schemeClr val="bg1"/>
                </a:solidFill>
              </a:rPr>
            </a:br>
            <a:r>
              <a:rPr lang="en-US" sz="800" dirty="0">
                <a:solidFill>
                  <a:schemeClr val="bg1"/>
                </a:solidFill>
              </a:rPr>
              <a:t>colors</a:t>
            </a:r>
          </a:p>
        </p:txBody>
      </p:sp>
      <p:sp>
        <p:nvSpPr>
          <p:cNvPr id="31" name="Rechteck 89">
            <a:extLst>
              <a:ext uri="{FF2B5EF4-FFF2-40B4-BE49-F238E27FC236}">
                <a16:creationId xmlns:a16="http://schemas.microsoft.com/office/drawing/2014/main" id="{0D9753AE-ED03-B4B5-8841-184B260F6059}"/>
              </a:ext>
            </a:extLst>
          </p:cNvPr>
          <p:cNvSpPr/>
          <p:nvPr/>
        </p:nvSpPr>
        <p:spPr>
          <a:xfrm>
            <a:off x="7707442" y="3642865"/>
            <a:ext cx="1099539" cy="9481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ave data to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Trigger other tools</a:t>
            </a:r>
            <a:br>
              <a:rPr lang="en-US" sz="800" dirty="0">
                <a:solidFill>
                  <a:schemeClr val="bg1"/>
                </a:solidFill>
              </a:rPr>
            </a:br>
            <a:r>
              <a:rPr lang="en-US" sz="800" dirty="0">
                <a:solidFill>
                  <a:schemeClr val="bg1"/>
                </a:solidFill>
              </a:rPr>
              <a:t>that data is available</a:t>
            </a:r>
          </a:p>
        </p:txBody>
      </p:sp>
      <p:grpSp>
        <p:nvGrpSpPr>
          <p:cNvPr id="33" name="Gruppieren 10">
            <a:extLst>
              <a:ext uri="{FF2B5EF4-FFF2-40B4-BE49-F238E27FC236}">
                <a16:creationId xmlns:a16="http://schemas.microsoft.com/office/drawing/2014/main" id="{3BE46A15-7FF7-CBBC-A488-7FEF46B616E6}"/>
              </a:ext>
            </a:extLst>
          </p:cNvPr>
          <p:cNvGrpSpPr/>
          <p:nvPr/>
        </p:nvGrpSpPr>
        <p:grpSpPr>
          <a:xfrm>
            <a:off x="8283442" y="2430962"/>
            <a:ext cx="369570" cy="493395"/>
            <a:chOff x="7789696" y="1644240"/>
            <a:chExt cx="405546" cy="657837"/>
          </a:xfrm>
        </p:grpSpPr>
        <p:sp>
          <p:nvSpPr>
            <p:cNvPr id="34" name="Ellipse 9">
              <a:extLst>
                <a:ext uri="{FF2B5EF4-FFF2-40B4-BE49-F238E27FC236}">
                  <a16:creationId xmlns:a16="http://schemas.microsoft.com/office/drawing/2014/main" id="{ED7032F5-5C97-3155-341B-C47179F6ABC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35" name="Grafik 57">
              <a:extLst>
                <a:ext uri="{FF2B5EF4-FFF2-40B4-BE49-F238E27FC236}">
                  <a16:creationId xmlns:a16="http://schemas.microsoft.com/office/drawing/2014/main" id="{A365FC6D-8D5D-D5FB-BF52-96B5BE76DDD6}"/>
                </a:ext>
              </a:extLst>
            </p:cNvPr>
            <p:cNvPicPr>
              <a:picLocks/>
            </p:cNvPicPr>
            <p:nvPr/>
          </p:nvPicPr>
          <p:blipFill>
            <a:blip r:embed="rId2">
              <a:clrChange>
                <a:clrFrom>
                  <a:srgbClr val="FFFFFF"/>
                </a:clrFrom>
                <a:clrTo>
                  <a:srgbClr val="FFFFFF">
                    <a:alpha val="0"/>
                  </a:srgbClr>
                </a:clrTo>
              </a:clrChange>
            </a:blip>
            <a:stretch>
              <a:fillRect/>
            </a:stretch>
          </p:blipFill>
          <p:spPr>
            <a:xfrm>
              <a:off x="7789696" y="1644240"/>
              <a:ext cx="405546" cy="657837"/>
            </a:xfrm>
            <a:prstGeom prst="rect">
              <a:avLst/>
            </a:prstGeom>
          </p:spPr>
        </p:pic>
      </p:grpSp>
      <p:sp>
        <p:nvSpPr>
          <p:cNvPr id="36" name="Rechteck 32">
            <a:extLst>
              <a:ext uri="{FF2B5EF4-FFF2-40B4-BE49-F238E27FC236}">
                <a16:creationId xmlns:a16="http://schemas.microsoft.com/office/drawing/2014/main" id="{5838CF20-B48D-8F4A-2674-3312B4E60E4E}"/>
              </a:ext>
            </a:extLst>
          </p:cNvPr>
          <p:cNvSpPr/>
          <p:nvPr/>
        </p:nvSpPr>
        <p:spPr>
          <a:xfrm>
            <a:off x="167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2</a:t>
            </a:r>
          </a:p>
        </p:txBody>
      </p:sp>
      <p:sp>
        <p:nvSpPr>
          <p:cNvPr id="37" name="Rechteck 33">
            <a:extLst>
              <a:ext uri="{FF2B5EF4-FFF2-40B4-BE49-F238E27FC236}">
                <a16:creationId xmlns:a16="http://schemas.microsoft.com/office/drawing/2014/main" id="{D8406D83-C225-8611-B9B8-72016443D1CE}"/>
              </a:ext>
            </a:extLst>
          </p:cNvPr>
          <p:cNvSpPr/>
          <p:nvPr/>
        </p:nvSpPr>
        <p:spPr>
          <a:xfrm>
            <a:off x="275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3</a:t>
            </a:r>
          </a:p>
        </p:txBody>
      </p:sp>
      <p:sp>
        <p:nvSpPr>
          <p:cNvPr id="38" name="Rechteck 34">
            <a:extLst>
              <a:ext uri="{FF2B5EF4-FFF2-40B4-BE49-F238E27FC236}">
                <a16:creationId xmlns:a16="http://schemas.microsoft.com/office/drawing/2014/main" id="{7794CAE5-B206-694B-2144-83186F40F2AB}"/>
              </a:ext>
            </a:extLst>
          </p:cNvPr>
          <p:cNvSpPr/>
          <p:nvPr/>
        </p:nvSpPr>
        <p:spPr>
          <a:xfrm>
            <a:off x="383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4</a:t>
            </a:r>
          </a:p>
        </p:txBody>
      </p:sp>
      <p:sp>
        <p:nvSpPr>
          <p:cNvPr id="39" name="Rechteck 35">
            <a:extLst>
              <a:ext uri="{FF2B5EF4-FFF2-40B4-BE49-F238E27FC236}">
                <a16:creationId xmlns:a16="http://schemas.microsoft.com/office/drawing/2014/main" id="{BC9327EC-36D3-2A33-FAFC-7B12723EAD7B}"/>
              </a:ext>
            </a:extLst>
          </p:cNvPr>
          <p:cNvSpPr/>
          <p:nvPr/>
        </p:nvSpPr>
        <p:spPr>
          <a:xfrm>
            <a:off x="491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5</a:t>
            </a:r>
          </a:p>
        </p:txBody>
      </p:sp>
      <p:sp>
        <p:nvSpPr>
          <p:cNvPr id="41" name="Rechteck 36">
            <a:extLst>
              <a:ext uri="{FF2B5EF4-FFF2-40B4-BE49-F238E27FC236}">
                <a16:creationId xmlns:a16="http://schemas.microsoft.com/office/drawing/2014/main" id="{A740394F-F492-9E96-A91B-8CFF923D0203}"/>
              </a:ext>
            </a:extLst>
          </p:cNvPr>
          <p:cNvSpPr/>
          <p:nvPr/>
        </p:nvSpPr>
        <p:spPr>
          <a:xfrm>
            <a:off x="599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6</a:t>
            </a:r>
          </a:p>
        </p:txBody>
      </p:sp>
      <p:sp>
        <p:nvSpPr>
          <p:cNvPr id="43" name="Rechteck 37">
            <a:extLst>
              <a:ext uri="{FF2B5EF4-FFF2-40B4-BE49-F238E27FC236}">
                <a16:creationId xmlns:a16="http://schemas.microsoft.com/office/drawing/2014/main" id="{6386C0A7-46AB-B837-5FAB-B08B95CD0868}"/>
              </a:ext>
            </a:extLst>
          </p:cNvPr>
          <p:cNvSpPr/>
          <p:nvPr/>
        </p:nvSpPr>
        <p:spPr>
          <a:xfrm>
            <a:off x="707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7</a:t>
            </a:r>
          </a:p>
        </p:txBody>
      </p:sp>
      <p:sp>
        <p:nvSpPr>
          <p:cNvPr id="44" name="Rechteck 38">
            <a:extLst>
              <a:ext uri="{FF2B5EF4-FFF2-40B4-BE49-F238E27FC236}">
                <a16:creationId xmlns:a16="http://schemas.microsoft.com/office/drawing/2014/main" id="{EF913952-1D4C-C76B-4259-B61257B2550F}"/>
              </a:ext>
            </a:extLst>
          </p:cNvPr>
          <p:cNvSpPr/>
          <p:nvPr/>
        </p:nvSpPr>
        <p:spPr>
          <a:xfrm>
            <a:off x="8086981"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8</a:t>
            </a:r>
          </a:p>
        </p:txBody>
      </p:sp>
      <p:sp>
        <p:nvSpPr>
          <p:cNvPr id="45" name="Rechteck 32">
            <a:extLst>
              <a:ext uri="{FF2B5EF4-FFF2-40B4-BE49-F238E27FC236}">
                <a16:creationId xmlns:a16="http://schemas.microsoft.com/office/drawing/2014/main" id="{0E6BDE2D-9D8E-62B1-CDCF-E56E9DD132E9}"/>
              </a:ext>
            </a:extLst>
          </p:cNvPr>
          <p:cNvSpPr/>
          <p:nvPr/>
        </p:nvSpPr>
        <p:spPr>
          <a:xfrm>
            <a:off x="663442"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1</a:t>
            </a:r>
          </a:p>
        </p:txBody>
      </p:sp>
      <p:sp>
        <p:nvSpPr>
          <p:cNvPr id="114" name="Titel 1">
            <a:extLst>
              <a:ext uri="{FF2B5EF4-FFF2-40B4-BE49-F238E27FC236}">
                <a16:creationId xmlns:a16="http://schemas.microsoft.com/office/drawing/2014/main" id="{55810C0E-F24B-944F-B937-34C23A8133CE}"/>
              </a:ext>
            </a:extLst>
          </p:cNvPr>
          <p:cNvSpPr txBox="1">
            <a:spLocks/>
          </p:cNvSpPr>
          <p:nvPr/>
        </p:nvSpPr>
        <p:spPr>
          <a:xfrm>
            <a:off x="3905230" y="2352839"/>
            <a:ext cx="882770" cy="500161"/>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1600" kern="1200" cap="none" baseline="0" noProof="0" dirty="0">
                <a:solidFill>
                  <a:srgbClr val="8996A0"/>
                </a:solidFill>
                <a:latin typeface="Arial Black" pitchFamily="34" charset="0"/>
                <a:ea typeface="+mj-ea"/>
                <a:cs typeface="+mj-cs"/>
              </a:defRPr>
            </a:lvl1pPr>
          </a:lstStyle>
          <a:p>
            <a:pPr algn="ctr"/>
            <a:r>
              <a:rPr lang="en-US" sz="2800" dirty="0">
                <a:solidFill>
                  <a:schemeClr val="bg1"/>
                </a:solidFill>
              </a:rPr>
              <a:t>B4P</a:t>
            </a:r>
          </a:p>
        </p:txBody>
      </p:sp>
      <p:sp>
        <p:nvSpPr>
          <p:cNvPr id="112" name="Rectangle 111">
            <a:extLst>
              <a:ext uri="{FF2B5EF4-FFF2-40B4-BE49-F238E27FC236}">
                <a16:creationId xmlns:a16="http://schemas.microsoft.com/office/drawing/2014/main" id="{1BB92051-4D4D-8F40-BED3-ACDC0BCC4EA1}"/>
              </a:ext>
            </a:extLst>
          </p:cNvPr>
          <p:cNvSpPr/>
          <p:nvPr/>
        </p:nvSpPr>
        <p:spPr>
          <a:xfrm>
            <a:off x="1400557" y="959356"/>
            <a:ext cx="4107443" cy="771568"/>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tangle 79">
            <a:extLst>
              <a:ext uri="{FF2B5EF4-FFF2-40B4-BE49-F238E27FC236}">
                <a16:creationId xmlns:a16="http://schemas.microsoft.com/office/drawing/2014/main" id="{EE32185D-59EF-544C-BDF9-90CB4957180D}"/>
              </a:ext>
            </a:extLst>
          </p:cNvPr>
          <p:cNvSpPr/>
          <p:nvPr/>
        </p:nvSpPr>
        <p:spPr>
          <a:xfrm>
            <a:off x="1544557" y="1082635"/>
            <a:ext cx="1519992" cy="523220"/>
          </a:xfrm>
          <a:prstGeom prst="rect">
            <a:avLst/>
          </a:prstGeom>
        </p:spPr>
        <p:txBody>
          <a:bodyPr wrap="square">
            <a:spAutoFit/>
          </a:bodyPr>
          <a:lstStyle/>
          <a:p>
            <a:pPr algn="ctr"/>
            <a:r>
              <a:rPr lang="en-US" sz="1400" b="1" i="1" dirty="0">
                <a:solidFill>
                  <a:schemeClr val="tx1">
                    <a:lumMod val="75000"/>
                    <a:lumOff val="25000"/>
                  </a:schemeClr>
                </a:solidFill>
              </a:rPr>
              <a:t>Many complex</a:t>
            </a:r>
          </a:p>
          <a:p>
            <a:pPr algn="ctr"/>
            <a:r>
              <a:rPr lang="en-US" sz="1400" b="1" i="1" dirty="0">
                <a:solidFill>
                  <a:schemeClr val="tx1">
                    <a:lumMod val="75000"/>
                    <a:lumOff val="25000"/>
                  </a:schemeClr>
                </a:solidFill>
              </a:rPr>
              <a:t>data sources</a:t>
            </a:r>
            <a:endParaRPr lang="en-US" sz="1400" i="1" dirty="0">
              <a:solidFill>
                <a:schemeClr val="tx1">
                  <a:lumMod val="75000"/>
                  <a:lumOff val="25000"/>
                </a:schemeClr>
              </a:solidFill>
            </a:endParaRPr>
          </a:p>
        </p:txBody>
      </p:sp>
      <p:grpSp>
        <p:nvGrpSpPr>
          <p:cNvPr id="116" name="Group 115">
            <a:extLst>
              <a:ext uri="{FF2B5EF4-FFF2-40B4-BE49-F238E27FC236}">
                <a16:creationId xmlns:a16="http://schemas.microsoft.com/office/drawing/2014/main" id="{62C13D75-A1F3-3F42-94AD-63BD93B7582F}"/>
              </a:ext>
            </a:extLst>
          </p:cNvPr>
          <p:cNvGrpSpPr/>
          <p:nvPr/>
        </p:nvGrpSpPr>
        <p:grpSpPr>
          <a:xfrm>
            <a:off x="3491276" y="1123720"/>
            <a:ext cx="1817570" cy="381780"/>
            <a:chOff x="1224722" y="4834720"/>
            <a:chExt cx="1817570" cy="381780"/>
          </a:xfrm>
        </p:grpSpPr>
        <p:grpSp>
          <p:nvGrpSpPr>
            <p:cNvPr id="117" name="Group 116">
              <a:extLst>
                <a:ext uri="{FF2B5EF4-FFF2-40B4-BE49-F238E27FC236}">
                  <a16:creationId xmlns:a16="http://schemas.microsoft.com/office/drawing/2014/main" id="{A28B4B0D-EFB1-4442-86E8-656477DDA6C2}"/>
                </a:ext>
              </a:extLst>
            </p:cNvPr>
            <p:cNvGrpSpPr/>
            <p:nvPr/>
          </p:nvGrpSpPr>
          <p:grpSpPr>
            <a:xfrm>
              <a:off x="1224722" y="4860923"/>
              <a:ext cx="288497" cy="329375"/>
              <a:chOff x="3732405" y="2367361"/>
              <a:chExt cx="288497" cy="329375"/>
            </a:xfrm>
          </p:grpSpPr>
          <p:sp>
            <p:nvSpPr>
              <p:cNvPr id="151" name="Rectangle">
                <a:extLst>
                  <a:ext uri="{FF2B5EF4-FFF2-40B4-BE49-F238E27FC236}">
                    <a16:creationId xmlns:a16="http://schemas.microsoft.com/office/drawing/2014/main" id="{AF433598-1245-CA45-9A95-673FBB1D5DC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2" name="Rectangle">
                <a:extLst>
                  <a:ext uri="{FF2B5EF4-FFF2-40B4-BE49-F238E27FC236}">
                    <a16:creationId xmlns:a16="http://schemas.microsoft.com/office/drawing/2014/main" id="{74FB6FEA-7FA1-074B-A12C-00B45A5A3C09}"/>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153" name="Rectangle">
                <a:extLst>
                  <a:ext uri="{FF2B5EF4-FFF2-40B4-BE49-F238E27FC236}">
                    <a16:creationId xmlns:a16="http://schemas.microsoft.com/office/drawing/2014/main" id="{B68523A9-7485-F043-AC87-FCAC6B4A324D}"/>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118" name="Group 117">
              <a:extLst>
                <a:ext uri="{FF2B5EF4-FFF2-40B4-BE49-F238E27FC236}">
                  <a16:creationId xmlns:a16="http://schemas.microsoft.com/office/drawing/2014/main" id="{B3C8B8AC-B147-7946-BACE-2ECAEE32FD96}"/>
                </a:ext>
              </a:extLst>
            </p:cNvPr>
            <p:cNvGrpSpPr/>
            <p:nvPr/>
          </p:nvGrpSpPr>
          <p:grpSpPr>
            <a:xfrm>
              <a:off x="2267791" y="4849132"/>
              <a:ext cx="288496" cy="352957"/>
              <a:chOff x="3732405" y="3352009"/>
              <a:chExt cx="288496" cy="352957"/>
            </a:xfrm>
          </p:grpSpPr>
          <p:sp>
            <p:nvSpPr>
              <p:cNvPr id="149" name="Cylinder">
                <a:extLst>
                  <a:ext uri="{FF2B5EF4-FFF2-40B4-BE49-F238E27FC236}">
                    <a16:creationId xmlns:a16="http://schemas.microsoft.com/office/drawing/2014/main" id="{0774DB4A-DA17-B645-A4C6-BECFEF4277D4}"/>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0" name="Cylinder">
                <a:extLst>
                  <a:ext uri="{FF2B5EF4-FFF2-40B4-BE49-F238E27FC236}">
                    <a16:creationId xmlns:a16="http://schemas.microsoft.com/office/drawing/2014/main" id="{A36C2A9C-8EF0-6242-AAD8-8A26F1F54A57}"/>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119" name="Gruppieren 12">
              <a:extLst>
                <a:ext uri="{FF2B5EF4-FFF2-40B4-BE49-F238E27FC236}">
                  <a16:creationId xmlns:a16="http://schemas.microsoft.com/office/drawing/2014/main" id="{18403D20-AFE3-844B-AA68-73D979F48C1C}"/>
                </a:ext>
              </a:extLst>
            </p:cNvPr>
            <p:cNvGrpSpPr/>
            <p:nvPr/>
          </p:nvGrpSpPr>
          <p:grpSpPr>
            <a:xfrm>
              <a:off x="2718292" y="4863610"/>
              <a:ext cx="324000" cy="324000"/>
              <a:chOff x="2495600" y="4725144"/>
              <a:chExt cx="324000" cy="324000"/>
            </a:xfrm>
          </p:grpSpPr>
          <p:sp>
            <p:nvSpPr>
              <p:cNvPr id="147" name="World">
                <a:extLst>
                  <a:ext uri="{FF2B5EF4-FFF2-40B4-BE49-F238E27FC236}">
                    <a16:creationId xmlns:a16="http://schemas.microsoft.com/office/drawing/2014/main" id="{B93AEFFF-18FD-EF4B-9AE2-53FFC34A9ADD}"/>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48" name="World">
                <a:extLst>
                  <a:ext uri="{FF2B5EF4-FFF2-40B4-BE49-F238E27FC236}">
                    <a16:creationId xmlns:a16="http://schemas.microsoft.com/office/drawing/2014/main" id="{82120FBA-141E-1641-822B-2C3B1DE92FD3}"/>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grpSp>
          <p:nvGrpSpPr>
            <p:cNvPr id="120" name="Group 119">
              <a:extLst>
                <a:ext uri="{FF2B5EF4-FFF2-40B4-BE49-F238E27FC236}">
                  <a16:creationId xmlns:a16="http://schemas.microsoft.com/office/drawing/2014/main" id="{39BDD422-3B39-9D42-B5CE-F7077F23C073}"/>
                </a:ext>
              </a:extLst>
            </p:cNvPr>
            <p:cNvGrpSpPr/>
            <p:nvPr/>
          </p:nvGrpSpPr>
          <p:grpSpPr>
            <a:xfrm>
              <a:off x="1676640" y="4834720"/>
              <a:ext cx="428547" cy="381780"/>
              <a:chOff x="1203157" y="5351220"/>
              <a:chExt cx="428547" cy="381780"/>
            </a:xfrm>
          </p:grpSpPr>
          <p:grpSp>
            <p:nvGrpSpPr>
              <p:cNvPr id="121" name="Gruppieren 98">
                <a:extLst>
                  <a:ext uri="{FF2B5EF4-FFF2-40B4-BE49-F238E27FC236}">
                    <a16:creationId xmlns:a16="http://schemas.microsoft.com/office/drawing/2014/main" id="{CF580256-2086-0A49-AF93-B5476E1B12FE}"/>
                  </a:ext>
                </a:extLst>
              </p:cNvPr>
              <p:cNvGrpSpPr/>
              <p:nvPr/>
            </p:nvGrpSpPr>
            <p:grpSpPr>
              <a:xfrm>
                <a:off x="1203157" y="5351220"/>
                <a:ext cx="287704" cy="288000"/>
                <a:chOff x="3360000" y="3069000"/>
                <a:chExt cx="287704" cy="288000"/>
              </a:xfrm>
            </p:grpSpPr>
            <p:sp>
              <p:nvSpPr>
                <p:cNvPr id="135" name="Rechteck: abgerundete Ecken 99">
                  <a:extLst>
                    <a:ext uri="{FF2B5EF4-FFF2-40B4-BE49-F238E27FC236}">
                      <a16:creationId xmlns:a16="http://schemas.microsoft.com/office/drawing/2014/main" id="{7EB8A45F-16CC-4D42-AD98-1175456BCF61}"/>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36" name="Gerader Verbinder 100">
                  <a:extLst>
                    <a:ext uri="{FF2B5EF4-FFF2-40B4-BE49-F238E27FC236}">
                      <a16:creationId xmlns:a16="http://schemas.microsoft.com/office/drawing/2014/main" id="{572412E3-593A-9B4B-8C4A-C38398756791}"/>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7" name="Gerader Verbinder 101">
                  <a:extLst>
                    <a:ext uri="{FF2B5EF4-FFF2-40B4-BE49-F238E27FC236}">
                      <a16:creationId xmlns:a16="http://schemas.microsoft.com/office/drawing/2014/main" id="{D28A08A4-7DBE-6645-9A44-0C20240675DB}"/>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8" name="Gerader Verbinder 102">
                  <a:extLst>
                    <a:ext uri="{FF2B5EF4-FFF2-40B4-BE49-F238E27FC236}">
                      <a16:creationId xmlns:a16="http://schemas.microsoft.com/office/drawing/2014/main" id="{CC70A86F-E2CA-E148-8116-B1CA1F7C115D}"/>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9" name="Gerader Verbinder 103">
                  <a:extLst>
                    <a:ext uri="{FF2B5EF4-FFF2-40B4-BE49-F238E27FC236}">
                      <a16:creationId xmlns:a16="http://schemas.microsoft.com/office/drawing/2014/main" id="{DD13CDC1-7F04-4B4A-94C4-9780A45396AE}"/>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0" name="Gerader Verbinder 104">
                  <a:extLst>
                    <a:ext uri="{FF2B5EF4-FFF2-40B4-BE49-F238E27FC236}">
                      <a16:creationId xmlns:a16="http://schemas.microsoft.com/office/drawing/2014/main" id="{803E2A44-DB05-1D47-B738-5F5FC2492568}"/>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1" name="Gerader Verbinder 105">
                  <a:extLst>
                    <a:ext uri="{FF2B5EF4-FFF2-40B4-BE49-F238E27FC236}">
                      <a16:creationId xmlns:a16="http://schemas.microsoft.com/office/drawing/2014/main" id="{0DFC8A9A-0F80-5F47-86AD-8C5AC712A46C}"/>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2" name="Gerader Verbinder 106">
                  <a:extLst>
                    <a:ext uri="{FF2B5EF4-FFF2-40B4-BE49-F238E27FC236}">
                      <a16:creationId xmlns:a16="http://schemas.microsoft.com/office/drawing/2014/main" id="{0FB15AE7-444B-6441-80C3-906E028307C8}"/>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3" name="Gerader Verbinder 107">
                  <a:extLst>
                    <a:ext uri="{FF2B5EF4-FFF2-40B4-BE49-F238E27FC236}">
                      <a16:creationId xmlns:a16="http://schemas.microsoft.com/office/drawing/2014/main" id="{2E60FD0D-F2AE-5943-A1F8-9F92EC05D5A9}"/>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4" name="Gerader Verbinder 108">
                  <a:extLst>
                    <a:ext uri="{FF2B5EF4-FFF2-40B4-BE49-F238E27FC236}">
                      <a16:creationId xmlns:a16="http://schemas.microsoft.com/office/drawing/2014/main" id="{F76B1604-6EB3-1D48-B9C9-940C098DA7EA}"/>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5" name="Gerader Verbinder 109">
                  <a:extLst>
                    <a:ext uri="{FF2B5EF4-FFF2-40B4-BE49-F238E27FC236}">
                      <a16:creationId xmlns:a16="http://schemas.microsoft.com/office/drawing/2014/main" id="{7B6C6630-17F1-FE43-821D-59F6E26FE084}"/>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46" name="Trapezoid 145">
                  <a:extLst>
                    <a:ext uri="{FF2B5EF4-FFF2-40B4-BE49-F238E27FC236}">
                      <a16:creationId xmlns:a16="http://schemas.microsoft.com/office/drawing/2014/main" id="{B880C5A3-3CC8-F946-B316-645B6DB49DD8}"/>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122" name="Gruppieren 98">
                <a:extLst>
                  <a:ext uri="{FF2B5EF4-FFF2-40B4-BE49-F238E27FC236}">
                    <a16:creationId xmlns:a16="http://schemas.microsoft.com/office/drawing/2014/main" id="{BA9C1D98-85CB-5544-9C85-47AA045C12F6}"/>
                  </a:ext>
                </a:extLst>
              </p:cNvPr>
              <p:cNvGrpSpPr/>
              <p:nvPr/>
            </p:nvGrpSpPr>
            <p:grpSpPr>
              <a:xfrm>
                <a:off x="1344000" y="5445000"/>
                <a:ext cx="287704" cy="288000"/>
                <a:chOff x="3360000" y="3069000"/>
                <a:chExt cx="287704" cy="288000"/>
              </a:xfrm>
            </p:grpSpPr>
            <p:sp>
              <p:nvSpPr>
                <p:cNvPr id="123" name="Rechteck: abgerundete Ecken 99">
                  <a:extLst>
                    <a:ext uri="{FF2B5EF4-FFF2-40B4-BE49-F238E27FC236}">
                      <a16:creationId xmlns:a16="http://schemas.microsoft.com/office/drawing/2014/main" id="{34B9269A-B5FD-AE4D-912A-C2C7CE1F7C9D}"/>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24" name="Gerader Verbinder 100">
                  <a:extLst>
                    <a:ext uri="{FF2B5EF4-FFF2-40B4-BE49-F238E27FC236}">
                      <a16:creationId xmlns:a16="http://schemas.microsoft.com/office/drawing/2014/main" id="{3C54CA90-B73F-2A40-BE0C-95C19D67F8A1}"/>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5" name="Gerader Verbinder 101">
                  <a:extLst>
                    <a:ext uri="{FF2B5EF4-FFF2-40B4-BE49-F238E27FC236}">
                      <a16:creationId xmlns:a16="http://schemas.microsoft.com/office/drawing/2014/main" id="{90E938A6-A75E-544F-ACCE-87ED546CACA5}"/>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6" name="Gerader Verbinder 102">
                  <a:extLst>
                    <a:ext uri="{FF2B5EF4-FFF2-40B4-BE49-F238E27FC236}">
                      <a16:creationId xmlns:a16="http://schemas.microsoft.com/office/drawing/2014/main" id="{5EA437AF-63FE-7E45-AF0F-5A7424699358}"/>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7" name="Gerader Verbinder 103">
                  <a:extLst>
                    <a:ext uri="{FF2B5EF4-FFF2-40B4-BE49-F238E27FC236}">
                      <a16:creationId xmlns:a16="http://schemas.microsoft.com/office/drawing/2014/main" id="{CB37449F-B0DE-134E-9273-DD6989B462C2}"/>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8" name="Gerader Verbinder 104">
                  <a:extLst>
                    <a:ext uri="{FF2B5EF4-FFF2-40B4-BE49-F238E27FC236}">
                      <a16:creationId xmlns:a16="http://schemas.microsoft.com/office/drawing/2014/main" id="{34262404-4D60-F941-9EC7-EE07CF1A2B79}"/>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9" name="Gerader Verbinder 105">
                  <a:extLst>
                    <a:ext uri="{FF2B5EF4-FFF2-40B4-BE49-F238E27FC236}">
                      <a16:creationId xmlns:a16="http://schemas.microsoft.com/office/drawing/2014/main" id="{0FCCB352-1795-4443-B7D1-1D4053A7E5F9}"/>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0" name="Gerader Verbinder 106">
                  <a:extLst>
                    <a:ext uri="{FF2B5EF4-FFF2-40B4-BE49-F238E27FC236}">
                      <a16:creationId xmlns:a16="http://schemas.microsoft.com/office/drawing/2014/main" id="{289EAD70-52B1-B541-9292-C2EDA22EFCF3}"/>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1" name="Gerader Verbinder 107">
                  <a:extLst>
                    <a:ext uri="{FF2B5EF4-FFF2-40B4-BE49-F238E27FC236}">
                      <a16:creationId xmlns:a16="http://schemas.microsoft.com/office/drawing/2014/main" id="{CB6ABD0B-1571-9041-9472-5BC23E6ECFD8}"/>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2" name="Gerader Verbinder 108">
                  <a:extLst>
                    <a:ext uri="{FF2B5EF4-FFF2-40B4-BE49-F238E27FC236}">
                      <a16:creationId xmlns:a16="http://schemas.microsoft.com/office/drawing/2014/main" id="{AEFBFC84-AD62-B54B-BD0F-76333BF0C278}"/>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3" name="Gerader Verbinder 109">
                  <a:extLst>
                    <a:ext uri="{FF2B5EF4-FFF2-40B4-BE49-F238E27FC236}">
                      <a16:creationId xmlns:a16="http://schemas.microsoft.com/office/drawing/2014/main" id="{8C51CCAF-FAC2-7B43-AE57-C0C6440EC6C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34" name="Trapezoid 133">
                  <a:extLst>
                    <a:ext uri="{FF2B5EF4-FFF2-40B4-BE49-F238E27FC236}">
                      <a16:creationId xmlns:a16="http://schemas.microsoft.com/office/drawing/2014/main" id="{2AE55CF9-C56D-F448-BD06-62C5B515D44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grpSp>
      <p:sp>
        <p:nvSpPr>
          <p:cNvPr id="154" name="Pfeil: nach rechts 95">
            <a:extLst>
              <a:ext uri="{FF2B5EF4-FFF2-40B4-BE49-F238E27FC236}">
                <a16:creationId xmlns:a16="http://schemas.microsoft.com/office/drawing/2014/main" id="{511061CB-6F23-254E-9572-09C02A77B541}"/>
              </a:ext>
            </a:extLst>
          </p:cNvPr>
          <p:cNvSpPr/>
          <p:nvPr/>
        </p:nvSpPr>
        <p:spPr>
          <a:xfrm rot="5400000">
            <a:off x="3981448" y="1628996"/>
            <a:ext cx="647992"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55" name="Rectangle 154">
            <a:extLst>
              <a:ext uri="{FF2B5EF4-FFF2-40B4-BE49-F238E27FC236}">
                <a16:creationId xmlns:a16="http://schemas.microsoft.com/office/drawing/2014/main" id="{B483664E-852C-154E-88F7-DA70D03770AF}"/>
              </a:ext>
            </a:extLst>
          </p:cNvPr>
          <p:cNvSpPr/>
          <p:nvPr/>
        </p:nvSpPr>
        <p:spPr>
          <a:xfrm>
            <a:off x="3534658" y="5494517"/>
            <a:ext cx="3374508" cy="886483"/>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tangle 79">
            <a:extLst>
              <a:ext uri="{FF2B5EF4-FFF2-40B4-BE49-F238E27FC236}">
                <a16:creationId xmlns:a16="http://schemas.microsoft.com/office/drawing/2014/main" id="{BBD73C8D-61A7-7D43-B8E8-464431C8321D}"/>
              </a:ext>
            </a:extLst>
          </p:cNvPr>
          <p:cNvSpPr/>
          <p:nvPr/>
        </p:nvSpPr>
        <p:spPr>
          <a:xfrm>
            <a:off x="4739731" y="5720014"/>
            <a:ext cx="2117724" cy="523220"/>
          </a:xfrm>
          <a:prstGeom prst="rect">
            <a:avLst/>
          </a:prstGeom>
        </p:spPr>
        <p:txBody>
          <a:bodyPr wrap="square">
            <a:spAutoFit/>
          </a:bodyPr>
          <a:lstStyle/>
          <a:p>
            <a:r>
              <a:rPr lang="en-US" sz="1400" b="1" i="1" dirty="0">
                <a:solidFill>
                  <a:schemeClr val="tx1">
                    <a:lumMod val="75000"/>
                    <a:lumOff val="25000"/>
                  </a:schemeClr>
                </a:solidFill>
              </a:rPr>
              <a:t>Integrated analysis completed in seconds</a:t>
            </a:r>
            <a:endParaRPr lang="en-US" sz="1400" i="1" dirty="0">
              <a:solidFill>
                <a:schemeClr val="tx1">
                  <a:lumMod val="75000"/>
                  <a:lumOff val="25000"/>
                </a:schemeClr>
              </a:solidFill>
            </a:endParaRPr>
          </a:p>
        </p:txBody>
      </p:sp>
      <p:grpSp>
        <p:nvGrpSpPr>
          <p:cNvPr id="157" name="Group">
            <a:extLst>
              <a:ext uri="{FF2B5EF4-FFF2-40B4-BE49-F238E27FC236}">
                <a16:creationId xmlns:a16="http://schemas.microsoft.com/office/drawing/2014/main" id="{D17A23E7-AE86-2449-9EF7-3E333CB01745}"/>
              </a:ext>
            </a:extLst>
          </p:cNvPr>
          <p:cNvGrpSpPr/>
          <p:nvPr/>
        </p:nvGrpSpPr>
        <p:grpSpPr>
          <a:xfrm>
            <a:off x="3837443" y="5589000"/>
            <a:ext cx="648001" cy="702940"/>
            <a:chOff x="0" y="0"/>
            <a:chExt cx="667887" cy="788698"/>
          </a:xfrm>
        </p:grpSpPr>
        <p:sp>
          <p:nvSpPr>
            <p:cNvPr id="158" name="Rectangle">
              <a:extLst>
                <a:ext uri="{FF2B5EF4-FFF2-40B4-BE49-F238E27FC236}">
                  <a16:creationId xmlns:a16="http://schemas.microsoft.com/office/drawing/2014/main" id="{0F5173FE-A251-BD43-93A2-553BB24188D4}"/>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159" name="Bar Chart">
              <a:extLst>
                <a:ext uri="{FF2B5EF4-FFF2-40B4-BE49-F238E27FC236}">
                  <a16:creationId xmlns:a16="http://schemas.microsoft.com/office/drawing/2014/main" id="{9E4F020D-756D-E847-A8F5-D661708CB930}"/>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160" name="Line Graph">
              <a:extLst>
                <a:ext uri="{FF2B5EF4-FFF2-40B4-BE49-F238E27FC236}">
                  <a16:creationId xmlns:a16="http://schemas.microsoft.com/office/drawing/2014/main" id="{6430E6A3-F4F9-E045-92F2-20F1DEB1451A}"/>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161" name="Group">
              <a:extLst>
                <a:ext uri="{FF2B5EF4-FFF2-40B4-BE49-F238E27FC236}">
                  <a16:creationId xmlns:a16="http://schemas.microsoft.com/office/drawing/2014/main" id="{418E331B-86A2-1547-9C97-B786E15AAC66}"/>
                </a:ext>
              </a:extLst>
            </p:cNvPr>
            <p:cNvGrpSpPr/>
            <p:nvPr/>
          </p:nvGrpSpPr>
          <p:grpSpPr>
            <a:xfrm>
              <a:off x="50957" y="322563"/>
              <a:ext cx="570988" cy="466136"/>
              <a:chOff x="0" y="0"/>
              <a:chExt cx="570986" cy="466134"/>
            </a:xfrm>
          </p:grpSpPr>
          <p:sp>
            <p:nvSpPr>
              <p:cNvPr id="176" name="Line">
                <a:extLst>
                  <a:ext uri="{FF2B5EF4-FFF2-40B4-BE49-F238E27FC236}">
                    <a16:creationId xmlns:a16="http://schemas.microsoft.com/office/drawing/2014/main" id="{01166622-70B1-A14C-8731-9A2BD59802FB}"/>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7" name="Line">
                <a:extLst>
                  <a:ext uri="{FF2B5EF4-FFF2-40B4-BE49-F238E27FC236}">
                    <a16:creationId xmlns:a16="http://schemas.microsoft.com/office/drawing/2014/main" id="{395B434A-5E82-EA40-B899-3B68D3407C1B}"/>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8" name="Line">
                <a:extLst>
                  <a:ext uri="{FF2B5EF4-FFF2-40B4-BE49-F238E27FC236}">
                    <a16:creationId xmlns:a16="http://schemas.microsoft.com/office/drawing/2014/main" id="{CBD7688D-2D0F-AE4E-A238-EC9C6AE628B3}"/>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9" name="Line">
                <a:extLst>
                  <a:ext uri="{FF2B5EF4-FFF2-40B4-BE49-F238E27FC236}">
                    <a16:creationId xmlns:a16="http://schemas.microsoft.com/office/drawing/2014/main" id="{0997FF9F-BECD-0A4F-91ED-71F5FC9F342A}"/>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0" name="Line">
                <a:extLst>
                  <a:ext uri="{FF2B5EF4-FFF2-40B4-BE49-F238E27FC236}">
                    <a16:creationId xmlns:a16="http://schemas.microsoft.com/office/drawing/2014/main" id="{20420AE5-0FFA-2E4E-8B83-93D5E88CF56D}"/>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1" name="Line">
                <a:extLst>
                  <a:ext uri="{FF2B5EF4-FFF2-40B4-BE49-F238E27FC236}">
                    <a16:creationId xmlns:a16="http://schemas.microsoft.com/office/drawing/2014/main" id="{02C79B8C-ECC3-BA4E-BA97-FCF2C56852CD}"/>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2" name="Line">
                <a:extLst>
                  <a:ext uri="{FF2B5EF4-FFF2-40B4-BE49-F238E27FC236}">
                    <a16:creationId xmlns:a16="http://schemas.microsoft.com/office/drawing/2014/main" id="{A393924D-FA68-0348-BCE7-322AF29EA6C9}"/>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162" name="Group">
              <a:extLst>
                <a:ext uri="{FF2B5EF4-FFF2-40B4-BE49-F238E27FC236}">
                  <a16:creationId xmlns:a16="http://schemas.microsoft.com/office/drawing/2014/main" id="{3C7C5AE0-F13C-8644-964C-1EA8A6EFEC5F}"/>
                </a:ext>
              </a:extLst>
            </p:cNvPr>
            <p:cNvGrpSpPr/>
            <p:nvPr/>
          </p:nvGrpSpPr>
          <p:grpSpPr>
            <a:xfrm>
              <a:off x="-1" y="322563"/>
              <a:ext cx="665607" cy="466136"/>
              <a:chOff x="0" y="0"/>
              <a:chExt cx="665605" cy="466134"/>
            </a:xfrm>
          </p:grpSpPr>
          <p:sp>
            <p:nvSpPr>
              <p:cNvPr id="163" name="Line">
                <a:extLst>
                  <a:ext uri="{FF2B5EF4-FFF2-40B4-BE49-F238E27FC236}">
                    <a16:creationId xmlns:a16="http://schemas.microsoft.com/office/drawing/2014/main" id="{F350A72D-30F3-8A48-A27A-80690263C807}"/>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4" name="Line">
                <a:extLst>
                  <a:ext uri="{FF2B5EF4-FFF2-40B4-BE49-F238E27FC236}">
                    <a16:creationId xmlns:a16="http://schemas.microsoft.com/office/drawing/2014/main" id="{C888F752-4643-014E-A3B7-01D6412A036D}"/>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5" name="Line">
                <a:extLst>
                  <a:ext uri="{FF2B5EF4-FFF2-40B4-BE49-F238E27FC236}">
                    <a16:creationId xmlns:a16="http://schemas.microsoft.com/office/drawing/2014/main" id="{6768DFCB-B544-974F-94BC-CB4B30A33A31}"/>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6" name="Line">
                <a:extLst>
                  <a:ext uri="{FF2B5EF4-FFF2-40B4-BE49-F238E27FC236}">
                    <a16:creationId xmlns:a16="http://schemas.microsoft.com/office/drawing/2014/main" id="{C628E065-4CFF-064F-BC74-9970BEAED3F1}"/>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7" name="Line">
                <a:extLst>
                  <a:ext uri="{FF2B5EF4-FFF2-40B4-BE49-F238E27FC236}">
                    <a16:creationId xmlns:a16="http://schemas.microsoft.com/office/drawing/2014/main" id="{E848B406-1B32-2446-AF12-97EEA5F50373}"/>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8" name="Line">
                <a:extLst>
                  <a:ext uri="{FF2B5EF4-FFF2-40B4-BE49-F238E27FC236}">
                    <a16:creationId xmlns:a16="http://schemas.microsoft.com/office/drawing/2014/main" id="{3A3B1D84-ED66-D54A-9284-426DC88BCF5D}"/>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9" name="Line">
                <a:extLst>
                  <a:ext uri="{FF2B5EF4-FFF2-40B4-BE49-F238E27FC236}">
                    <a16:creationId xmlns:a16="http://schemas.microsoft.com/office/drawing/2014/main" id="{C042FC36-1665-0746-9056-77997320F63A}"/>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0" name="Line">
                <a:extLst>
                  <a:ext uri="{FF2B5EF4-FFF2-40B4-BE49-F238E27FC236}">
                    <a16:creationId xmlns:a16="http://schemas.microsoft.com/office/drawing/2014/main" id="{967BC0BC-3DF0-564D-80B5-288047685DE8}"/>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1" name="Line">
                <a:extLst>
                  <a:ext uri="{FF2B5EF4-FFF2-40B4-BE49-F238E27FC236}">
                    <a16:creationId xmlns:a16="http://schemas.microsoft.com/office/drawing/2014/main" id="{8EAD8EDA-737E-2C4B-888E-84D4D00DE84D}"/>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2" name="Line">
                <a:extLst>
                  <a:ext uri="{FF2B5EF4-FFF2-40B4-BE49-F238E27FC236}">
                    <a16:creationId xmlns:a16="http://schemas.microsoft.com/office/drawing/2014/main" id="{92A873FD-7839-F241-936F-3E47FB81349D}"/>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3" name="Line">
                <a:extLst>
                  <a:ext uri="{FF2B5EF4-FFF2-40B4-BE49-F238E27FC236}">
                    <a16:creationId xmlns:a16="http://schemas.microsoft.com/office/drawing/2014/main" id="{E333D090-373F-C646-92CB-3AA306CB236F}"/>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4" name="Line">
                <a:extLst>
                  <a:ext uri="{FF2B5EF4-FFF2-40B4-BE49-F238E27FC236}">
                    <a16:creationId xmlns:a16="http://schemas.microsoft.com/office/drawing/2014/main" id="{BC28A74F-9E5E-AF4C-86F5-D9253ED94676}"/>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5" name="Line">
                <a:extLst>
                  <a:ext uri="{FF2B5EF4-FFF2-40B4-BE49-F238E27FC236}">
                    <a16:creationId xmlns:a16="http://schemas.microsoft.com/office/drawing/2014/main" id="{7BDEEBD2-927C-6A49-847E-89E0862D461C}"/>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83" name="Pfeil: nach rechts 95">
            <a:extLst>
              <a:ext uri="{FF2B5EF4-FFF2-40B4-BE49-F238E27FC236}">
                <a16:creationId xmlns:a16="http://schemas.microsoft.com/office/drawing/2014/main" id="{005487C8-AB17-B542-A453-C4FA464DB03C}"/>
              </a:ext>
            </a:extLst>
          </p:cNvPr>
          <p:cNvSpPr/>
          <p:nvPr/>
        </p:nvSpPr>
        <p:spPr>
          <a:xfrm rot="5400000">
            <a:off x="3846729" y="4948806"/>
            <a:ext cx="632387"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206352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hteck 71"/>
          <p:cNvSpPr/>
          <p:nvPr/>
        </p:nvSpPr>
        <p:spPr>
          <a:xfrm>
            <a:off x="3924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3924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9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39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00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1701000"/>
            <a:ext cx="144000" cy="360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701000"/>
            <a:ext cx="43206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124000" y="1701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701000"/>
            <a:ext cx="864000" cy="144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12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701000"/>
            <a:ext cx="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7" name="Gerade Verbindung mit Pfeil 56"/>
          <p:cNvCxnSpPr/>
          <p:nvPr/>
        </p:nvCxnSpPr>
        <p:spPr>
          <a:xfrm flipV="1">
            <a:off x="540000" y="1701000"/>
            <a:ext cx="1368000" cy="14400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4715800"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69" name="Gerade Verbindung mit Pfeil 68"/>
          <p:cNvCxnSpPr/>
          <p:nvPr/>
        </p:nvCxnSpPr>
        <p:spPr>
          <a:xfrm>
            <a:off x="4211960"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Rechteck 69"/>
          <p:cNvSpPr/>
          <p:nvPr/>
        </p:nvSpPr>
        <p:spPr>
          <a:xfrm>
            <a:off x="4715800"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75" name="Rechteck 74">
            <a:extLst>
              <a:ext uri="{FF2B5EF4-FFF2-40B4-BE49-F238E27FC236}">
                <a16:creationId xmlns:a16="http://schemas.microsoft.com/office/drawing/2014/main" id="{F7721D8B-F66E-44E5-A14E-5E5CBFEF44D8}"/>
              </a:ext>
            </a:extLst>
          </p:cNvPr>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a:extLst>
              <a:ext uri="{FF2B5EF4-FFF2-40B4-BE49-F238E27FC236}">
                <a16:creationId xmlns:a16="http://schemas.microsoft.com/office/drawing/2014/main" id="{4EAD2254-2B85-47EC-B704-77608C174050}"/>
              </a:ext>
            </a:extLst>
          </p:cNvPr>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77" name="Rechteck 76">
            <a:extLst>
              <a:ext uri="{FF2B5EF4-FFF2-40B4-BE49-F238E27FC236}">
                <a16:creationId xmlns:a16="http://schemas.microsoft.com/office/drawing/2014/main" id="{21A9503F-0162-42C8-821B-827CE59F3259}"/>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mit Pfeil 79">
            <a:extLst>
              <a:ext uri="{FF2B5EF4-FFF2-40B4-BE49-F238E27FC236}">
                <a16:creationId xmlns:a16="http://schemas.microsoft.com/office/drawing/2014/main" id="{6C7C0022-2909-4CE6-97CB-7158A80CBC22}"/>
              </a:ext>
            </a:extLst>
          </p:cNvPr>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53B60B36-2CDE-4FEE-95F0-FB83DED578BC}"/>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82" name="Rechteck 81">
            <a:extLst>
              <a:ext uri="{FF2B5EF4-FFF2-40B4-BE49-F238E27FC236}">
                <a16:creationId xmlns:a16="http://schemas.microsoft.com/office/drawing/2014/main" id="{E548A823-DABF-4834-9472-2468787572F0}"/>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7001696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p>
        </p:txBody>
      </p:sp>
      <p:sp>
        <p:nvSpPr>
          <p:cNvPr id="392" name="Rechteck 391"/>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92" name="Rechteck 91"/>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Gerade Verbindung mit Pfeil 109"/>
          <p:cNvCxnSpPr/>
          <p:nvPr/>
        </p:nvCxnSpPr>
        <p:spPr>
          <a:xfrm>
            <a:off x="421183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1" name="Rechteck 110"/>
          <p:cNvSpPr/>
          <p:nvPr/>
        </p:nvSpPr>
        <p:spPr>
          <a:xfrm>
            <a:off x="4715676"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12" name="Gerade Verbindung mit Pfeil 111"/>
          <p:cNvCxnSpPr/>
          <p:nvPr/>
        </p:nvCxnSpPr>
        <p:spPr>
          <a:xfrm>
            <a:off x="4211836"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4715676"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03" name="Rechteck 102">
            <a:extLst>
              <a:ext uri="{FF2B5EF4-FFF2-40B4-BE49-F238E27FC236}">
                <a16:creationId xmlns:a16="http://schemas.microsoft.com/office/drawing/2014/main" id="{FD50575B-D5D0-450D-ACE1-8D39C713CFB0}"/>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04" name="Rechteck 103">
            <a:extLst>
              <a:ext uri="{FF2B5EF4-FFF2-40B4-BE49-F238E27FC236}">
                <a16:creationId xmlns:a16="http://schemas.microsoft.com/office/drawing/2014/main" id="{A39F9B5D-F778-4071-A3ED-7DFDE1CDABDD}"/>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8595331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EB0460A9-0766-4F00-8A4E-C5002FB66D4E}"/>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6D731157-23C6-4160-A84F-2EA9D946BA99}"/>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F449F353-105C-47C5-A572-E93143E74FA8}"/>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29" name="Rechteck 128">
            <a:extLst>
              <a:ext uri="{FF2B5EF4-FFF2-40B4-BE49-F238E27FC236}">
                <a16:creationId xmlns:a16="http://schemas.microsoft.com/office/drawing/2014/main" id="{D5C8F4B7-6647-4D95-8C4E-C6606F0176C6}"/>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6A3594B0-699A-4C09-833F-47FD2DA820AD}"/>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31" name="Rechteck 130">
            <a:extLst>
              <a:ext uri="{FF2B5EF4-FFF2-40B4-BE49-F238E27FC236}">
                <a16:creationId xmlns:a16="http://schemas.microsoft.com/office/drawing/2014/main" id="{936ED057-0759-4FD3-83F1-FA81762821C0}"/>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AF626075-54DE-438E-A01E-C80E63F28601}"/>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33" name="Gerade Verbindung mit Pfeil 132">
            <a:extLst>
              <a:ext uri="{FF2B5EF4-FFF2-40B4-BE49-F238E27FC236}">
                <a16:creationId xmlns:a16="http://schemas.microsoft.com/office/drawing/2014/main" id="{EA2C0B76-2329-4CEA-8CF0-35FF839E28B7}"/>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4" name="Rechteck 133">
            <a:extLst>
              <a:ext uri="{FF2B5EF4-FFF2-40B4-BE49-F238E27FC236}">
                <a16:creationId xmlns:a16="http://schemas.microsoft.com/office/drawing/2014/main" id="{E8880695-3CF5-4B12-B633-D5094967FD0B}"/>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35" name="Gerade Verbindung mit Pfeil 134">
            <a:extLst>
              <a:ext uri="{FF2B5EF4-FFF2-40B4-BE49-F238E27FC236}">
                <a16:creationId xmlns:a16="http://schemas.microsoft.com/office/drawing/2014/main" id="{FE880855-7347-4B4D-8764-74E4855A637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8E88186F-02AB-48D8-A565-BF9D824A133E}"/>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37" name="Rechteck 136">
            <a:extLst>
              <a:ext uri="{FF2B5EF4-FFF2-40B4-BE49-F238E27FC236}">
                <a16:creationId xmlns:a16="http://schemas.microsoft.com/office/drawing/2014/main" id="{4E962F57-2355-420A-A8F3-A677A51B4C28}"/>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0991E13B-DD33-42A8-82D7-B3337D0B6E45}"/>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09" name="Rechteck 108">
            <a:extLst>
              <a:ext uri="{FF2B5EF4-FFF2-40B4-BE49-F238E27FC236}">
                <a16:creationId xmlns:a16="http://schemas.microsoft.com/office/drawing/2014/main" id="{F0A86231-682E-4B6C-9DB1-E16574540C3D}"/>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55A526ED-C9DC-434C-8712-6D58CB6AE346}"/>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5253542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hteck 114"/>
          <p:cNvSpPr/>
          <p:nvPr/>
        </p:nvSpPr>
        <p:spPr>
          <a:xfrm>
            <a:off x="3132000" y="1701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132000" y="213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flipV="1">
            <a:off x="3132000" y="2277000"/>
            <a:ext cx="144000" cy="144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3132000" y="249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132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p:cNvSpPr/>
          <p:nvPr/>
        </p:nvSpPr>
        <p:spPr>
          <a:xfrm>
            <a:off x="4068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068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924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924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924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924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924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4068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35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35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148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36783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36783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r>
              <a:rPr lang="en-US" sz="1100" b="1" dirty="0">
                <a:solidFill>
                  <a:schemeClr val="accent4"/>
                </a:solidFill>
              </a:rPr>
              <a:t>Group Identifier</a:t>
            </a:r>
            <a:br>
              <a:rPr lang="en-US" sz="1100" b="1" dirty="0">
                <a:solidFill>
                  <a:schemeClr val="accent4"/>
                </a:solidFill>
              </a:rPr>
            </a:br>
            <a:r>
              <a:rPr lang="en-US" sz="1100" b="1" dirty="0">
                <a:solidFill>
                  <a:schemeClr val="accent4"/>
                </a:solidFill>
              </a:rPr>
              <a:t>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r>
              <a:rPr lang="en-US" sz="1100" b="1" dirty="0">
                <a:solidFill>
                  <a:srgbClr val="CC66FF"/>
                </a:solidFill>
              </a:rPr>
              <a:t>Comparison Direction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flipV="1">
            <a:off x="1908170" y="1557000"/>
            <a:ext cx="1367830" cy="1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923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923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923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572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923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716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860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923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420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148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4F77769-DA19-4ECA-A035-F2BA58E9D123}"/>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58E4897D-F100-4EE1-B583-05678866534F}"/>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028890D5-B1D6-4D5E-BE26-6E57818D4A35}"/>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38" name="Rechteck 137">
            <a:extLst>
              <a:ext uri="{FF2B5EF4-FFF2-40B4-BE49-F238E27FC236}">
                <a16:creationId xmlns:a16="http://schemas.microsoft.com/office/drawing/2014/main" id="{7DB81F24-810B-4865-9D8C-0C8CA9F406BD}"/>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C95F107C-0815-4C52-8A24-E47D01C0F89B}"/>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40" name="Rechteck 139">
            <a:extLst>
              <a:ext uri="{FF2B5EF4-FFF2-40B4-BE49-F238E27FC236}">
                <a16:creationId xmlns:a16="http://schemas.microsoft.com/office/drawing/2014/main" id="{1B674BFA-CB3E-4820-B750-077843A13373}"/>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8C96FBC4-0507-4D80-B809-7EA884017BDD}"/>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42" name="Gerade Verbindung mit Pfeil 141">
            <a:extLst>
              <a:ext uri="{FF2B5EF4-FFF2-40B4-BE49-F238E27FC236}">
                <a16:creationId xmlns:a16="http://schemas.microsoft.com/office/drawing/2014/main" id="{4E38C09F-67E0-429B-BDE9-096554C49EF9}"/>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BBA91BA1-DBFA-477B-8CE3-4D58E232C6EA}"/>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44" name="Gerade Verbindung mit Pfeil 143">
            <a:extLst>
              <a:ext uri="{FF2B5EF4-FFF2-40B4-BE49-F238E27FC236}">
                <a16:creationId xmlns:a16="http://schemas.microsoft.com/office/drawing/2014/main" id="{28D1DC98-E429-4A27-AFA5-0F6E2775EAF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439A3BCD-75E9-46D6-AB3D-ACAE6919FDD5}"/>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46" name="Rechteck 145">
            <a:extLst>
              <a:ext uri="{FF2B5EF4-FFF2-40B4-BE49-F238E27FC236}">
                <a16:creationId xmlns:a16="http://schemas.microsoft.com/office/drawing/2014/main" id="{17ADF8E6-82DC-43E4-95D4-A6C49B677D4C}"/>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87810CE6-6232-4400-A167-15F6F3CF5D80}"/>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48" name="Rechteck 147">
            <a:extLst>
              <a:ext uri="{FF2B5EF4-FFF2-40B4-BE49-F238E27FC236}">
                <a16:creationId xmlns:a16="http://schemas.microsoft.com/office/drawing/2014/main" id="{734A87CA-2463-40AA-90FD-BDF52D638C4A}"/>
              </a:ext>
            </a:extLst>
          </p:cNvPr>
          <p:cNvSpPr/>
          <p:nvPr/>
        </p:nvSpPr>
        <p:spPr>
          <a:xfrm>
            <a:off x="5435836" y="4509000"/>
            <a:ext cx="144020" cy="50407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4688F7C1-B064-46E6-BB79-5D062FB8F31F}"/>
              </a:ext>
            </a:extLst>
          </p:cNvPr>
          <p:cNvSpPr/>
          <p:nvPr/>
        </p:nvSpPr>
        <p:spPr>
          <a:xfrm>
            <a:off x="55798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Directions Column</a:t>
            </a:r>
          </a:p>
        </p:txBody>
      </p:sp>
      <p:sp>
        <p:nvSpPr>
          <p:cNvPr id="109" name="Rechteck 108">
            <a:extLst>
              <a:ext uri="{FF2B5EF4-FFF2-40B4-BE49-F238E27FC236}">
                <a16:creationId xmlns:a16="http://schemas.microsoft.com/office/drawing/2014/main" id="{5628C535-3CCD-4B86-B65B-DFE3E64A35F7}"/>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76C69CEE-1F32-47EB-A52C-4A1C3F254A7C}"/>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21657998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 name="Rechteck 626"/>
          <p:cNvSpPr/>
          <p:nvPr/>
        </p:nvSpPr>
        <p:spPr>
          <a:xfrm>
            <a:off x="3347010" y="148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8" name="Rechteck 627"/>
          <p:cNvSpPr/>
          <p:nvPr/>
        </p:nvSpPr>
        <p:spPr>
          <a:xfrm>
            <a:off x="3347640" y="134100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16" name="Rechteck 615"/>
          <p:cNvSpPr/>
          <p:nvPr/>
        </p:nvSpPr>
        <p:spPr>
          <a:xfrm>
            <a:off x="1475640" y="1484784"/>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476270" y="134106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216" name="Rechteck 215"/>
          <p:cNvSpPr/>
          <p:nvPr/>
        </p:nvSpPr>
        <p:spPr>
          <a:xfrm>
            <a:off x="1331640" y="1341000"/>
            <a:ext cx="1008750" cy="21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nsolidate</a:t>
            </a:r>
          </a:p>
        </p:txBody>
      </p:sp>
      <p:sp>
        <p:nvSpPr>
          <p:cNvPr id="365" name="Rechteck 364"/>
          <p:cNvSpPr/>
          <p:nvPr/>
        </p:nvSpPr>
        <p:spPr>
          <a:xfrm>
            <a:off x="1331640" y="1485000"/>
            <a:ext cx="144020" cy="288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1331640" y="1485000"/>
            <a:ext cx="1008140" cy="201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211"/>
          <p:cNvCxnSpPr/>
          <p:nvPr/>
        </p:nvCxnSpPr>
        <p:spPr>
          <a:xfrm>
            <a:off x="1331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200" name="Rechteck 199"/>
          <p:cNvSpPr/>
          <p:nvPr/>
        </p:nvSpPr>
        <p:spPr>
          <a:xfrm>
            <a:off x="108610" y="12693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riginal table:</a:t>
            </a:r>
          </a:p>
          <a:p>
            <a:endParaRPr lang="en-US" sz="1000" dirty="0">
              <a:solidFill>
                <a:schemeClr val="tx1"/>
              </a:solidFill>
            </a:endParaRPr>
          </a:p>
          <a:p>
            <a:r>
              <a:rPr lang="en-US" sz="1000" dirty="0">
                <a:solidFill>
                  <a:schemeClr val="tx1"/>
                </a:solidFill>
              </a:rPr>
              <a:t>Each color refers</a:t>
            </a:r>
          </a:p>
          <a:p>
            <a:r>
              <a:rPr lang="en-US" sz="1000" dirty="0">
                <a:solidFill>
                  <a:schemeClr val="tx1"/>
                </a:solidFill>
              </a:rPr>
              <a:t>to data with</a:t>
            </a:r>
          </a:p>
          <a:p>
            <a:r>
              <a:rPr lang="en-US" sz="1000" dirty="0">
                <a:solidFill>
                  <a:schemeClr val="tx1"/>
                </a:solidFill>
              </a:rPr>
              <a:t>same contents</a:t>
            </a:r>
          </a:p>
          <a:p>
            <a:r>
              <a:rPr lang="en-US" sz="1000" dirty="0">
                <a:solidFill>
                  <a:schemeClr val="tx1"/>
                </a:solidFill>
              </a:rPr>
              <a:t>in the</a:t>
            </a:r>
          </a:p>
          <a:p>
            <a:r>
              <a:rPr lang="en-US" sz="1000" b="1" dirty="0">
                <a:solidFill>
                  <a:schemeClr val="tx1"/>
                </a:solidFill>
              </a:rPr>
              <a:t>Identifier columns</a:t>
            </a:r>
          </a:p>
        </p:txBody>
      </p:sp>
      <p:sp>
        <p:nvSpPr>
          <p:cNvPr id="255" name="Rechteck 254"/>
          <p:cNvSpPr/>
          <p:nvPr/>
        </p:nvSpPr>
        <p:spPr>
          <a:xfrm>
            <a:off x="133225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inal Table</a:t>
            </a:r>
          </a:p>
        </p:txBody>
      </p:sp>
      <p:sp>
        <p:nvSpPr>
          <p:cNvPr id="345" name="Rechteck 344"/>
          <p:cNvSpPr/>
          <p:nvPr/>
        </p:nvSpPr>
        <p:spPr>
          <a:xfrm>
            <a:off x="3059970" y="7389080"/>
            <a:ext cx="432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059970" y="75331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p:cNvSpPr/>
          <p:nvPr/>
        </p:nvSpPr>
        <p:spPr>
          <a:xfrm>
            <a:off x="3059970" y="782114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p:cNvSpPr/>
          <p:nvPr/>
        </p:nvSpPr>
        <p:spPr>
          <a:xfrm>
            <a:off x="3059970" y="80371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3059970" y="7533100"/>
            <a:ext cx="432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3059410" y="875727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320396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6" name="Rechteck 405"/>
          <p:cNvSpPr/>
          <p:nvPr/>
        </p:nvSpPr>
        <p:spPr>
          <a:xfrm>
            <a:off x="334798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320396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334798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3203400" y="875727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3347420" y="875727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6876000" y="7893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he columns which exist</a:t>
            </a:r>
          </a:p>
          <a:p>
            <a:r>
              <a:rPr lang="en-US" sz="1000" dirty="0">
                <a:solidFill>
                  <a:schemeClr val="tx1"/>
                </a:solidFill>
              </a:rPr>
              <a:t>in the destination table</a:t>
            </a:r>
          </a:p>
          <a:p>
            <a:r>
              <a:rPr lang="en-US" sz="1000" dirty="0">
                <a:solidFill>
                  <a:schemeClr val="tx1"/>
                </a:solidFill>
              </a:rPr>
              <a:t>only (+ identifier columns)</a:t>
            </a:r>
          </a:p>
          <a:p>
            <a:r>
              <a:rPr lang="en-US" sz="1000" dirty="0">
                <a:solidFill>
                  <a:schemeClr val="tx1"/>
                </a:solidFill>
              </a:rPr>
              <a:t>will be kept.</a:t>
            </a:r>
          </a:p>
        </p:txBody>
      </p:sp>
      <p:sp>
        <p:nvSpPr>
          <p:cNvPr id="431" name="Rechteck 430"/>
          <p:cNvSpPr/>
          <p:nvPr/>
        </p:nvSpPr>
        <p:spPr>
          <a:xfrm>
            <a:off x="5220000" y="7389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mbining rows:</a:t>
            </a:r>
            <a:br>
              <a:rPr lang="en-US" sz="1000" dirty="0">
                <a:solidFill>
                  <a:schemeClr val="tx1"/>
                </a:solidFill>
              </a:rPr>
            </a:br>
            <a:r>
              <a:rPr lang="en-US" sz="1000" dirty="0">
                <a:solidFill>
                  <a:schemeClr val="tx1"/>
                </a:solidFill>
              </a:rPr>
              <a:t>See above.</a:t>
            </a:r>
          </a:p>
        </p:txBody>
      </p:sp>
      <p:sp>
        <p:nvSpPr>
          <p:cNvPr id="357" name="Rechteck 356"/>
          <p:cNvSpPr/>
          <p:nvPr/>
        </p:nvSpPr>
        <p:spPr>
          <a:xfrm>
            <a:off x="1331640" y="1773000"/>
            <a:ext cx="144020" cy="28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1331640" y="2061000"/>
            <a:ext cx="144020" cy="216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331640" y="2277000"/>
            <a:ext cx="144020" cy="216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1331640" y="2493000"/>
            <a:ext cx="144020" cy="216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1331640" y="3213000"/>
            <a:ext cx="144020" cy="144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3" name="Rechteck 442"/>
          <p:cNvSpPr/>
          <p:nvPr/>
        </p:nvSpPr>
        <p:spPr>
          <a:xfrm>
            <a:off x="1331640" y="2709000"/>
            <a:ext cx="144020" cy="288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1" name="Rechteck 450"/>
          <p:cNvSpPr/>
          <p:nvPr/>
        </p:nvSpPr>
        <p:spPr>
          <a:xfrm>
            <a:off x="1331640" y="3069000"/>
            <a:ext cx="144020" cy="14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1331640" y="299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331640" y="3357000"/>
            <a:ext cx="14402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57" name="Geschweifte Klammer rechts 556"/>
          <p:cNvSpPr/>
          <p:nvPr/>
        </p:nvSpPr>
        <p:spPr>
          <a:xfrm>
            <a:off x="2556250" y="1341320"/>
            <a:ext cx="432000" cy="2159680"/>
          </a:xfrm>
          <a:prstGeom prst="rightBrace">
            <a:avLst>
              <a:gd name="adj1" fmla="val 8333"/>
              <a:gd name="adj2" fmla="val 1756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558" name="Rechteck 557"/>
          <p:cNvSpPr/>
          <p:nvPr/>
        </p:nvSpPr>
        <p:spPr>
          <a:xfrm>
            <a:off x="3203640" y="1341000"/>
            <a:ext cx="1008750" cy="57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6" name="Rechteck 565"/>
          <p:cNvSpPr/>
          <p:nvPr/>
        </p:nvSpPr>
        <p:spPr>
          <a:xfrm>
            <a:off x="3203640" y="1485000"/>
            <a:ext cx="144020" cy="72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3" name="Rechteck 572"/>
          <p:cNvSpPr/>
          <p:nvPr/>
        </p:nvSpPr>
        <p:spPr>
          <a:xfrm>
            <a:off x="3203640" y="1485000"/>
            <a:ext cx="100814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4" name="Gerade Verbindung 211"/>
          <p:cNvCxnSpPr/>
          <p:nvPr/>
        </p:nvCxnSpPr>
        <p:spPr>
          <a:xfrm>
            <a:off x="3203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3203640" y="155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0" name="Rechteck 589"/>
          <p:cNvSpPr/>
          <p:nvPr/>
        </p:nvSpPr>
        <p:spPr>
          <a:xfrm>
            <a:off x="3203640" y="1629000"/>
            <a:ext cx="144020" cy="72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8" name="Rechteck 597"/>
          <p:cNvSpPr/>
          <p:nvPr/>
        </p:nvSpPr>
        <p:spPr>
          <a:xfrm>
            <a:off x="3203640" y="1701000"/>
            <a:ext cx="144020" cy="72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06" name="Rechteck 605"/>
          <p:cNvSpPr/>
          <p:nvPr/>
        </p:nvSpPr>
        <p:spPr>
          <a:xfrm>
            <a:off x="3203640" y="1773000"/>
            <a:ext cx="144020" cy="72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4" name="Rechteck 613"/>
          <p:cNvSpPr/>
          <p:nvPr/>
        </p:nvSpPr>
        <p:spPr>
          <a:xfrm>
            <a:off x="3203640" y="1845000"/>
            <a:ext cx="14402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5" name="Rechteck 614"/>
          <p:cNvSpPr/>
          <p:nvPr/>
        </p:nvSpPr>
        <p:spPr>
          <a:xfrm>
            <a:off x="143508"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nsolidate(), table consolidate selected rows() </a:t>
            </a:r>
          </a:p>
        </p:txBody>
      </p:sp>
      <p:sp>
        <p:nvSpPr>
          <p:cNvPr id="617" name="Rechteck 616"/>
          <p:cNvSpPr/>
          <p:nvPr/>
        </p:nvSpPr>
        <p:spPr>
          <a:xfrm>
            <a:off x="1475640" y="1772816"/>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8" name="Rechteck 617"/>
          <p:cNvSpPr/>
          <p:nvPr/>
        </p:nvSpPr>
        <p:spPr>
          <a:xfrm>
            <a:off x="1475640" y="2060848"/>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9" name="Rechteck 618"/>
          <p:cNvSpPr/>
          <p:nvPr/>
        </p:nvSpPr>
        <p:spPr>
          <a:xfrm>
            <a:off x="1475640" y="2276872"/>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0" name="Rechteck 619"/>
          <p:cNvSpPr/>
          <p:nvPr/>
        </p:nvSpPr>
        <p:spPr>
          <a:xfrm>
            <a:off x="1475640" y="2492896"/>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1" name="Rechteck 620"/>
          <p:cNvSpPr/>
          <p:nvPr/>
        </p:nvSpPr>
        <p:spPr>
          <a:xfrm>
            <a:off x="1475640" y="2708920"/>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2" name="Rechteck 621"/>
          <p:cNvSpPr/>
          <p:nvPr/>
        </p:nvSpPr>
        <p:spPr>
          <a:xfrm>
            <a:off x="1475640" y="2996952"/>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3" name="Rechteck 622"/>
          <p:cNvSpPr/>
          <p:nvPr/>
        </p:nvSpPr>
        <p:spPr>
          <a:xfrm>
            <a:off x="1475640" y="3068960"/>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4" name="Rechteck 623"/>
          <p:cNvSpPr/>
          <p:nvPr/>
        </p:nvSpPr>
        <p:spPr>
          <a:xfrm>
            <a:off x="1475640" y="3212976"/>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5" name="Rechteck 624"/>
          <p:cNvSpPr/>
          <p:nvPr/>
        </p:nvSpPr>
        <p:spPr>
          <a:xfrm>
            <a:off x="1475640" y="3356992"/>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9" name="Rechteck 628"/>
          <p:cNvSpPr/>
          <p:nvPr/>
        </p:nvSpPr>
        <p:spPr>
          <a:xfrm>
            <a:off x="3347640" y="1557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0" name="Rechteck 629"/>
          <p:cNvSpPr/>
          <p:nvPr/>
        </p:nvSpPr>
        <p:spPr>
          <a:xfrm>
            <a:off x="3347640" y="1629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1" name="Rechteck 630"/>
          <p:cNvSpPr/>
          <p:nvPr/>
        </p:nvSpPr>
        <p:spPr>
          <a:xfrm>
            <a:off x="3347640" y="1701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2" name="Rechteck 631"/>
          <p:cNvSpPr/>
          <p:nvPr/>
        </p:nvSpPr>
        <p:spPr>
          <a:xfrm>
            <a:off x="3347640" y="1773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3" name="Rechteck 632"/>
          <p:cNvSpPr/>
          <p:nvPr/>
        </p:nvSpPr>
        <p:spPr>
          <a:xfrm>
            <a:off x="3347640" y="184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34" name="Gerade Verbindung mit Pfeil 633"/>
          <p:cNvCxnSpPr/>
          <p:nvPr/>
        </p:nvCxnSpPr>
        <p:spPr>
          <a:xfrm flipV="1">
            <a:off x="1403640" y="3573000"/>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5" name="Rechteck 634"/>
          <p:cNvSpPr/>
          <p:nvPr/>
        </p:nvSpPr>
        <p:spPr>
          <a:xfrm>
            <a:off x="1403640" y="364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Identifier columns</a:t>
            </a:r>
            <a:r>
              <a:rPr lang="en-US" sz="1000" dirty="0">
                <a:solidFill>
                  <a:schemeClr val="tx1"/>
                </a:solidFill>
              </a:rPr>
              <a:t> (Parameter 2 in table consolidate, parameter 3 table consolidate selected rows)</a:t>
            </a:r>
          </a:p>
        </p:txBody>
      </p:sp>
      <p:sp>
        <p:nvSpPr>
          <p:cNvPr id="636" name="Rechteck 635"/>
          <p:cNvSpPr/>
          <p:nvPr/>
        </p:nvSpPr>
        <p:spPr>
          <a:xfrm>
            <a:off x="1475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7" name="Rechteck 636"/>
          <p:cNvSpPr/>
          <p:nvPr/>
        </p:nvSpPr>
        <p:spPr>
          <a:xfrm>
            <a:off x="493164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8" name="Geschweifte Klammer rechts 637"/>
          <p:cNvSpPr/>
          <p:nvPr/>
        </p:nvSpPr>
        <p:spPr>
          <a:xfrm>
            <a:off x="2699640" y="4869088"/>
            <a:ext cx="432000" cy="1080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cxnSp>
        <p:nvCxnSpPr>
          <p:cNvPr id="11" name="Gerader Verbinder 10"/>
          <p:cNvCxnSpPr/>
          <p:nvPr/>
        </p:nvCxnSpPr>
        <p:spPr>
          <a:xfrm>
            <a:off x="1475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9" name="Rechteck 638"/>
          <p:cNvSpPr/>
          <p:nvPr/>
        </p:nvSpPr>
        <p:spPr>
          <a:xfrm>
            <a:off x="1475640" y="5301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0" name="Rechteck 639"/>
          <p:cNvSpPr/>
          <p:nvPr/>
        </p:nvSpPr>
        <p:spPr>
          <a:xfrm>
            <a:off x="1475640" y="5517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1" name="Rechteck 640"/>
          <p:cNvSpPr/>
          <p:nvPr/>
        </p:nvSpPr>
        <p:spPr>
          <a:xfrm>
            <a:off x="1475640" y="5877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2" name="Rechteck 641"/>
          <p:cNvSpPr/>
          <p:nvPr/>
        </p:nvSpPr>
        <p:spPr>
          <a:xfrm>
            <a:off x="1331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3" name="Rechteck 642"/>
          <p:cNvSpPr/>
          <p:nvPr/>
        </p:nvSpPr>
        <p:spPr>
          <a:xfrm>
            <a:off x="1331640" y="5301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4" name="Rechteck 643"/>
          <p:cNvSpPr/>
          <p:nvPr/>
        </p:nvSpPr>
        <p:spPr>
          <a:xfrm>
            <a:off x="1331640" y="5517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5" name="Rechteck 644"/>
          <p:cNvSpPr/>
          <p:nvPr/>
        </p:nvSpPr>
        <p:spPr>
          <a:xfrm>
            <a:off x="1331640" y="5877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6" name="Rechteck 645"/>
          <p:cNvSpPr/>
          <p:nvPr/>
        </p:nvSpPr>
        <p:spPr>
          <a:xfrm>
            <a:off x="478764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7" name="Rechteck 646"/>
          <p:cNvSpPr/>
          <p:nvPr/>
        </p:nvSpPr>
        <p:spPr>
          <a:xfrm>
            <a:off x="1331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Detail:</a:t>
            </a:r>
          </a:p>
        </p:txBody>
      </p:sp>
      <p:sp>
        <p:nvSpPr>
          <p:cNvPr id="648" name="Rechteck 647"/>
          <p:cNvSpPr/>
          <p:nvPr/>
        </p:nvSpPr>
        <p:spPr>
          <a:xfrm>
            <a:off x="108000" y="4581088"/>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tching rows</a:t>
            </a:r>
          </a:p>
          <a:p>
            <a:r>
              <a:rPr lang="en-US" sz="1000" dirty="0">
                <a:solidFill>
                  <a:schemeClr val="tx1"/>
                </a:solidFill>
              </a:rPr>
              <a:t>may be scattered</a:t>
            </a:r>
          </a:p>
          <a:p>
            <a:r>
              <a:rPr lang="en-US" sz="1000" dirty="0">
                <a:solidFill>
                  <a:schemeClr val="tx1"/>
                </a:solidFill>
              </a:rPr>
              <a:t>across the entire</a:t>
            </a:r>
          </a:p>
          <a:p>
            <a:r>
              <a:rPr lang="en-US" sz="1000" dirty="0">
                <a:solidFill>
                  <a:schemeClr val="tx1"/>
                </a:solidFill>
              </a:rPr>
              <a:t>table.</a:t>
            </a:r>
          </a:p>
          <a:p>
            <a:endParaRPr lang="en-US" sz="1000" dirty="0">
              <a:solidFill>
                <a:schemeClr val="tx1"/>
              </a:solidFill>
            </a:endParaRPr>
          </a:p>
          <a:p>
            <a:r>
              <a:rPr lang="en-US" sz="1000" dirty="0">
                <a:solidFill>
                  <a:schemeClr val="tx1"/>
                </a:solidFill>
              </a:rPr>
              <a:t>No adjacency</a:t>
            </a:r>
          </a:p>
          <a:p>
            <a:r>
              <a:rPr lang="en-US" sz="1000" dirty="0">
                <a:solidFill>
                  <a:schemeClr val="tx1"/>
                </a:solidFill>
              </a:rPr>
              <a:t>requirements</a:t>
            </a:r>
          </a:p>
          <a:p>
            <a:r>
              <a:rPr lang="en-US" sz="1000" dirty="0">
                <a:solidFill>
                  <a:schemeClr val="tx1"/>
                </a:solidFill>
              </a:rPr>
              <a:t>apply.</a:t>
            </a:r>
          </a:p>
        </p:txBody>
      </p:sp>
      <p:sp>
        <p:nvSpPr>
          <p:cNvPr id="649" name="Rechteck 648"/>
          <p:cNvSpPr/>
          <p:nvPr/>
        </p:nvSpPr>
        <p:spPr>
          <a:xfrm>
            <a:off x="147627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50" name="Rechteck 649"/>
          <p:cNvSpPr/>
          <p:nvPr/>
        </p:nvSpPr>
        <p:spPr>
          <a:xfrm>
            <a:off x="1331640" y="4509088"/>
            <a:ext cx="1008750" cy="158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51" name="Gerade Verbindung 211"/>
          <p:cNvCxnSpPr/>
          <p:nvPr/>
        </p:nvCxnSpPr>
        <p:spPr>
          <a:xfrm>
            <a:off x="133164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2" name="Gerade Verbindung mit Pfeil 651"/>
          <p:cNvCxnSpPr/>
          <p:nvPr/>
        </p:nvCxnSpPr>
        <p:spPr>
          <a:xfrm flipH="1">
            <a:off x="2339640" y="4509088"/>
            <a:ext cx="14400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3" name="Rechteck 652"/>
          <p:cNvSpPr/>
          <p:nvPr/>
        </p:nvSpPr>
        <p:spPr>
          <a:xfrm>
            <a:off x="2555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Top row = Destination row</a:t>
            </a:r>
            <a:r>
              <a:rPr lang="en-US" sz="1000" dirty="0">
                <a:solidFill>
                  <a:schemeClr val="tx1"/>
                </a:solidFill>
              </a:rPr>
              <a:t>.  All rows below are source rows. </a:t>
            </a:r>
          </a:p>
          <a:p>
            <a:r>
              <a:rPr lang="en-US" sz="1000" dirty="0">
                <a:solidFill>
                  <a:schemeClr val="tx1"/>
                </a:solidFill>
              </a:rPr>
              <a:t>Contents will be consolidated into the destination row</a:t>
            </a:r>
            <a:br>
              <a:rPr lang="en-US" sz="1000" dirty="0">
                <a:solidFill>
                  <a:schemeClr val="tx1"/>
                </a:solidFill>
              </a:rPr>
            </a:br>
            <a:r>
              <a:rPr lang="en-US" sz="1000" dirty="0">
                <a:solidFill>
                  <a:schemeClr val="tx1"/>
                </a:solidFill>
              </a:rPr>
              <a:t>according to specified </a:t>
            </a:r>
            <a:r>
              <a:rPr lang="en-US" sz="1000" b="1" dirty="0">
                <a:solidFill>
                  <a:schemeClr val="tx1"/>
                </a:solidFill>
              </a:rPr>
              <a:t>consolidation actions</a:t>
            </a:r>
            <a:r>
              <a:rPr lang="en-US" sz="1000" dirty="0">
                <a:solidFill>
                  <a:schemeClr val="tx1"/>
                </a:solidFill>
              </a:rPr>
              <a:t>.</a:t>
            </a:r>
          </a:p>
        </p:txBody>
      </p:sp>
      <p:sp>
        <p:nvSpPr>
          <p:cNvPr id="654" name="Rechteck 653"/>
          <p:cNvSpPr/>
          <p:nvPr/>
        </p:nvSpPr>
        <p:spPr>
          <a:xfrm>
            <a:off x="4247964" y="1304764"/>
            <a:ext cx="3888432" cy="9001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he original data contains n groups of rows with common data in</a:t>
            </a:r>
          </a:p>
          <a:p>
            <a:r>
              <a:rPr lang="en-US" sz="1000" dirty="0">
                <a:solidFill>
                  <a:schemeClr val="tx1"/>
                </a:solidFill>
              </a:rPr>
              <a:t>the identifier columns.</a:t>
            </a:r>
          </a:p>
          <a:p>
            <a:endParaRPr lang="en-US" sz="1000" dirty="0">
              <a:solidFill>
                <a:schemeClr val="tx1"/>
              </a:solidFill>
            </a:endParaRPr>
          </a:p>
          <a:p>
            <a:r>
              <a:rPr lang="en-US" sz="1000" dirty="0">
                <a:solidFill>
                  <a:schemeClr val="tx1"/>
                </a:solidFill>
              </a:rPr>
              <a:t>table consolidate(...) reduces them to 1 row per group.</a:t>
            </a:r>
          </a:p>
          <a:p>
            <a:r>
              <a:rPr lang="en-US" sz="1000" dirty="0">
                <a:solidFill>
                  <a:schemeClr val="tx1"/>
                </a:solidFill>
              </a:rPr>
              <a:t>The destination table contains n rows.</a:t>
            </a:r>
          </a:p>
        </p:txBody>
      </p:sp>
      <p:sp>
        <p:nvSpPr>
          <p:cNvPr id="655" name="Rechteck 654"/>
          <p:cNvSpPr/>
          <p:nvPr/>
        </p:nvSpPr>
        <p:spPr>
          <a:xfrm>
            <a:off x="4787640" y="5013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the last step,</a:t>
            </a:r>
            <a:br>
              <a:rPr lang="en-US" sz="1000" dirty="0">
                <a:solidFill>
                  <a:schemeClr val="tx1"/>
                </a:solidFill>
              </a:rPr>
            </a:br>
            <a:r>
              <a:rPr lang="en-US" sz="1000" dirty="0">
                <a:solidFill>
                  <a:schemeClr val="tx1"/>
                </a:solidFill>
              </a:rPr>
              <a:t>all redundant rows</a:t>
            </a:r>
          </a:p>
          <a:p>
            <a:r>
              <a:rPr lang="en-US" sz="1000" dirty="0">
                <a:solidFill>
                  <a:schemeClr val="tx1"/>
                </a:solidFill>
              </a:rPr>
              <a:t>will be deleted.</a:t>
            </a:r>
          </a:p>
        </p:txBody>
      </p:sp>
      <p:sp>
        <p:nvSpPr>
          <p:cNvPr id="84" name="Rechteck 83"/>
          <p:cNvSpPr/>
          <p:nvPr/>
        </p:nvSpPr>
        <p:spPr>
          <a:xfrm>
            <a:off x="3347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5" name="Gerader Verbinder 84"/>
          <p:cNvCxnSpPr/>
          <p:nvPr/>
        </p:nvCxnSpPr>
        <p:spPr>
          <a:xfrm>
            <a:off x="3347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6" name="Rechteck 85"/>
          <p:cNvSpPr/>
          <p:nvPr/>
        </p:nvSpPr>
        <p:spPr>
          <a:xfrm>
            <a:off x="3203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3347640" y="5157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3203640" y="5157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9" name="Rechteck 88"/>
          <p:cNvSpPr/>
          <p:nvPr/>
        </p:nvSpPr>
        <p:spPr>
          <a:xfrm>
            <a:off x="3347640" y="5301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p:cNvSpPr/>
          <p:nvPr/>
        </p:nvSpPr>
        <p:spPr>
          <a:xfrm>
            <a:off x="3203640" y="5301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3347640" y="5589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p:cNvSpPr/>
          <p:nvPr/>
        </p:nvSpPr>
        <p:spPr>
          <a:xfrm>
            <a:off x="3203640" y="5589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3" name="Gerade Verbindung mit Pfeil 92"/>
          <p:cNvCxnSpPr/>
          <p:nvPr/>
        </p:nvCxnSpPr>
        <p:spPr>
          <a:xfrm flipV="1">
            <a:off x="3491640" y="494108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flipV="1">
            <a:off x="3563640" y="4941088"/>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V="1">
            <a:off x="3635640" y="4941088"/>
            <a:ext cx="0" cy="432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p:nvPr/>
        </p:nvCxnSpPr>
        <p:spPr>
          <a:xfrm flipV="1">
            <a:off x="3707640" y="4941088"/>
            <a:ext cx="0" cy="576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Gerade Verbindung mit Pfeil 102"/>
          <p:cNvCxnSpPr/>
          <p:nvPr/>
        </p:nvCxnSpPr>
        <p:spPr>
          <a:xfrm flipV="1">
            <a:off x="3779640" y="4941088"/>
            <a:ext cx="0" cy="6861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Geschweifte Klammer rechts 104"/>
          <p:cNvSpPr/>
          <p:nvPr/>
        </p:nvSpPr>
        <p:spPr>
          <a:xfrm>
            <a:off x="4283640" y="4869088"/>
            <a:ext cx="432000" cy="864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7" name="Rechteck 116"/>
          <p:cNvSpPr/>
          <p:nvPr/>
        </p:nvSpPr>
        <p:spPr>
          <a:xfrm>
            <a:off x="629952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118" name="Rechteck 117"/>
          <p:cNvSpPr/>
          <p:nvPr/>
        </p:nvSpPr>
        <p:spPr>
          <a:xfrm>
            <a:off x="6154890" y="4509088"/>
            <a:ext cx="1008750" cy="864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9" name="Gerade Verbindung 211"/>
          <p:cNvCxnSpPr/>
          <p:nvPr/>
        </p:nvCxnSpPr>
        <p:spPr>
          <a:xfrm>
            <a:off x="615489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120" name="Rechteck 119"/>
          <p:cNvSpPr/>
          <p:nvPr/>
        </p:nvSpPr>
        <p:spPr>
          <a:xfrm>
            <a:off x="629952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p:cNvSpPr/>
          <p:nvPr/>
        </p:nvSpPr>
        <p:spPr>
          <a:xfrm>
            <a:off x="615552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6155640" y="5445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nsolidation will</a:t>
            </a:r>
          </a:p>
          <a:p>
            <a:r>
              <a:rPr lang="en-US" sz="1000" dirty="0">
                <a:solidFill>
                  <a:schemeClr val="tx1"/>
                </a:solidFill>
              </a:rPr>
              <a:t>continue with the</a:t>
            </a:r>
          </a:p>
          <a:p>
            <a:r>
              <a:rPr lang="en-US" sz="1000" dirty="0">
                <a:solidFill>
                  <a:schemeClr val="tx1"/>
                </a:solidFill>
              </a:rPr>
              <a:t>remaining rows.</a:t>
            </a:r>
          </a:p>
        </p:txBody>
      </p:sp>
      <p:sp>
        <p:nvSpPr>
          <p:cNvPr id="106" name="Rechteck 105">
            <a:extLst>
              <a:ext uri="{FF2B5EF4-FFF2-40B4-BE49-F238E27FC236}">
                <a16:creationId xmlns:a16="http://schemas.microsoft.com/office/drawing/2014/main" id="{21DF2375-D1D8-42F4-A3D9-EFAD218345BB}"/>
              </a:ext>
            </a:extLst>
          </p:cNvPr>
          <p:cNvSpPr/>
          <p:nvPr/>
        </p:nvSpPr>
        <p:spPr>
          <a:xfrm>
            <a:off x="1835328" y="1484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a:extLst>
              <a:ext uri="{FF2B5EF4-FFF2-40B4-BE49-F238E27FC236}">
                <a16:creationId xmlns:a16="http://schemas.microsoft.com/office/drawing/2014/main" id="{9DC1956A-439A-4D18-B46A-F5E30D5CF9DC}"/>
              </a:ext>
            </a:extLst>
          </p:cNvPr>
          <p:cNvSpPr/>
          <p:nvPr/>
        </p:nvSpPr>
        <p:spPr>
          <a:xfrm>
            <a:off x="1835328" y="1772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9F8B5C72-1D3C-4389-AD31-8898FECBA0AD}"/>
              </a:ext>
            </a:extLst>
          </p:cNvPr>
          <p:cNvSpPr/>
          <p:nvPr/>
        </p:nvSpPr>
        <p:spPr>
          <a:xfrm>
            <a:off x="1835328" y="2060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a:extLst>
              <a:ext uri="{FF2B5EF4-FFF2-40B4-BE49-F238E27FC236}">
                <a16:creationId xmlns:a16="http://schemas.microsoft.com/office/drawing/2014/main" id="{22CA5967-9D91-49A8-9E4C-EBA5E8B3D570}"/>
              </a:ext>
            </a:extLst>
          </p:cNvPr>
          <p:cNvSpPr/>
          <p:nvPr/>
        </p:nvSpPr>
        <p:spPr>
          <a:xfrm>
            <a:off x="1835328" y="2276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a:extLst>
              <a:ext uri="{FF2B5EF4-FFF2-40B4-BE49-F238E27FC236}">
                <a16:creationId xmlns:a16="http://schemas.microsoft.com/office/drawing/2014/main" id="{5E133737-E45D-4180-9545-0A654CA20356}"/>
              </a:ext>
            </a:extLst>
          </p:cNvPr>
          <p:cNvSpPr/>
          <p:nvPr/>
        </p:nvSpPr>
        <p:spPr>
          <a:xfrm>
            <a:off x="1835328" y="2492896"/>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C463C8EC-A6F3-4FED-83F9-BE65483F621C}"/>
              </a:ext>
            </a:extLst>
          </p:cNvPr>
          <p:cNvSpPr/>
          <p:nvPr/>
        </p:nvSpPr>
        <p:spPr>
          <a:xfrm>
            <a:off x="1835328" y="3212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8AA97FFF-5929-4412-A3C3-522366ADF389}"/>
              </a:ext>
            </a:extLst>
          </p:cNvPr>
          <p:cNvSpPr/>
          <p:nvPr/>
        </p:nvSpPr>
        <p:spPr>
          <a:xfrm>
            <a:off x="1835328" y="2708920"/>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a:extLst>
              <a:ext uri="{FF2B5EF4-FFF2-40B4-BE49-F238E27FC236}">
                <a16:creationId xmlns:a16="http://schemas.microsoft.com/office/drawing/2014/main" id="{F734A639-8CC0-4B78-B39B-F6BD7C0A311B}"/>
              </a:ext>
            </a:extLst>
          </p:cNvPr>
          <p:cNvSpPr/>
          <p:nvPr/>
        </p:nvSpPr>
        <p:spPr>
          <a:xfrm>
            <a:off x="1835328" y="3068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4" name="Rechteck 113">
            <a:extLst>
              <a:ext uri="{FF2B5EF4-FFF2-40B4-BE49-F238E27FC236}">
                <a16:creationId xmlns:a16="http://schemas.microsoft.com/office/drawing/2014/main" id="{540D8D65-E427-4FF0-9BC4-41F0847714DF}"/>
              </a:ext>
            </a:extLst>
          </p:cNvPr>
          <p:cNvSpPr/>
          <p:nvPr/>
        </p:nvSpPr>
        <p:spPr>
          <a:xfrm>
            <a:off x="1835328" y="2996784"/>
            <a:ext cx="216024"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E45A4DA0-9D05-496E-988E-4E82C00023F6}"/>
              </a:ext>
            </a:extLst>
          </p:cNvPr>
          <p:cNvSpPr/>
          <p:nvPr/>
        </p:nvSpPr>
        <p:spPr>
          <a:xfrm>
            <a:off x="1835328" y="3356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F7F41EBF-5A52-40D4-81A9-A230A2E08EE3}"/>
              </a:ext>
            </a:extLst>
          </p:cNvPr>
          <p:cNvSpPr/>
          <p:nvPr/>
        </p:nvSpPr>
        <p:spPr>
          <a:xfrm>
            <a:off x="2123360" y="1484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0F04BA31-646E-4598-934A-D2D6449F6F9B}"/>
              </a:ext>
            </a:extLst>
          </p:cNvPr>
          <p:cNvSpPr/>
          <p:nvPr/>
        </p:nvSpPr>
        <p:spPr>
          <a:xfrm>
            <a:off x="2123360" y="1772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a:extLst>
              <a:ext uri="{FF2B5EF4-FFF2-40B4-BE49-F238E27FC236}">
                <a16:creationId xmlns:a16="http://schemas.microsoft.com/office/drawing/2014/main" id="{62EFF2AD-80EE-4754-B4D7-C85DC40EF188}"/>
              </a:ext>
            </a:extLst>
          </p:cNvPr>
          <p:cNvSpPr/>
          <p:nvPr/>
        </p:nvSpPr>
        <p:spPr>
          <a:xfrm>
            <a:off x="2123360" y="2060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F7F50782-BE94-4A10-8B3E-93AE70310B57}"/>
              </a:ext>
            </a:extLst>
          </p:cNvPr>
          <p:cNvSpPr/>
          <p:nvPr/>
        </p:nvSpPr>
        <p:spPr>
          <a:xfrm>
            <a:off x="2123360" y="2276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C96D5F1D-7109-4846-9039-9BA336F6A5C7}"/>
              </a:ext>
            </a:extLst>
          </p:cNvPr>
          <p:cNvSpPr/>
          <p:nvPr/>
        </p:nvSpPr>
        <p:spPr>
          <a:xfrm>
            <a:off x="2123360" y="2492960"/>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8673B8C1-2C85-4EDF-B727-5D9967B00DF9}"/>
              </a:ext>
            </a:extLst>
          </p:cNvPr>
          <p:cNvSpPr/>
          <p:nvPr/>
        </p:nvSpPr>
        <p:spPr>
          <a:xfrm>
            <a:off x="2123360" y="3212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9" name="Rechteck 128">
            <a:extLst>
              <a:ext uri="{FF2B5EF4-FFF2-40B4-BE49-F238E27FC236}">
                <a16:creationId xmlns:a16="http://schemas.microsoft.com/office/drawing/2014/main" id="{0ED54C05-88E1-456D-A093-FBDD1FDBED12}"/>
              </a:ext>
            </a:extLst>
          </p:cNvPr>
          <p:cNvSpPr/>
          <p:nvPr/>
        </p:nvSpPr>
        <p:spPr>
          <a:xfrm>
            <a:off x="2123360" y="2708984"/>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ADA8B0F6-C63E-4F58-A4AB-FC3C34F537AE}"/>
              </a:ext>
            </a:extLst>
          </p:cNvPr>
          <p:cNvSpPr/>
          <p:nvPr/>
        </p:nvSpPr>
        <p:spPr>
          <a:xfrm>
            <a:off x="2123360" y="3068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a:extLst>
              <a:ext uri="{FF2B5EF4-FFF2-40B4-BE49-F238E27FC236}">
                <a16:creationId xmlns:a16="http://schemas.microsoft.com/office/drawing/2014/main" id="{7143B389-5311-462E-ADBC-D5A2E10F2A5A}"/>
              </a:ext>
            </a:extLst>
          </p:cNvPr>
          <p:cNvSpPr/>
          <p:nvPr/>
        </p:nvSpPr>
        <p:spPr>
          <a:xfrm>
            <a:off x="2123360" y="2996848"/>
            <a:ext cx="72008"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EE9487E0-56F9-4D72-97C4-8518227452FB}"/>
              </a:ext>
            </a:extLst>
          </p:cNvPr>
          <p:cNvSpPr/>
          <p:nvPr/>
        </p:nvSpPr>
        <p:spPr>
          <a:xfrm>
            <a:off x="2123360" y="3356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4C0D231E-DD9C-45BD-AC11-587677E8FF2F}"/>
              </a:ext>
            </a:extLst>
          </p:cNvPr>
          <p:cNvSpPr/>
          <p:nvPr/>
        </p:nvSpPr>
        <p:spPr>
          <a:xfrm>
            <a:off x="3671532" y="148478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F5EA14D0-3FE7-4A99-AA8A-81F539EC358D}"/>
              </a:ext>
            </a:extLst>
          </p:cNvPr>
          <p:cNvSpPr/>
          <p:nvPr/>
        </p:nvSpPr>
        <p:spPr>
          <a:xfrm>
            <a:off x="3959564" y="148484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a:extLst>
              <a:ext uri="{FF2B5EF4-FFF2-40B4-BE49-F238E27FC236}">
                <a16:creationId xmlns:a16="http://schemas.microsoft.com/office/drawing/2014/main" id="{D48644E1-D330-4833-BC28-158852A29AF1}"/>
              </a:ext>
            </a:extLst>
          </p:cNvPr>
          <p:cNvSpPr/>
          <p:nvPr/>
        </p:nvSpPr>
        <p:spPr>
          <a:xfrm>
            <a:off x="1835328"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17FC7D8-1C67-42B6-A625-AA9BEF7D92F7}"/>
              </a:ext>
            </a:extLst>
          </p:cNvPr>
          <p:cNvSpPr/>
          <p:nvPr/>
        </p:nvSpPr>
        <p:spPr>
          <a:xfrm>
            <a:off x="2123360"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4373C62B-BB06-44CD-9912-A48BC715310F}"/>
              </a:ext>
            </a:extLst>
          </p:cNvPr>
          <p:cNvSpPr/>
          <p:nvPr/>
        </p:nvSpPr>
        <p:spPr>
          <a:xfrm>
            <a:off x="3671532"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68CBFF0-2AF4-4404-B11B-8A2CD56DE91D}"/>
              </a:ext>
            </a:extLst>
          </p:cNvPr>
          <p:cNvSpPr/>
          <p:nvPr/>
        </p:nvSpPr>
        <p:spPr>
          <a:xfrm>
            <a:off x="3959564"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A01D52D-EBE4-4CAA-98D0-E8BF031FADE8}"/>
              </a:ext>
            </a:extLst>
          </p:cNvPr>
          <p:cNvSpPr/>
          <p:nvPr/>
        </p:nvSpPr>
        <p:spPr>
          <a:xfrm>
            <a:off x="3671532" y="1556792"/>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09CBE7C8-C438-41FF-ACC9-F8F398B74BB5}"/>
              </a:ext>
            </a:extLst>
          </p:cNvPr>
          <p:cNvSpPr/>
          <p:nvPr/>
        </p:nvSpPr>
        <p:spPr>
          <a:xfrm>
            <a:off x="3959564" y="1556856"/>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76E86372-BBD9-4E55-B288-8F362F582BFD}"/>
              </a:ext>
            </a:extLst>
          </p:cNvPr>
          <p:cNvSpPr/>
          <p:nvPr/>
        </p:nvSpPr>
        <p:spPr>
          <a:xfrm>
            <a:off x="3671532" y="1628800"/>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a:extLst>
              <a:ext uri="{FF2B5EF4-FFF2-40B4-BE49-F238E27FC236}">
                <a16:creationId xmlns:a16="http://schemas.microsoft.com/office/drawing/2014/main" id="{AA467011-FAE6-42A8-90BD-8E5934F47065}"/>
              </a:ext>
            </a:extLst>
          </p:cNvPr>
          <p:cNvSpPr/>
          <p:nvPr/>
        </p:nvSpPr>
        <p:spPr>
          <a:xfrm>
            <a:off x="3959564" y="1628864"/>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65D76DB-C0AD-482E-B515-4DA4956CC605}"/>
              </a:ext>
            </a:extLst>
          </p:cNvPr>
          <p:cNvSpPr/>
          <p:nvPr/>
        </p:nvSpPr>
        <p:spPr>
          <a:xfrm>
            <a:off x="3671532" y="1700808"/>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E2A43066-4C49-4C0A-B22A-B7BA3B8457AA}"/>
              </a:ext>
            </a:extLst>
          </p:cNvPr>
          <p:cNvSpPr/>
          <p:nvPr/>
        </p:nvSpPr>
        <p:spPr>
          <a:xfrm>
            <a:off x="3959564" y="1700872"/>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E35594B6-853E-4E46-83A8-793124BD5A22}"/>
              </a:ext>
            </a:extLst>
          </p:cNvPr>
          <p:cNvSpPr/>
          <p:nvPr/>
        </p:nvSpPr>
        <p:spPr>
          <a:xfrm>
            <a:off x="3671532" y="1772816"/>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3FA3F4D8-D0CE-42A8-9D31-24281D8A3629}"/>
              </a:ext>
            </a:extLst>
          </p:cNvPr>
          <p:cNvSpPr/>
          <p:nvPr/>
        </p:nvSpPr>
        <p:spPr>
          <a:xfrm>
            <a:off x="3959564" y="1772880"/>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D7ECC241-C5E3-4F3D-A132-B5A5482C18FB}"/>
              </a:ext>
            </a:extLst>
          </p:cNvPr>
          <p:cNvSpPr/>
          <p:nvPr/>
        </p:nvSpPr>
        <p:spPr>
          <a:xfrm>
            <a:off x="3671532" y="184482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AE78C3BF-7A64-470A-9F45-1C330DB7849D}"/>
              </a:ext>
            </a:extLst>
          </p:cNvPr>
          <p:cNvSpPr/>
          <p:nvPr/>
        </p:nvSpPr>
        <p:spPr>
          <a:xfrm>
            <a:off x="3959564" y="184488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B95A361F-A58D-419A-A651-B76CED5A45F8}"/>
              </a:ext>
            </a:extLst>
          </p:cNvPr>
          <p:cNvSpPr/>
          <p:nvPr/>
        </p:nvSpPr>
        <p:spPr>
          <a:xfrm>
            <a:off x="3167844" y="112474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After consolidation</a:t>
            </a:r>
          </a:p>
        </p:txBody>
      </p:sp>
      <p:cxnSp>
        <p:nvCxnSpPr>
          <p:cNvPr id="151" name="Gerade Verbindung mit Pfeil 150">
            <a:extLst>
              <a:ext uri="{FF2B5EF4-FFF2-40B4-BE49-F238E27FC236}">
                <a16:creationId xmlns:a16="http://schemas.microsoft.com/office/drawing/2014/main" id="{6059F5F0-430F-4492-935C-DF1AAA16A5A5}"/>
              </a:ext>
            </a:extLst>
          </p:cNvPr>
          <p:cNvCxnSpPr>
            <a:cxnSpLocks/>
            <a:endCxn id="107" idx="3"/>
          </p:cNvCxnSpPr>
          <p:nvPr/>
        </p:nvCxnSpPr>
        <p:spPr>
          <a:xfrm flipH="1" flipV="1">
            <a:off x="2051352" y="1916784"/>
            <a:ext cx="1080488" cy="61211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Gerade Verbindung mit Pfeil 151">
            <a:extLst>
              <a:ext uri="{FF2B5EF4-FFF2-40B4-BE49-F238E27FC236}">
                <a16:creationId xmlns:a16="http://schemas.microsoft.com/office/drawing/2014/main" id="{1CA44F27-8E4E-495A-ABA6-B327962B0523}"/>
              </a:ext>
            </a:extLst>
          </p:cNvPr>
          <p:cNvCxnSpPr>
            <a:cxnSpLocks/>
          </p:cNvCxnSpPr>
          <p:nvPr/>
        </p:nvCxnSpPr>
        <p:spPr>
          <a:xfrm flipH="1" flipV="1">
            <a:off x="2195736" y="2312876"/>
            <a:ext cx="936104" cy="216024"/>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AFF2525A-D5DD-4E4C-979C-329D82B9ADAC}"/>
              </a:ext>
            </a:extLst>
          </p:cNvPr>
          <p:cNvSpPr/>
          <p:nvPr/>
        </p:nvSpPr>
        <p:spPr>
          <a:xfrm>
            <a:off x="3167844" y="2348880"/>
            <a:ext cx="4968552" cy="6120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lumns to consolidate</a:t>
            </a:r>
            <a:r>
              <a:rPr lang="en-US" sz="1000" dirty="0">
                <a:solidFill>
                  <a:schemeClr val="tx1"/>
                </a:solidFill>
              </a:rPr>
              <a:t> (Parameter 3 in table consolidate, resp. parameter 4 in</a:t>
            </a:r>
          </a:p>
          <a:p>
            <a:r>
              <a:rPr lang="en-US" sz="1000" dirty="0">
                <a:solidFill>
                  <a:schemeClr val="tx1"/>
                </a:solidFill>
              </a:rPr>
              <a:t>table consolidate selected rows): </a:t>
            </a:r>
            <a:r>
              <a:rPr lang="en-US" sz="1000" b="1" dirty="0">
                <a:solidFill>
                  <a:schemeClr val="tx1"/>
                </a:solidFill>
              </a:rPr>
              <a:t>Consolidation actions</a:t>
            </a:r>
            <a:r>
              <a:rPr lang="en-US" sz="1000" dirty="0">
                <a:solidFill>
                  <a:schemeClr val="tx1"/>
                </a:solidFill>
              </a:rPr>
              <a:t> are applied on all columns</a:t>
            </a:r>
          </a:p>
          <a:p>
            <a:r>
              <a:rPr lang="en-US" sz="1000" dirty="0">
                <a:solidFill>
                  <a:schemeClr val="tx1"/>
                </a:solidFill>
              </a:rPr>
              <a:t>using the corresponding consolidation actions specified in Parameter 5 (resp. 6).</a:t>
            </a:r>
          </a:p>
        </p:txBody>
      </p:sp>
    </p:spTree>
    <p:extLst>
      <p:ext uri="{BB962C8B-B14F-4D97-AF65-F5344CB8AC3E}">
        <p14:creationId xmlns:p14="http://schemas.microsoft.com/office/powerpoint/2010/main" val="42459134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25 </a:t>
            </a:r>
            <a:r>
              <a:rPr lang="de-CH" dirty="0" err="1"/>
              <a:t>ways</a:t>
            </a:r>
            <a:r>
              <a:rPr lang="de-CH" dirty="0"/>
              <a:t> </a:t>
            </a:r>
            <a:r>
              <a:rPr lang="de-CH" dirty="0" err="1"/>
              <a:t>to</a:t>
            </a:r>
            <a:r>
              <a:rPr lang="de-CH" dirty="0"/>
              <a:t> </a:t>
            </a:r>
            <a:r>
              <a:rPr lang="de-CH" dirty="0" err="1"/>
              <a:t>combine</a:t>
            </a:r>
            <a:r>
              <a:rPr lang="de-CH" dirty="0"/>
              <a:t> </a:t>
            </a:r>
            <a:r>
              <a:rPr lang="de-CH" dirty="0" err="1"/>
              <a:t>two</a:t>
            </a:r>
            <a:r>
              <a:rPr lang="de-CH" dirty="0"/>
              <a:t> </a:t>
            </a:r>
            <a:r>
              <a:rPr lang="de-CH" dirty="0" err="1"/>
              <a:t>tables</a:t>
            </a:r>
            <a:r>
              <a:rPr lang="de-CH" dirty="0"/>
              <a:t> </a:t>
            </a:r>
            <a:r>
              <a:rPr lang="de-CH" dirty="0" err="1"/>
              <a:t>into</a:t>
            </a:r>
            <a:r>
              <a:rPr lang="de-CH" dirty="0"/>
              <a:t> </a:t>
            </a:r>
            <a:r>
              <a:rPr lang="de-CH" dirty="0" err="1"/>
              <a:t>one</a:t>
            </a:r>
            <a:endParaRPr lang="de-CH" dirty="0"/>
          </a:p>
        </p:txBody>
      </p:sp>
      <p:graphicFrame>
        <p:nvGraphicFramePr>
          <p:cNvPr id="6" name="Tabelle 5"/>
          <p:cNvGraphicFramePr>
            <a:graphicFrameLocks noGrp="1"/>
          </p:cNvGraphicFramePr>
          <p:nvPr>
            <p:extLst>
              <p:ext uri="{D42A27DB-BD31-4B8C-83A1-F6EECF244321}">
                <p14:modId xmlns:p14="http://schemas.microsoft.com/office/powerpoint/2010/main" val="1573253680"/>
              </p:ext>
            </p:extLst>
          </p:nvPr>
        </p:nvGraphicFramePr>
        <p:xfrm>
          <a:off x="756000" y="872716"/>
          <a:ext cx="7920000" cy="5616000"/>
        </p:xfrm>
        <a:graphic>
          <a:graphicData uri="http://schemas.openxmlformats.org/drawingml/2006/table">
            <a:tbl>
              <a:tblPr>
                <a:tableStyleId>{5C22544A-7EE6-4342-B048-85BDC9FD1C3A}</a:tableStyleId>
              </a:tblPr>
              <a:tblGrid>
                <a:gridCol w="180000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1224000">
                  <a:extLst>
                    <a:ext uri="{9D8B030D-6E8A-4147-A177-3AD203B41FA5}">
                      <a16:colId xmlns:a16="http://schemas.microsoft.com/office/drawing/2014/main" val="20002"/>
                    </a:ext>
                  </a:extLst>
                </a:gridCol>
                <a:gridCol w="1224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1224000">
                  <a:extLst>
                    <a:ext uri="{9D8B030D-6E8A-4147-A177-3AD203B41FA5}">
                      <a16:colId xmlns:a16="http://schemas.microsoft.com/office/drawing/2014/main" val="20005"/>
                    </a:ext>
                  </a:extLst>
                </a:gridCol>
              </a:tblGrid>
              <a:tr h="1296000">
                <a:tc>
                  <a:txBody>
                    <a:bodyPr/>
                    <a:lstStyle/>
                    <a:p>
                      <a:r>
                        <a:rPr lang="en-US" sz="1000" b="1" noProof="0" dirty="0"/>
                        <a:t>Table</a:t>
                      </a:r>
                      <a:r>
                        <a:rPr lang="en-US" sz="1000" b="1" baseline="0" noProof="0" dirty="0"/>
                        <a:t> combination functions.</a:t>
                      </a:r>
                    </a:p>
                    <a:p>
                      <a:endParaRPr lang="en-US" sz="1000" b="1" baseline="0" noProof="0" dirty="0"/>
                    </a:p>
                    <a:p>
                      <a:endParaRPr lang="en-US" sz="1000" b="0" baseline="0" noProof="0" dirty="0"/>
                    </a:p>
                    <a:p>
                      <a:r>
                        <a:rPr lang="en-US" sz="1000" b="0" baseline="0" noProof="0" dirty="0"/>
                        <a:t>Note: Identifier columns</a:t>
                      </a:r>
                      <a:br>
                        <a:rPr lang="en-US" sz="1000" b="0" baseline="0" noProof="0" dirty="0"/>
                      </a:br>
                      <a:r>
                        <a:rPr lang="en-US" sz="1000" b="0" baseline="0" noProof="0" dirty="0"/>
                        <a:t>to match the rows will never be deleted or consolidat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Union</a:t>
                      </a:r>
                    </a:p>
                    <a:p>
                      <a:r>
                        <a:rPr lang="en-US" sz="1000" b="0" noProof="0" dirty="0"/>
                        <a:t>Columns in table</a:t>
                      </a:r>
                      <a:r>
                        <a:rPr lang="en-US" sz="1000" b="0" baseline="0" noProof="0" dirty="0"/>
                        <a:t> A and B will be 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Exclusivity</a:t>
                      </a:r>
                    </a:p>
                    <a:p>
                      <a:r>
                        <a:rPr lang="en-US" sz="1000" b="0" noProof="0" dirty="0"/>
                        <a:t>Columns</a:t>
                      </a:r>
                      <a:r>
                        <a:rPr lang="en-US" sz="1000" b="0" baseline="0" noProof="0" dirty="0"/>
                        <a:t> either in table A or in table B will be combined, 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Overlay</a:t>
                      </a:r>
                    </a:p>
                    <a:p>
                      <a:r>
                        <a:rPr lang="en-US" sz="1000" b="0" noProof="0" dirty="0"/>
                        <a:t>Columns found in table B or both A and B 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Intersection</a:t>
                      </a:r>
                    </a:p>
                    <a:p>
                      <a:r>
                        <a:rPr lang="en-US" sz="1000" b="0" noProof="0" dirty="0"/>
                        <a:t>Includes only the columns found in both tables A and</a:t>
                      </a:r>
                      <a:r>
                        <a:rPr lang="en-US" sz="1000" b="0" baseline="0" noProof="0" dirty="0"/>
                        <a:t>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Subtraction</a:t>
                      </a:r>
                    </a:p>
                    <a:p>
                      <a:r>
                        <a:rPr lang="en-US" sz="1000" b="0" noProof="0" dirty="0"/>
                        <a:t>Includes only the rows found in table B, but</a:t>
                      </a:r>
                      <a:r>
                        <a:rPr lang="en-US" sz="1000" b="0" baseline="0" noProof="0" dirty="0"/>
                        <a:t> not those also 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864000">
                <a:tc>
                  <a:txBody>
                    <a:bodyPr/>
                    <a:lstStyle/>
                    <a:p>
                      <a:r>
                        <a:rPr lang="en-US" sz="1000" b="1" noProof="0" dirty="0"/>
                        <a:t>Union</a:t>
                      </a:r>
                    </a:p>
                    <a:p>
                      <a:r>
                        <a:rPr lang="en-US" sz="1000" b="0" noProof="0" dirty="0"/>
                        <a:t>Rows in table A</a:t>
                      </a:r>
                    </a:p>
                    <a:p>
                      <a:r>
                        <a:rPr lang="en-US" sz="1000" b="0" noProof="0" dirty="0"/>
                        <a:t>and B will</a:t>
                      </a:r>
                      <a:r>
                        <a:rPr lang="en-US" sz="1000" b="0" baseline="0" noProof="0" dirty="0"/>
                        <a:t> be</a:t>
                      </a:r>
                      <a:br>
                        <a:rPr lang="en-US" sz="1000" b="0" baseline="0" noProof="0" dirty="0"/>
                      </a:br>
                      <a:r>
                        <a:rPr lang="en-US" sz="1000" b="0" baseline="0" noProof="0" dirty="0"/>
                        <a:t>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intersect</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64000">
                <a:tc>
                  <a:txBody>
                    <a:bodyPr/>
                    <a:lstStyle/>
                    <a:p>
                      <a:r>
                        <a:rPr lang="en-US" sz="1000" b="1" noProof="0" dirty="0"/>
                        <a:t>Exclusivity</a:t>
                      </a:r>
                    </a:p>
                    <a:p>
                      <a:r>
                        <a:rPr lang="en-US" sz="1000" b="0" noProof="0" dirty="0"/>
                        <a:t>Rows either</a:t>
                      </a:r>
                      <a:r>
                        <a:rPr lang="en-US" sz="1000" b="0" baseline="0" noProof="0" dirty="0"/>
                        <a:t> in table</a:t>
                      </a:r>
                      <a:br>
                        <a:rPr lang="en-US" sz="1000" b="0" baseline="0" noProof="0" dirty="0"/>
                      </a:br>
                      <a:r>
                        <a:rPr lang="en-US" sz="1000" b="0" baseline="0" noProof="0" dirty="0"/>
                        <a:t>A or in table B</a:t>
                      </a:r>
                      <a:br>
                        <a:rPr lang="en-US" sz="1000" b="0" baseline="0" noProof="0" dirty="0"/>
                      </a:br>
                      <a:r>
                        <a:rPr lang="en-US" sz="1000" b="0" baseline="0" noProof="0" dirty="0"/>
                        <a:t>will be combined,</a:t>
                      </a:r>
                      <a:br>
                        <a:rPr lang="en-US" sz="1000" b="0" baseline="0" noProof="0" dirty="0"/>
                      </a:br>
                      <a:r>
                        <a:rPr lang="en-US" sz="1000" b="0" baseline="0" noProof="0" dirty="0"/>
                        <a:t>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864000">
                <a:tc>
                  <a:txBody>
                    <a:bodyPr/>
                    <a:lstStyle/>
                    <a:p>
                      <a:r>
                        <a:rPr lang="en-US" sz="1000" b="1" noProof="0" dirty="0"/>
                        <a:t>Overlay</a:t>
                      </a:r>
                    </a:p>
                    <a:p>
                      <a:r>
                        <a:rPr lang="en-US" sz="1000" b="0" noProof="0" dirty="0"/>
                        <a:t>Rows found in table</a:t>
                      </a:r>
                      <a:br>
                        <a:rPr lang="en-US" sz="1000" b="0" noProof="0" dirty="0"/>
                      </a:br>
                      <a:r>
                        <a:rPr lang="en-US" sz="1000" b="0" noProof="0" dirty="0"/>
                        <a:t>B or both A and B</a:t>
                      </a:r>
                    </a:p>
                    <a:p>
                      <a:r>
                        <a:rPr lang="en-US" sz="1000" b="0" noProof="0" dirty="0"/>
                        <a:t>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br>
                        <a:rPr lang="en-US" sz="1000" b="1" noProof="0" dirty="0"/>
                      </a:br>
                      <a:r>
                        <a:rPr lang="en-US" sz="1000" b="1" noProof="0" dirty="0"/>
                        <a:t>extend</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a:t>
                      </a:r>
                    </a:p>
                    <a:p>
                      <a:r>
                        <a:rPr lang="en-US" sz="1000" b="1" noProof="0" dirty="0"/>
                        <a:t>subtract columns</a:t>
                      </a:r>
                    </a:p>
                    <a:p>
                      <a:endParaRPr lang="en-US" sz="1000" b="1" noProof="0" dirty="0"/>
                    </a:p>
                    <a:p>
                      <a:r>
                        <a:rPr lang="en-US" sz="1000" b="0" noProof="0" dirty="0"/>
                        <a:t>(Not: “table overlay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864000">
                <a:tc>
                  <a:txBody>
                    <a:bodyPr/>
                    <a:lstStyle/>
                    <a:p>
                      <a:r>
                        <a:rPr lang="en-US" sz="1000" b="1" noProof="0" dirty="0"/>
                        <a:t>Intersection</a:t>
                      </a:r>
                    </a:p>
                    <a:p>
                      <a:r>
                        <a:rPr lang="en-US" sz="1000" b="0" noProof="0" dirty="0"/>
                        <a:t>Includes</a:t>
                      </a:r>
                      <a:r>
                        <a:rPr lang="en-US" sz="1000" b="0" baseline="0" noProof="0" dirty="0"/>
                        <a:t> only the</a:t>
                      </a:r>
                      <a:br>
                        <a:rPr lang="en-US" sz="1000" b="0" baseline="0" noProof="0" dirty="0"/>
                      </a:br>
                      <a:r>
                        <a:rPr lang="en-US" sz="1000" b="0" baseline="0" noProof="0" dirty="0"/>
                        <a:t>rows found in both</a:t>
                      </a:r>
                    </a:p>
                    <a:p>
                      <a:r>
                        <a:rPr lang="en-US" sz="1000" b="0" baseline="0" noProof="0" dirty="0"/>
                        <a:t>tables A and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table intersect 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864000">
                <a:tc>
                  <a:txBody>
                    <a:bodyPr/>
                    <a:lstStyle/>
                    <a:p>
                      <a:r>
                        <a:rPr lang="en-US" sz="1000" b="1" noProof="0" dirty="0"/>
                        <a:t>Subtraction</a:t>
                      </a:r>
                    </a:p>
                    <a:p>
                      <a:r>
                        <a:rPr lang="en-US" sz="1000" b="0" noProof="0" dirty="0"/>
                        <a:t>Includes only the</a:t>
                      </a:r>
                    </a:p>
                    <a:p>
                      <a:r>
                        <a:rPr lang="en-US" sz="1000" b="0" noProof="0" dirty="0"/>
                        <a:t>rows found in table</a:t>
                      </a:r>
                    </a:p>
                    <a:p>
                      <a:r>
                        <a:rPr lang="en-US" sz="1000" b="0" noProof="0" dirty="0"/>
                        <a:t>B,</a:t>
                      </a:r>
                      <a:r>
                        <a:rPr lang="en-US" sz="1000" b="0" baseline="0" noProof="0" dirty="0"/>
                        <a:t> but not those</a:t>
                      </a:r>
                    </a:p>
                    <a:p>
                      <a:r>
                        <a:rPr lang="en-US" sz="1000" b="0" baseline="0" noProof="0" dirty="0"/>
                        <a:t>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baseline="0" noProof="0" dirty="0"/>
                        <a:t>subtrac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grpSp>
        <p:nvGrpSpPr>
          <p:cNvPr id="10" name="Gruppieren 9"/>
          <p:cNvGrpSpPr/>
          <p:nvPr/>
        </p:nvGrpSpPr>
        <p:grpSpPr>
          <a:xfrm>
            <a:off x="2808000" y="1702424"/>
            <a:ext cx="756000" cy="432000"/>
            <a:chOff x="6912610" y="1341320"/>
            <a:chExt cx="756000" cy="432000"/>
          </a:xfrm>
        </p:grpSpPr>
        <p:sp>
          <p:nvSpPr>
            <p:cNvPr id="11" name="Freihandform 1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2" name="Freihandform 1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3" name="Freihandform 1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4" name="Gruppieren 13"/>
          <p:cNvGrpSpPr/>
          <p:nvPr/>
        </p:nvGrpSpPr>
        <p:grpSpPr>
          <a:xfrm>
            <a:off x="5256000" y="1702424"/>
            <a:ext cx="756000" cy="432000"/>
            <a:chOff x="6912610" y="1341320"/>
            <a:chExt cx="756000" cy="432000"/>
          </a:xfrm>
        </p:grpSpPr>
        <p:sp>
          <p:nvSpPr>
            <p:cNvPr id="15" name="Freihandform 14"/>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6" name="Freihandform 15"/>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7" name="Freihandform 16"/>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8" name="Gruppieren 17"/>
          <p:cNvGrpSpPr/>
          <p:nvPr/>
        </p:nvGrpSpPr>
        <p:grpSpPr>
          <a:xfrm>
            <a:off x="6480000" y="1702424"/>
            <a:ext cx="756000" cy="432000"/>
            <a:chOff x="6912610" y="1341320"/>
            <a:chExt cx="756000" cy="432000"/>
          </a:xfrm>
        </p:grpSpPr>
        <p:sp>
          <p:nvSpPr>
            <p:cNvPr id="19" name="Freihandform 1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0" name="Freihandform 1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1" name="Freihandform 2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22" name="Gruppieren 21"/>
          <p:cNvGrpSpPr/>
          <p:nvPr/>
        </p:nvGrpSpPr>
        <p:grpSpPr>
          <a:xfrm>
            <a:off x="7704000" y="1702424"/>
            <a:ext cx="756000" cy="432000"/>
            <a:chOff x="6912610" y="1341320"/>
            <a:chExt cx="756000" cy="432000"/>
          </a:xfrm>
        </p:grpSpPr>
        <p:sp>
          <p:nvSpPr>
            <p:cNvPr id="23" name="Freihandform 2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4" name="Freihandform 2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5" name="Freihandform 2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0" name="Gruppieren 29"/>
          <p:cNvGrpSpPr/>
          <p:nvPr/>
        </p:nvGrpSpPr>
        <p:grpSpPr>
          <a:xfrm>
            <a:off x="4032000" y="1702424"/>
            <a:ext cx="756000" cy="432000"/>
            <a:chOff x="6912610" y="1341320"/>
            <a:chExt cx="756000" cy="432000"/>
          </a:xfrm>
        </p:grpSpPr>
        <p:sp>
          <p:nvSpPr>
            <p:cNvPr id="31" name="Freihandform 3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2" name="Freihandform 3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33" name="Freihandform 3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4" name="Gruppieren 33"/>
          <p:cNvGrpSpPr/>
          <p:nvPr/>
        </p:nvGrpSpPr>
        <p:grpSpPr>
          <a:xfrm>
            <a:off x="2052000" y="2240716"/>
            <a:ext cx="432000" cy="756000"/>
            <a:chOff x="5436610" y="1341320"/>
            <a:chExt cx="432000" cy="756000"/>
          </a:xfrm>
        </p:grpSpPr>
        <p:sp>
          <p:nvSpPr>
            <p:cNvPr id="35" name="Freihandform 34"/>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6" name="Freihandform 35"/>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37" name="Freihandform 36"/>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38" name="Gruppieren 37"/>
          <p:cNvGrpSpPr/>
          <p:nvPr/>
        </p:nvGrpSpPr>
        <p:grpSpPr>
          <a:xfrm>
            <a:off x="2052000" y="3104716"/>
            <a:ext cx="432000" cy="756000"/>
            <a:chOff x="5436610" y="1341320"/>
            <a:chExt cx="432000" cy="756000"/>
          </a:xfrm>
        </p:grpSpPr>
        <p:sp>
          <p:nvSpPr>
            <p:cNvPr id="39" name="Freihandform 38"/>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0" name="Freihandform 39"/>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1" name="Freihandform 4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2" name="Gruppieren 41"/>
          <p:cNvGrpSpPr/>
          <p:nvPr/>
        </p:nvGrpSpPr>
        <p:grpSpPr>
          <a:xfrm>
            <a:off x="2052000" y="3968716"/>
            <a:ext cx="432000" cy="756000"/>
            <a:chOff x="5436610" y="1341320"/>
            <a:chExt cx="432000" cy="756000"/>
          </a:xfrm>
        </p:grpSpPr>
        <p:sp>
          <p:nvSpPr>
            <p:cNvPr id="43" name="Freihandform 42"/>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4" name="Freihandform 43"/>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5" name="Freihandform 44"/>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6" name="Gruppieren 45"/>
          <p:cNvGrpSpPr/>
          <p:nvPr/>
        </p:nvGrpSpPr>
        <p:grpSpPr>
          <a:xfrm>
            <a:off x="2052000" y="4832716"/>
            <a:ext cx="432000" cy="756000"/>
            <a:chOff x="5436610" y="1341320"/>
            <a:chExt cx="432000" cy="756000"/>
          </a:xfrm>
        </p:grpSpPr>
        <p:sp>
          <p:nvSpPr>
            <p:cNvPr id="47" name="Freihandform 46"/>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8" name="Freihandform 47"/>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9" name="Freihandform 48"/>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50" name="Gruppieren 49"/>
          <p:cNvGrpSpPr/>
          <p:nvPr/>
        </p:nvGrpSpPr>
        <p:grpSpPr>
          <a:xfrm>
            <a:off x="2052000" y="5696716"/>
            <a:ext cx="432000" cy="756000"/>
            <a:chOff x="5436610" y="1341320"/>
            <a:chExt cx="432000" cy="756000"/>
          </a:xfrm>
        </p:grpSpPr>
        <p:sp>
          <p:nvSpPr>
            <p:cNvPr id="51" name="Freihandform 50"/>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52" name="Freihandform 51"/>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53" name="Freihandform 52"/>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spTree>
    <p:extLst>
      <p:ext uri="{BB962C8B-B14F-4D97-AF65-F5344CB8AC3E}">
        <p14:creationId xmlns:p14="http://schemas.microsoft.com/office/powerpoint/2010/main" val="82615921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61" name="Rechteck 360"/>
          <p:cNvSpPr/>
          <p:nvPr/>
        </p:nvSpPr>
        <p:spPr>
          <a:xfrm>
            <a:off x="3348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3492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3204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Merg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334789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363593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392397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3060000" y="270925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615530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644334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673138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5867410" y="27092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0" name="Rechteck 299"/>
          <p:cNvSpPr/>
          <p:nvPr/>
        </p:nvSpPr>
        <p:spPr>
          <a:xfrm>
            <a:off x="6875400" y="27092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1" name="Rechteck 300"/>
          <p:cNvSpPr/>
          <p:nvPr/>
        </p:nvSpPr>
        <p:spPr>
          <a:xfrm>
            <a:off x="7019420" y="27092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060000" y="508522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59710" y="508517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9410" y="50851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7236200" y="50851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80220" y="50851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Tree>
    <p:extLst>
      <p:ext uri="{BB962C8B-B14F-4D97-AF65-F5344CB8AC3E}">
        <p14:creationId xmlns:p14="http://schemas.microsoft.com/office/powerpoint/2010/main" val="20578224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Overlay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2238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2239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5580000" y="29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Attention:</a:t>
            </a:r>
            <a:r>
              <a:rPr lang="en-US" sz="1100" dirty="0">
                <a:solidFill>
                  <a:schemeClr val="tx1"/>
                </a:solidFill>
              </a:rPr>
              <a:t> Do not write</a:t>
            </a:r>
          </a:p>
          <a:p>
            <a:r>
              <a:rPr lang="en-US" sz="1100" dirty="0">
                <a:solidFill>
                  <a:schemeClr val="tx1"/>
                </a:solidFill>
              </a:rPr>
              <a:t>“table overlay subtract columns”</a:t>
            </a:r>
          </a:p>
        </p:txBody>
      </p:sp>
      <p:cxnSp>
        <p:nvCxnSpPr>
          <p:cNvPr id="5" name="Gerade Verbindung mit Pfeil 4"/>
          <p:cNvCxnSpPr>
            <a:stCxn id="297" idx="1"/>
          </p:cNvCxnSpPr>
          <p:nvPr/>
        </p:nvCxnSpPr>
        <p:spPr>
          <a:xfrm flipH="1">
            <a:off x="5148000" y="2997010"/>
            <a:ext cx="432000" cy="2879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5899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Interse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417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819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221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623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25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503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60150" y="148508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000" y="1485000"/>
            <a:ext cx="10081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6875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7019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6011970" y="148502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615599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29998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44403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58805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73207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5867950" y="1341000"/>
            <a:ext cx="129544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5867950" y="148502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60119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6" name="Rechteck 395"/>
          <p:cNvSpPr/>
          <p:nvPr/>
        </p:nvSpPr>
        <p:spPr>
          <a:xfrm>
            <a:off x="61559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98" name="Rechteck 397"/>
          <p:cNvSpPr/>
          <p:nvPr/>
        </p:nvSpPr>
        <p:spPr>
          <a:xfrm>
            <a:off x="630001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99" name="Rechteck 398"/>
          <p:cNvSpPr/>
          <p:nvPr/>
        </p:nvSpPr>
        <p:spPr>
          <a:xfrm>
            <a:off x="644403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1" name="Rechteck 400"/>
          <p:cNvSpPr/>
          <p:nvPr/>
        </p:nvSpPr>
        <p:spPr>
          <a:xfrm>
            <a:off x="658805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2" name="Rechteck 401"/>
          <p:cNvSpPr/>
          <p:nvPr/>
        </p:nvSpPr>
        <p:spPr>
          <a:xfrm>
            <a:off x="673207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3" name="Rechteck 402"/>
          <p:cNvSpPr/>
          <p:nvPr/>
        </p:nvSpPr>
        <p:spPr>
          <a:xfrm>
            <a:off x="5867950" y="1485020"/>
            <a:ext cx="12954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687594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05" name="Rechteck 404"/>
          <p:cNvSpPr/>
          <p:nvPr/>
        </p:nvSpPr>
        <p:spPr>
          <a:xfrm>
            <a:off x="7019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29" name="Rechteck 428"/>
          <p:cNvSpPr/>
          <p:nvPr/>
        </p:nvSpPr>
        <p:spPr>
          <a:xfrm>
            <a:off x="3204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348010" y="386104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492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059970" y="3717020"/>
            <a:ext cx="57603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4" name="Rechteck 433"/>
          <p:cNvSpPr/>
          <p:nvPr/>
        </p:nvSpPr>
        <p:spPr>
          <a:xfrm>
            <a:off x="3059970" y="386104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320399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1" name="Rechteck 440"/>
          <p:cNvSpPr/>
          <p:nvPr/>
        </p:nvSpPr>
        <p:spPr>
          <a:xfrm>
            <a:off x="334801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3" name="Rechteck 442"/>
          <p:cNvSpPr/>
          <p:nvPr/>
        </p:nvSpPr>
        <p:spPr>
          <a:xfrm>
            <a:off x="349203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5" name="Rechteck 444"/>
          <p:cNvSpPr/>
          <p:nvPr/>
        </p:nvSpPr>
        <p:spPr>
          <a:xfrm>
            <a:off x="3059970" y="3861040"/>
            <a:ext cx="57603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47" name="Gerade Verbindung 369"/>
          <p:cNvCxnSpPr/>
          <p:nvPr/>
        </p:nvCxnSpPr>
        <p:spPr>
          <a:xfrm flipV="1">
            <a:off x="3059820" y="3861020"/>
            <a:ext cx="576180" cy="20"/>
          </a:xfrm>
          <a:prstGeom prst="line">
            <a:avLst/>
          </a:prstGeom>
        </p:spPr>
        <p:style>
          <a:lnRef idx="1">
            <a:schemeClr val="accent1"/>
          </a:lnRef>
          <a:fillRef idx="0">
            <a:schemeClr val="accent1"/>
          </a:fillRef>
          <a:effectRef idx="0">
            <a:schemeClr val="accent1"/>
          </a:effectRef>
          <a:fontRef idx="minor">
            <a:schemeClr val="tx1"/>
          </a:fontRef>
        </p:style>
      </p:cxnSp>
      <p:sp>
        <p:nvSpPr>
          <p:cNvPr id="453" name="Rechteck 452"/>
          <p:cNvSpPr/>
          <p:nvPr/>
        </p:nvSpPr>
        <p:spPr>
          <a:xfrm>
            <a:off x="50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51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5292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4860000" y="3716980"/>
            <a:ext cx="576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48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50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89" name="Rechteck 488"/>
          <p:cNvSpPr/>
          <p:nvPr/>
        </p:nvSpPr>
        <p:spPr>
          <a:xfrm>
            <a:off x="51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91" name="Rechteck 490"/>
          <p:cNvSpPr/>
          <p:nvPr/>
        </p:nvSpPr>
        <p:spPr>
          <a:xfrm>
            <a:off x="52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96" name="Rechteck 495"/>
          <p:cNvSpPr/>
          <p:nvPr/>
        </p:nvSpPr>
        <p:spPr>
          <a:xfrm>
            <a:off x="7236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7380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68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69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709205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6660000" y="3716980"/>
            <a:ext cx="864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66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68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504" name="Rechteck 503"/>
          <p:cNvSpPr/>
          <p:nvPr/>
        </p:nvSpPr>
        <p:spPr>
          <a:xfrm>
            <a:off x="69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505" name="Rechteck 504"/>
          <p:cNvSpPr/>
          <p:nvPr/>
        </p:nvSpPr>
        <p:spPr>
          <a:xfrm>
            <a:off x="70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506" name="Rechteck 505"/>
          <p:cNvSpPr/>
          <p:nvPr/>
        </p:nvSpPr>
        <p:spPr>
          <a:xfrm>
            <a:off x="6660000" y="3861000"/>
            <a:ext cx="86400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723600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508" name="Rechteck 507"/>
          <p:cNvSpPr/>
          <p:nvPr/>
        </p:nvSpPr>
        <p:spPr>
          <a:xfrm>
            <a:off x="738002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Tree>
    <p:extLst>
      <p:ext uri="{BB962C8B-B14F-4D97-AF65-F5344CB8AC3E}">
        <p14:creationId xmlns:p14="http://schemas.microsoft.com/office/powerpoint/2010/main" val="381696978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Exclud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60000" y="4725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8610" y="472500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9" name="Rechteck 468"/>
          <p:cNvSpPr/>
          <p:nvPr/>
        </p:nvSpPr>
        <p:spPr>
          <a:xfrm>
            <a:off x="7235400" y="472500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79420" y="472500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9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363593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392397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3060000" y="2349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5" name="Rechteck 404"/>
          <p:cNvSpPr/>
          <p:nvPr/>
        </p:nvSpPr>
        <p:spPr>
          <a:xfrm>
            <a:off x="5867970" y="1485020"/>
            <a:ext cx="1295440" cy="12239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15530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44334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8" name="Rechteck 407"/>
          <p:cNvSpPr/>
          <p:nvPr/>
        </p:nvSpPr>
        <p:spPr>
          <a:xfrm>
            <a:off x="673138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5867410" y="234892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12" name="Rechteck 411"/>
          <p:cNvSpPr/>
          <p:nvPr/>
        </p:nvSpPr>
        <p:spPr>
          <a:xfrm>
            <a:off x="6875400" y="234892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019420" y="234892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334783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3492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9" name="Rechteck 428"/>
          <p:cNvSpPr/>
          <p:nvPr/>
        </p:nvSpPr>
        <p:spPr>
          <a:xfrm>
            <a:off x="3204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9" name="Rechteck 448"/>
          <p:cNvSpPr/>
          <p:nvPr/>
        </p:nvSpPr>
        <p:spPr>
          <a:xfrm>
            <a:off x="3060000" y="472519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6106455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08F07-F902-9913-5307-9CC453051C92}"/>
            </a:ext>
          </a:extLst>
        </p:cNvPr>
        <p:cNvGrpSpPr/>
        <p:nvPr/>
      </p:nvGrpSpPr>
      <p:grpSpPr>
        <a:xfrm>
          <a:off x="0" y="0"/>
          <a:ext cx="0" cy="0"/>
          <a:chOff x="0" y="0"/>
          <a:chExt cx="0" cy="0"/>
        </a:xfrm>
      </p:grpSpPr>
      <p:cxnSp>
        <p:nvCxnSpPr>
          <p:cNvPr id="120" name="Gerade Verbindung mit Pfeil 119">
            <a:extLst>
              <a:ext uri="{FF2B5EF4-FFF2-40B4-BE49-F238E27FC236}">
                <a16:creationId xmlns:a16="http://schemas.microsoft.com/office/drawing/2014/main" id="{9057C287-D6A9-2607-5EC4-6C5FE9738D89}"/>
              </a:ext>
            </a:extLst>
          </p:cNvPr>
          <p:cNvCxnSpPr>
            <a:cxnSpLocks/>
            <a:stCxn id="14" idx="2"/>
            <a:endCxn id="58" idx="0"/>
          </p:cNvCxnSpPr>
          <p:nvPr/>
        </p:nvCxnSpPr>
        <p:spPr>
          <a:xfrm>
            <a:off x="3636000" y="2637000"/>
            <a:ext cx="0" cy="2160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042F6FFA-933D-6A21-9C39-4E7AFB3716F9}"/>
              </a:ext>
            </a:extLst>
          </p:cNvPr>
          <p:cNvSpPr>
            <a:spLocks noGrp="1"/>
          </p:cNvSpPr>
          <p:nvPr>
            <p:ph type="title"/>
          </p:nvPr>
        </p:nvSpPr>
        <p:spPr/>
        <p:txBody>
          <a:bodyPr/>
          <a:lstStyle/>
          <a:p>
            <a:r>
              <a:rPr lang="en-US" dirty="0"/>
              <a:t>Start-up Behavior</a:t>
            </a:r>
            <a:br>
              <a:rPr lang="en-US" dirty="0"/>
            </a:br>
            <a:r>
              <a:rPr lang="en-US" dirty="0"/>
              <a:t>Introduction</a:t>
            </a:r>
          </a:p>
        </p:txBody>
      </p:sp>
      <p:sp>
        <p:nvSpPr>
          <p:cNvPr id="40" name="Rechteck 39">
            <a:extLst>
              <a:ext uri="{FF2B5EF4-FFF2-40B4-BE49-F238E27FC236}">
                <a16:creationId xmlns:a16="http://schemas.microsoft.com/office/drawing/2014/main" id="{E6427695-5F49-6B85-725B-7533B348D6B7}"/>
              </a:ext>
            </a:extLst>
          </p:cNvPr>
          <p:cNvSpPr/>
          <p:nvPr/>
        </p:nvSpPr>
        <p:spPr>
          <a:xfrm>
            <a:off x="396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ok for "</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in current &amp; starting directories</a:t>
            </a:r>
          </a:p>
        </p:txBody>
      </p:sp>
      <p:sp>
        <p:nvSpPr>
          <p:cNvPr id="42" name="Rechteck 41">
            <a:extLst>
              <a:ext uri="{FF2B5EF4-FFF2-40B4-BE49-F238E27FC236}">
                <a16:creationId xmlns:a16="http://schemas.microsoft.com/office/drawing/2014/main" id="{D5717AB1-B484-D69A-19B5-3BFA683E43D9}"/>
              </a:ext>
            </a:extLst>
          </p:cNvPr>
          <p:cNvSpPr/>
          <p:nvPr/>
        </p:nvSpPr>
        <p:spPr>
          <a:xfrm>
            <a:off x="4860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Change to the directory where</a:t>
            </a:r>
          </a:p>
          <a:p>
            <a:pPr algn="ctr"/>
            <a:r>
              <a:rPr lang="en-US" sz="1000" dirty="0">
                <a:solidFill>
                  <a:schemeClr val="tx1"/>
                </a:solidFill>
              </a:rPr>
              <a:t>the </a:t>
            </a:r>
            <a:r>
              <a:rPr lang="en-US" sz="1000" dirty="0" err="1">
                <a:solidFill>
                  <a:schemeClr val="tx1"/>
                </a:solidFill>
              </a:rPr>
              <a:t>B4P</a:t>
            </a:r>
            <a:r>
              <a:rPr lang="en-US" sz="1000" dirty="0">
                <a:solidFill>
                  <a:schemeClr val="tx1"/>
                </a:solidFill>
              </a:rPr>
              <a:t> Program is located *</a:t>
            </a:r>
          </a:p>
        </p:txBody>
      </p:sp>
      <p:sp>
        <p:nvSpPr>
          <p:cNvPr id="12" name="Rechteck: abgerundete Ecken 11">
            <a:extLst>
              <a:ext uri="{FF2B5EF4-FFF2-40B4-BE49-F238E27FC236}">
                <a16:creationId xmlns:a16="http://schemas.microsoft.com/office/drawing/2014/main" id="{E1396CF4-F2A9-4091-938B-E36CB640659C}"/>
              </a:ext>
            </a:extLst>
          </p:cNvPr>
          <p:cNvSpPr/>
          <p:nvPr/>
        </p:nvSpPr>
        <p:spPr>
          <a:xfrm>
            <a:off x="2628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Interactive Mode</a:t>
            </a:r>
          </a:p>
        </p:txBody>
      </p:sp>
      <p:sp>
        <p:nvSpPr>
          <p:cNvPr id="57" name="Rechteck: abgerundete Ecken 56">
            <a:extLst>
              <a:ext uri="{FF2B5EF4-FFF2-40B4-BE49-F238E27FC236}">
                <a16:creationId xmlns:a16="http://schemas.microsoft.com/office/drawing/2014/main" id="{5365B378-4F3E-8060-AA63-736D59CE9D0E}"/>
              </a:ext>
            </a:extLst>
          </p:cNvPr>
          <p:cNvSpPr/>
          <p:nvPr/>
        </p:nvSpPr>
        <p:spPr>
          <a:xfrm>
            <a:off x="396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main.b4p”</a:t>
            </a:r>
          </a:p>
        </p:txBody>
      </p:sp>
      <p:sp>
        <p:nvSpPr>
          <p:cNvPr id="70" name="Rechteck 69">
            <a:extLst>
              <a:ext uri="{FF2B5EF4-FFF2-40B4-BE49-F238E27FC236}">
                <a16:creationId xmlns:a16="http://schemas.microsoft.com/office/drawing/2014/main" id="{53284453-8B2D-1BE5-7FB2-FB136F0E2E1E}"/>
              </a:ext>
            </a:extLst>
          </p:cNvPr>
          <p:cNvSpPr/>
          <p:nvPr/>
        </p:nvSpPr>
        <p:spPr>
          <a:xfrm>
            <a:off x="2628000" y="1125000"/>
            <a:ext cx="2016000" cy="432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itialization and</a:t>
            </a:r>
          </a:p>
          <a:p>
            <a:pPr algn="ctr"/>
            <a:r>
              <a:rPr lang="en-US" sz="1000" dirty="0">
                <a:solidFill>
                  <a:schemeClr val="tx1"/>
                </a:solidFill>
              </a:rPr>
              <a:t>Welcome Text *</a:t>
            </a:r>
          </a:p>
        </p:txBody>
      </p:sp>
      <p:sp>
        <p:nvSpPr>
          <p:cNvPr id="14" name="Flussdiagramm: Verzweigung 13">
            <a:extLst>
              <a:ext uri="{FF2B5EF4-FFF2-40B4-BE49-F238E27FC236}">
                <a16:creationId xmlns:a16="http://schemas.microsoft.com/office/drawing/2014/main" id="{A22BED36-82C9-1319-4BAF-27E8FB172B75}"/>
              </a:ext>
            </a:extLst>
          </p:cNvPr>
          <p:cNvSpPr/>
          <p:nvPr/>
        </p:nvSpPr>
        <p:spPr>
          <a:xfrm>
            <a:off x="2628000" y="206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a:solidFill>
                  <a:schemeClr val="tx1"/>
                </a:solidFill>
              </a:rPr>
              <a:t>Decision taking</a:t>
            </a:r>
          </a:p>
        </p:txBody>
      </p:sp>
      <p:cxnSp>
        <p:nvCxnSpPr>
          <p:cNvPr id="84" name="Gerade Verbindung mit Pfeil 83">
            <a:extLst>
              <a:ext uri="{FF2B5EF4-FFF2-40B4-BE49-F238E27FC236}">
                <a16:creationId xmlns:a16="http://schemas.microsoft.com/office/drawing/2014/main" id="{CB14D836-CAF3-4269-66FD-F088986C758C}"/>
              </a:ext>
            </a:extLst>
          </p:cNvPr>
          <p:cNvCxnSpPr>
            <a:cxnSpLocks/>
          </p:cNvCxnSpPr>
          <p:nvPr/>
        </p:nvCxnSpPr>
        <p:spPr>
          <a:xfrm>
            <a:off x="4644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Gerade Verbindung mit Pfeil 84">
            <a:extLst>
              <a:ext uri="{FF2B5EF4-FFF2-40B4-BE49-F238E27FC236}">
                <a16:creationId xmlns:a16="http://schemas.microsoft.com/office/drawing/2014/main" id="{4654F436-A312-4856-AF0E-AAE45476F108}"/>
              </a:ext>
            </a:extLst>
          </p:cNvPr>
          <p:cNvCxnSpPr>
            <a:cxnSpLocks/>
          </p:cNvCxnSpPr>
          <p:nvPr/>
        </p:nvCxnSpPr>
        <p:spPr>
          <a:xfrm>
            <a:off x="3636000" y="1557096"/>
            <a:ext cx="0" cy="503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Flussdiagramm: Verzweigung 85">
            <a:extLst>
              <a:ext uri="{FF2B5EF4-FFF2-40B4-BE49-F238E27FC236}">
                <a16:creationId xmlns:a16="http://schemas.microsoft.com/office/drawing/2014/main" id="{34B7A7DB-8087-C113-2072-2CC7692CECC6}"/>
              </a:ext>
            </a:extLst>
          </p:cNvPr>
          <p:cNvSpPr/>
          <p:nvPr/>
        </p:nvSpPr>
        <p:spPr>
          <a:xfrm>
            <a:off x="396000" y="2709048"/>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found ?</a:t>
            </a:r>
          </a:p>
        </p:txBody>
      </p:sp>
      <p:cxnSp>
        <p:nvCxnSpPr>
          <p:cNvPr id="88" name="Gerade Verbindung mit Pfeil 87">
            <a:extLst>
              <a:ext uri="{FF2B5EF4-FFF2-40B4-BE49-F238E27FC236}">
                <a16:creationId xmlns:a16="http://schemas.microsoft.com/office/drawing/2014/main" id="{266921E5-6853-4C7E-3F7B-7C8488868A2E}"/>
              </a:ext>
            </a:extLst>
          </p:cNvPr>
          <p:cNvCxnSpPr>
            <a:cxnSpLocks/>
          </p:cNvCxnSpPr>
          <p:nvPr/>
        </p:nvCxnSpPr>
        <p:spPr>
          <a:xfrm>
            <a:off x="1404000" y="24930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Flussdiagramm: Verzweigung 90">
            <a:extLst>
              <a:ext uri="{FF2B5EF4-FFF2-40B4-BE49-F238E27FC236}">
                <a16:creationId xmlns:a16="http://schemas.microsoft.com/office/drawing/2014/main" id="{D017F165-9E37-4B3E-188B-34C6F82F437F}"/>
              </a:ext>
            </a:extLst>
          </p:cNvPr>
          <p:cNvSpPr/>
          <p:nvPr/>
        </p:nvSpPr>
        <p:spPr>
          <a:xfrm>
            <a:off x="396000" y="530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ait 1 second **</a:t>
            </a:r>
          </a:p>
        </p:txBody>
      </p:sp>
      <p:cxnSp>
        <p:nvCxnSpPr>
          <p:cNvPr id="92" name="Gerade Verbindung mit Pfeil 91">
            <a:extLst>
              <a:ext uri="{FF2B5EF4-FFF2-40B4-BE49-F238E27FC236}">
                <a16:creationId xmlns:a16="http://schemas.microsoft.com/office/drawing/2014/main" id="{AC0B32E8-42DB-F82B-8C40-94E923B344A5}"/>
              </a:ext>
            </a:extLst>
          </p:cNvPr>
          <p:cNvCxnSpPr>
            <a:cxnSpLocks/>
          </p:cNvCxnSpPr>
          <p:nvPr/>
        </p:nvCxnSpPr>
        <p:spPr>
          <a:xfrm>
            <a:off x="1404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Gerade Verbindung mit Pfeil 93">
            <a:extLst>
              <a:ext uri="{FF2B5EF4-FFF2-40B4-BE49-F238E27FC236}">
                <a16:creationId xmlns:a16="http://schemas.microsoft.com/office/drawing/2014/main" id="{DFC47141-3485-0E69-065A-EAEF8EF2237B}"/>
              </a:ext>
            </a:extLst>
          </p:cNvPr>
          <p:cNvCxnSpPr>
            <a:cxnSpLocks/>
          </p:cNvCxnSpPr>
          <p:nvPr/>
        </p:nvCxnSpPr>
        <p:spPr>
          <a:xfrm>
            <a:off x="5868000" y="2493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Flussdiagramm: Verzweigung 94">
            <a:extLst>
              <a:ext uri="{FF2B5EF4-FFF2-40B4-BE49-F238E27FC236}">
                <a16:creationId xmlns:a16="http://schemas.microsoft.com/office/drawing/2014/main" id="{C0D33B56-D2BE-046E-9695-BEB5DBBD141F}"/>
              </a:ext>
            </a:extLst>
          </p:cNvPr>
          <p:cNvSpPr/>
          <p:nvPr/>
        </p:nvSpPr>
        <p:spPr>
          <a:xfrm>
            <a:off x="4860000" y="2709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Program file</a:t>
            </a:r>
          </a:p>
          <a:p>
            <a:pPr algn="ctr"/>
            <a:r>
              <a:rPr lang="en-US" sz="1000" dirty="0">
                <a:solidFill>
                  <a:schemeClr val="tx1"/>
                </a:solidFill>
              </a:rPr>
              <a:t>found ?</a:t>
            </a:r>
          </a:p>
        </p:txBody>
      </p:sp>
      <p:cxnSp>
        <p:nvCxnSpPr>
          <p:cNvPr id="98" name="Gerade Verbindung mit Pfeil 97">
            <a:extLst>
              <a:ext uri="{FF2B5EF4-FFF2-40B4-BE49-F238E27FC236}">
                <a16:creationId xmlns:a16="http://schemas.microsoft.com/office/drawing/2014/main" id="{B83A2028-A7B9-1E88-867B-B48464CDFE66}"/>
              </a:ext>
            </a:extLst>
          </p:cNvPr>
          <p:cNvCxnSpPr>
            <a:cxnSpLocks/>
            <a:stCxn id="90" idx="2"/>
          </p:cNvCxnSpPr>
          <p:nvPr/>
        </p:nvCxnSpPr>
        <p:spPr>
          <a:xfrm>
            <a:off x="1404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a:extLst>
              <a:ext uri="{FF2B5EF4-FFF2-40B4-BE49-F238E27FC236}">
                <a16:creationId xmlns:a16="http://schemas.microsoft.com/office/drawing/2014/main" id="{0E9CD709-9520-E340-BE80-1ED2A2FC3F63}"/>
              </a:ext>
            </a:extLst>
          </p:cNvPr>
          <p:cNvCxnSpPr>
            <a:cxnSpLocks/>
          </p:cNvCxnSpPr>
          <p:nvPr/>
        </p:nvCxnSpPr>
        <p:spPr>
          <a:xfrm>
            <a:off x="1404000" y="5877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a:extLst>
              <a:ext uri="{FF2B5EF4-FFF2-40B4-BE49-F238E27FC236}">
                <a16:creationId xmlns:a16="http://schemas.microsoft.com/office/drawing/2014/main" id="{5A929B49-D34D-AA77-7769-0C296CE70B89}"/>
              </a:ext>
            </a:extLst>
          </p:cNvPr>
          <p:cNvCxnSpPr>
            <a:cxnSpLocks/>
          </p:cNvCxnSpPr>
          <p:nvPr/>
        </p:nvCxnSpPr>
        <p:spPr>
          <a:xfrm flipH="1">
            <a:off x="2412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1FF973BC-1E0A-3217-1F8A-6367B51A8171}"/>
              </a:ext>
            </a:extLst>
          </p:cNvPr>
          <p:cNvSpPr/>
          <p:nvPr/>
        </p:nvSpPr>
        <p:spPr>
          <a:xfrm>
            <a:off x="396000" y="1844976"/>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4P Engine is started without a Program File</a:t>
            </a:r>
          </a:p>
        </p:txBody>
      </p:sp>
      <p:sp>
        <p:nvSpPr>
          <p:cNvPr id="103" name="Rechteck 102">
            <a:extLst>
              <a:ext uri="{FF2B5EF4-FFF2-40B4-BE49-F238E27FC236}">
                <a16:creationId xmlns:a16="http://schemas.microsoft.com/office/drawing/2014/main" id="{275F042D-93B9-38D5-2CE9-03AC18D241F1}"/>
              </a:ext>
            </a:extLst>
          </p:cNvPr>
          <p:cNvSpPr/>
          <p:nvPr/>
        </p:nvSpPr>
        <p:spPr>
          <a:xfrm>
            <a:off x="4860000" y="1845000"/>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Engine is started with a B4P Program file</a:t>
            </a:r>
          </a:p>
        </p:txBody>
      </p:sp>
      <p:sp>
        <p:nvSpPr>
          <p:cNvPr id="116" name="Rechteck 115">
            <a:extLst>
              <a:ext uri="{FF2B5EF4-FFF2-40B4-BE49-F238E27FC236}">
                <a16:creationId xmlns:a16="http://schemas.microsoft.com/office/drawing/2014/main" id="{CB61164C-8BDD-CBFC-EFAF-2632D30A0358}"/>
              </a:ext>
            </a:extLst>
          </p:cNvPr>
          <p:cNvSpPr/>
          <p:nvPr/>
        </p:nvSpPr>
        <p:spPr>
          <a:xfrm>
            <a:off x="4788000" y="1125000"/>
            <a:ext cx="302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r>
              <a:rPr lang="en-US" sz="800" dirty="0">
                <a:solidFill>
                  <a:schemeClr val="tx1"/>
                </a:solidFill>
              </a:rPr>
              <a:t>System variables and locale settings are initialized.</a:t>
            </a:r>
          </a:p>
          <a:p>
            <a:pPr marL="0" lvl="1"/>
            <a:r>
              <a:rPr lang="en-US" sz="800" dirty="0">
                <a:solidFill>
                  <a:schemeClr val="tx1"/>
                </a:solidFill>
              </a:rPr>
              <a:t>* Welcome text is skipped if command line option </a:t>
            </a:r>
            <a:r>
              <a:rPr lang="en-US" sz="800" b="1" dirty="0">
                <a:solidFill>
                  <a:schemeClr val="tx1"/>
                </a:solidFill>
              </a:rPr>
              <a:t>–w</a:t>
            </a:r>
            <a:r>
              <a:rPr lang="en-US" sz="800" dirty="0">
                <a:solidFill>
                  <a:schemeClr val="tx1"/>
                </a:solidFill>
              </a:rPr>
              <a:t> is applied</a:t>
            </a:r>
          </a:p>
        </p:txBody>
      </p:sp>
      <p:cxnSp>
        <p:nvCxnSpPr>
          <p:cNvPr id="119" name="Gerade Verbindung mit Pfeil 118">
            <a:extLst>
              <a:ext uri="{FF2B5EF4-FFF2-40B4-BE49-F238E27FC236}">
                <a16:creationId xmlns:a16="http://schemas.microsoft.com/office/drawing/2014/main" id="{DD87B2C4-6AAB-1A6A-346B-12998B1EFBE6}"/>
              </a:ext>
            </a:extLst>
          </p:cNvPr>
          <p:cNvCxnSpPr>
            <a:cxnSpLocks/>
            <a:endCxn id="12" idx="0"/>
          </p:cNvCxnSpPr>
          <p:nvPr/>
        </p:nvCxnSpPr>
        <p:spPr>
          <a:xfrm>
            <a:off x="3636000" y="5085048"/>
            <a:ext cx="0" cy="10079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Gerade Verbindung mit Pfeil 122">
            <a:extLst>
              <a:ext uri="{FF2B5EF4-FFF2-40B4-BE49-F238E27FC236}">
                <a16:creationId xmlns:a16="http://schemas.microsoft.com/office/drawing/2014/main" id="{C5F9EC9E-29DC-43AB-5F2B-A79FE55B4DE6}"/>
              </a:ext>
            </a:extLst>
          </p:cNvPr>
          <p:cNvCxnSpPr>
            <a:cxnSpLocks/>
          </p:cNvCxnSpPr>
          <p:nvPr/>
        </p:nvCxnSpPr>
        <p:spPr>
          <a:xfrm>
            <a:off x="2412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 name="Rechteck 123">
            <a:extLst>
              <a:ext uri="{FF2B5EF4-FFF2-40B4-BE49-F238E27FC236}">
                <a16:creationId xmlns:a16="http://schemas.microsoft.com/office/drawing/2014/main" id="{4032DA7C-6195-CF80-2047-2E78B7BB8E1A}"/>
              </a:ext>
            </a:extLst>
          </p:cNvPr>
          <p:cNvSpPr/>
          <p:nvPr/>
        </p:nvSpPr>
        <p:spPr>
          <a:xfrm>
            <a:off x="3636000" y="2565000"/>
            <a:ext cx="1656000" cy="453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Command line option </a:t>
            </a:r>
            <a:r>
              <a:rPr lang="en-US" sz="800" b="1" dirty="0">
                <a:solidFill>
                  <a:schemeClr val="tx1"/>
                </a:solidFill>
              </a:rPr>
              <a:t>–</a:t>
            </a:r>
            <a:r>
              <a:rPr lang="en-US" sz="800" b="1" dirty="0" err="1">
                <a:solidFill>
                  <a:schemeClr val="tx1"/>
                </a:solidFill>
              </a:rPr>
              <a:t>i</a:t>
            </a:r>
            <a:r>
              <a:rPr lang="en-US" sz="800" b="1" dirty="0">
                <a:solidFill>
                  <a:schemeClr val="tx1"/>
                </a:solidFill>
              </a:rPr>
              <a:t> </a:t>
            </a:r>
            <a:r>
              <a:rPr lang="en-US" sz="800" dirty="0">
                <a:solidFill>
                  <a:schemeClr val="tx1"/>
                </a:solidFill>
              </a:rPr>
              <a:t>used to</a:t>
            </a:r>
            <a:br>
              <a:rPr lang="en-US" sz="800" dirty="0">
                <a:solidFill>
                  <a:schemeClr val="tx1"/>
                </a:solidFill>
              </a:rPr>
            </a:br>
            <a:r>
              <a:rPr lang="en-US" sz="800" dirty="0">
                <a:solidFill>
                  <a:schemeClr val="tx1"/>
                </a:solidFill>
              </a:rPr>
              <a:t>enter interactive mode directly</a:t>
            </a:r>
          </a:p>
        </p:txBody>
      </p:sp>
      <p:cxnSp>
        <p:nvCxnSpPr>
          <p:cNvPr id="125" name="Gerade Verbindung mit Pfeil 124">
            <a:extLst>
              <a:ext uri="{FF2B5EF4-FFF2-40B4-BE49-F238E27FC236}">
                <a16:creationId xmlns:a16="http://schemas.microsoft.com/office/drawing/2014/main" id="{372156A1-4203-BC07-8EDA-DCE12169F67E}"/>
              </a:ext>
            </a:extLst>
          </p:cNvPr>
          <p:cNvCxnSpPr>
            <a:cxnSpLocks/>
            <a:stCxn id="95" idx="1"/>
          </p:cNvCxnSpPr>
          <p:nvPr/>
        </p:nvCxnSpPr>
        <p:spPr>
          <a:xfrm flipH="1">
            <a:off x="3636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6" name="Rechteck 125">
            <a:extLst>
              <a:ext uri="{FF2B5EF4-FFF2-40B4-BE49-F238E27FC236}">
                <a16:creationId xmlns:a16="http://schemas.microsoft.com/office/drawing/2014/main" id="{D60A7314-F204-9674-DCB8-BB2B97398BCA}"/>
              </a:ext>
            </a:extLst>
          </p:cNvPr>
          <p:cNvSpPr/>
          <p:nvPr/>
        </p:nvSpPr>
        <p:spPr>
          <a:xfrm>
            <a:off x="3924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File not found</a:t>
            </a:r>
          </a:p>
        </p:txBody>
      </p:sp>
      <p:sp>
        <p:nvSpPr>
          <p:cNvPr id="127" name="Rechteck 126">
            <a:extLst>
              <a:ext uri="{FF2B5EF4-FFF2-40B4-BE49-F238E27FC236}">
                <a16:creationId xmlns:a16="http://schemas.microsoft.com/office/drawing/2014/main" id="{5D60E0FA-D4EE-2EB7-5A8D-2CC80CBB843A}"/>
              </a:ext>
            </a:extLst>
          </p:cNvPr>
          <p:cNvSpPr/>
          <p:nvPr/>
        </p:nvSpPr>
        <p:spPr>
          <a:xfrm>
            <a:off x="2412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not found</a:t>
            </a:r>
          </a:p>
        </p:txBody>
      </p:sp>
      <p:sp>
        <p:nvSpPr>
          <p:cNvPr id="58" name="Rechteck 57">
            <a:extLst>
              <a:ext uri="{FF2B5EF4-FFF2-40B4-BE49-F238E27FC236}">
                <a16:creationId xmlns:a16="http://schemas.microsoft.com/office/drawing/2014/main" id="{1976618D-D85F-56F9-443E-BFEFC344CCC5}"/>
              </a:ext>
            </a:extLst>
          </p:cNvPr>
          <p:cNvSpPr/>
          <p:nvPr/>
        </p:nvSpPr>
        <p:spPr>
          <a:xfrm>
            <a:off x="396000" y="4797000"/>
            <a:ext cx="6480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user initialization program which includes loading standard B4P libraries</a:t>
            </a:r>
          </a:p>
        </p:txBody>
      </p:sp>
      <p:cxnSp>
        <p:nvCxnSpPr>
          <p:cNvPr id="60" name="Gerade Verbindung mit Pfeil 59">
            <a:extLst>
              <a:ext uri="{FF2B5EF4-FFF2-40B4-BE49-F238E27FC236}">
                <a16:creationId xmlns:a16="http://schemas.microsoft.com/office/drawing/2014/main" id="{70331039-3AC0-49B5-FF3E-4C59DCC2538D}"/>
              </a:ext>
            </a:extLst>
          </p:cNvPr>
          <p:cNvCxnSpPr>
            <a:cxnSpLocks/>
          </p:cNvCxnSpPr>
          <p:nvPr/>
        </p:nvCxnSpPr>
        <p:spPr>
          <a:xfrm>
            <a:off x="1404000" y="5085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4BCA81C6-7E8E-3FA1-D905-6D8607440918}"/>
              </a:ext>
            </a:extLst>
          </p:cNvPr>
          <p:cNvCxnSpPr>
            <a:cxnSpLocks/>
          </p:cNvCxnSpPr>
          <p:nvPr/>
        </p:nvCxnSpPr>
        <p:spPr>
          <a:xfrm>
            <a:off x="2412000" y="5589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hteck 63">
            <a:extLst>
              <a:ext uri="{FF2B5EF4-FFF2-40B4-BE49-F238E27FC236}">
                <a16:creationId xmlns:a16="http://schemas.microsoft.com/office/drawing/2014/main" id="{D1414D7D-4155-77BB-33E6-939CEC7E5A2E}"/>
              </a:ext>
            </a:extLst>
          </p:cNvPr>
          <p:cNvSpPr/>
          <p:nvPr/>
        </p:nvSpPr>
        <p:spPr>
          <a:xfrm>
            <a:off x="2412000" y="5589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Interruption (key pressed)</a:t>
            </a:r>
          </a:p>
        </p:txBody>
      </p:sp>
      <p:sp>
        <p:nvSpPr>
          <p:cNvPr id="48" name="Rechteck 47">
            <a:extLst>
              <a:ext uri="{FF2B5EF4-FFF2-40B4-BE49-F238E27FC236}">
                <a16:creationId xmlns:a16="http://schemas.microsoft.com/office/drawing/2014/main" id="{15DAFF2C-54F8-2D83-F65E-B54C0DE7D641}"/>
              </a:ext>
            </a:extLst>
          </p:cNvPr>
          <p:cNvSpPr/>
          <p:nvPr/>
        </p:nvSpPr>
        <p:spPr>
          <a:xfrm>
            <a:off x="8604000" y="4365000"/>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if existing</a:t>
            </a:r>
          </a:p>
        </p:txBody>
      </p:sp>
      <p:sp>
        <p:nvSpPr>
          <p:cNvPr id="49" name="Rechteck 48">
            <a:extLst>
              <a:ext uri="{FF2B5EF4-FFF2-40B4-BE49-F238E27FC236}">
                <a16:creationId xmlns:a16="http://schemas.microsoft.com/office/drawing/2014/main" id="{84AEF1B9-993D-C651-E1EA-2CBAEFFF5BF9}"/>
              </a:ext>
            </a:extLst>
          </p:cNvPr>
          <p:cNvSpPr/>
          <p:nvPr/>
        </p:nvSpPr>
        <p:spPr>
          <a:xfrm>
            <a:off x="8604000" y="4869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clude default </a:t>
            </a:r>
            <a:r>
              <a:rPr lang="en-US" sz="1000" dirty="0" err="1">
                <a:solidFill>
                  <a:schemeClr val="tx1"/>
                </a:solidFill>
              </a:rPr>
              <a:t>B4P</a:t>
            </a:r>
            <a:r>
              <a:rPr lang="en-US" sz="1000" dirty="0">
                <a:solidFill>
                  <a:schemeClr val="tx1"/>
                </a:solidFill>
              </a:rPr>
              <a:t> libraries</a:t>
            </a:r>
          </a:p>
        </p:txBody>
      </p:sp>
      <p:sp>
        <p:nvSpPr>
          <p:cNvPr id="50" name="Rechteck 49">
            <a:extLst>
              <a:ext uri="{FF2B5EF4-FFF2-40B4-BE49-F238E27FC236}">
                <a16:creationId xmlns:a16="http://schemas.microsoft.com/office/drawing/2014/main" id="{92E82FB1-5ED9-6D28-2A28-1C88D63FA1ED}"/>
              </a:ext>
            </a:extLst>
          </p:cNvPr>
          <p:cNvSpPr/>
          <p:nvPr/>
        </p:nvSpPr>
        <p:spPr>
          <a:xfrm>
            <a:off x="8604000" y="5373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again</a:t>
            </a:r>
          </a:p>
        </p:txBody>
      </p:sp>
      <p:cxnSp>
        <p:nvCxnSpPr>
          <p:cNvPr id="5" name="Gerader Verbinder 4">
            <a:extLst>
              <a:ext uri="{FF2B5EF4-FFF2-40B4-BE49-F238E27FC236}">
                <a16:creationId xmlns:a16="http://schemas.microsoft.com/office/drawing/2014/main" id="{F65996D7-17E8-20E6-EDC1-43C2E3091A1D}"/>
              </a:ext>
            </a:extLst>
          </p:cNvPr>
          <p:cNvCxnSpPr>
            <a:cxnSpLocks/>
          </p:cNvCxnSpPr>
          <p:nvPr/>
        </p:nvCxnSpPr>
        <p:spPr>
          <a:xfrm flipV="1">
            <a:off x="8388000" y="4365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DB67CB06-AD79-A028-934B-E91903031782}"/>
              </a:ext>
            </a:extLst>
          </p:cNvPr>
          <p:cNvCxnSpPr>
            <a:cxnSpLocks/>
          </p:cNvCxnSpPr>
          <p:nvPr/>
        </p:nvCxnSpPr>
        <p:spPr>
          <a:xfrm>
            <a:off x="8388000" y="5157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ECE1EEEF-1C24-A0A5-FE71-72684B1D8285}"/>
              </a:ext>
            </a:extLst>
          </p:cNvPr>
          <p:cNvCxnSpPr>
            <a:cxnSpLocks/>
          </p:cNvCxnSpPr>
          <p:nvPr/>
        </p:nvCxnSpPr>
        <p:spPr>
          <a:xfrm>
            <a:off x="9612000" y="4653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a:extLst>
              <a:ext uri="{FF2B5EF4-FFF2-40B4-BE49-F238E27FC236}">
                <a16:creationId xmlns:a16="http://schemas.microsoft.com/office/drawing/2014/main" id="{EAB04DA7-0C3C-8D91-7C7B-CFA92D72E288}"/>
              </a:ext>
            </a:extLst>
          </p:cNvPr>
          <p:cNvCxnSpPr>
            <a:cxnSpLocks/>
          </p:cNvCxnSpPr>
          <p:nvPr/>
        </p:nvCxnSpPr>
        <p:spPr>
          <a:xfrm>
            <a:off x="9612000" y="5157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2FD95F57-86F8-4B2E-BCD3-57D56DE51960}"/>
              </a:ext>
            </a:extLst>
          </p:cNvPr>
          <p:cNvSpPr/>
          <p:nvPr/>
        </p:nvSpPr>
        <p:spPr>
          <a:xfrm>
            <a:off x="8604000" y="4149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a:solidFill>
                  <a:schemeClr val="tx1"/>
                </a:solidFill>
              </a:rPr>
              <a:t>Do 1st </a:t>
            </a:r>
            <a:r>
              <a:rPr lang="en-US" sz="800" dirty="0">
                <a:solidFill>
                  <a:schemeClr val="tx1"/>
                </a:solidFill>
              </a:rPr>
              <a:t>code block</a:t>
            </a:r>
          </a:p>
        </p:txBody>
      </p:sp>
      <p:sp>
        <p:nvSpPr>
          <p:cNvPr id="67" name="Rechteck 66">
            <a:extLst>
              <a:ext uri="{FF2B5EF4-FFF2-40B4-BE49-F238E27FC236}">
                <a16:creationId xmlns:a16="http://schemas.microsoft.com/office/drawing/2014/main" id="{B1CC084A-C30E-680A-EDFB-AA3AE29378FB}"/>
              </a:ext>
            </a:extLst>
          </p:cNvPr>
          <p:cNvSpPr/>
          <p:nvPr/>
        </p:nvSpPr>
        <p:spPr>
          <a:xfrm>
            <a:off x="8604000" y="5157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Do 2nd code block</a:t>
            </a:r>
          </a:p>
        </p:txBody>
      </p:sp>
      <p:sp>
        <p:nvSpPr>
          <p:cNvPr id="74" name="Rechteck 73">
            <a:extLst>
              <a:ext uri="{FF2B5EF4-FFF2-40B4-BE49-F238E27FC236}">
                <a16:creationId xmlns:a16="http://schemas.microsoft.com/office/drawing/2014/main" id="{5EB9193F-43B2-7560-70E6-86AAFBF04435}"/>
              </a:ext>
            </a:extLst>
          </p:cNvPr>
          <p:cNvSpPr/>
          <p:nvPr/>
        </p:nvSpPr>
        <p:spPr>
          <a:xfrm>
            <a:off x="5868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5" name="Rechteck 74">
            <a:extLst>
              <a:ext uri="{FF2B5EF4-FFF2-40B4-BE49-F238E27FC236}">
                <a16:creationId xmlns:a16="http://schemas.microsoft.com/office/drawing/2014/main" id="{940680E2-E76D-62CD-F90F-B38568F65458}"/>
              </a:ext>
            </a:extLst>
          </p:cNvPr>
          <p:cNvSpPr/>
          <p:nvPr/>
        </p:nvSpPr>
        <p:spPr>
          <a:xfrm>
            <a:off x="1404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6" name="Rechteck 75">
            <a:extLst>
              <a:ext uri="{FF2B5EF4-FFF2-40B4-BE49-F238E27FC236}">
                <a16:creationId xmlns:a16="http://schemas.microsoft.com/office/drawing/2014/main" id="{FB961D72-D598-17F6-0360-17A48B28EDB3}"/>
              </a:ext>
            </a:extLst>
          </p:cNvPr>
          <p:cNvSpPr/>
          <p:nvPr/>
        </p:nvSpPr>
        <p:spPr>
          <a:xfrm>
            <a:off x="1692000" y="573300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endParaRPr lang="en-US" sz="800" dirty="0">
              <a:solidFill>
                <a:schemeClr val="tx1"/>
              </a:solidFill>
            </a:endParaRPr>
          </a:p>
        </p:txBody>
      </p:sp>
      <p:cxnSp>
        <p:nvCxnSpPr>
          <p:cNvPr id="78" name="Gerade Verbindung mit Pfeil 77">
            <a:extLst>
              <a:ext uri="{FF2B5EF4-FFF2-40B4-BE49-F238E27FC236}">
                <a16:creationId xmlns:a16="http://schemas.microsoft.com/office/drawing/2014/main" id="{A887A908-6A8F-4CA9-17AA-90CCEBFAD6A5}"/>
              </a:ext>
            </a:extLst>
          </p:cNvPr>
          <p:cNvCxnSpPr>
            <a:cxnSpLocks/>
          </p:cNvCxnSpPr>
          <p:nvPr/>
        </p:nvCxnSpPr>
        <p:spPr>
          <a:xfrm>
            <a:off x="5868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chteck 86">
            <a:extLst>
              <a:ext uri="{FF2B5EF4-FFF2-40B4-BE49-F238E27FC236}">
                <a16:creationId xmlns:a16="http://schemas.microsoft.com/office/drawing/2014/main" id="{34484FFB-32D3-EABA-F826-1CFE7597B8FD}"/>
              </a:ext>
            </a:extLst>
          </p:cNvPr>
          <p:cNvSpPr/>
          <p:nvPr/>
        </p:nvSpPr>
        <p:spPr>
          <a:xfrm>
            <a:off x="396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89" name="Rechteck 88">
            <a:extLst>
              <a:ext uri="{FF2B5EF4-FFF2-40B4-BE49-F238E27FC236}">
                <a16:creationId xmlns:a16="http://schemas.microsoft.com/office/drawing/2014/main" id="{575D7B16-4DE6-D072-E3B3-DC291D9A9C39}"/>
              </a:ext>
            </a:extLst>
          </p:cNvPr>
          <p:cNvSpPr/>
          <p:nvPr/>
        </p:nvSpPr>
        <p:spPr>
          <a:xfrm>
            <a:off x="4860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90" name="Rechteck 89">
            <a:extLst>
              <a:ext uri="{FF2B5EF4-FFF2-40B4-BE49-F238E27FC236}">
                <a16:creationId xmlns:a16="http://schemas.microsoft.com/office/drawing/2014/main" id="{417E6ED3-3BCC-C68E-9B57-DB390F827E93}"/>
              </a:ext>
            </a:extLst>
          </p:cNvPr>
          <p:cNvSpPr/>
          <p:nvPr/>
        </p:nvSpPr>
        <p:spPr>
          <a:xfrm>
            <a:off x="396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3" name="Gerade Verbindung mit Pfeil 92">
            <a:extLst>
              <a:ext uri="{FF2B5EF4-FFF2-40B4-BE49-F238E27FC236}">
                <a16:creationId xmlns:a16="http://schemas.microsoft.com/office/drawing/2014/main" id="{FAC12F7B-BE18-E32E-6F09-A2F3FE4B9162}"/>
              </a:ext>
            </a:extLst>
          </p:cNvPr>
          <p:cNvCxnSpPr>
            <a:cxnSpLocks/>
          </p:cNvCxnSpPr>
          <p:nvPr/>
        </p:nvCxnSpPr>
        <p:spPr>
          <a:xfrm>
            <a:off x="1404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6" name="Rechteck 95">
            <a:extLst>
              <a:ext uri="{FF2B5EF4-FFF2-40B4-BE49-F238E27FC236}">
                <a16:creationId xmlns:a16="http://schemas.microsoft.com/office/drawing/2014/main" id="{BFD3CB9C-FA73-0BF7-86D8-88EDDC7C405B}"/>
              </a:ext>
            </a:extLst>
          </p:cNvPr>
          <p:cNvSpPr/>
          <p:nvPr/>
        </p:nvSpPr>
        <p:spPr>
          <a:xfrm>
            <a:off x="4860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9" name="Gerade Verbindung mit Pfeil 98">
            <a:extLst>
              <a:ext uri="{FF2B5EF4-FFF2-40B4-BE49-F238E27FC236}">
                <a16:creationId xmlns:a16="http://schemas.microsoft.com/office/drawing/2014/main" id="{C40A25A8-B03F-7EC0-FFA0-A8393BE6EAA8}"/>
              </a:ext>
            </a:extLst>
          </p:cNvPr>
          <p:cNvCxnSpPr>
            <a:cxnSpLocks/>
          </p:cNvCxnSpPr>
          <p:nvPr/>
        </p:nvCxnSpPr>
        <p:spPr>
          <a:xfrm>
            <a:off x="5868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Gerade Verbindung mit Pfeil 101">
            <a:extLst>
              <a:ext uri="{FF2B5EF4-FFF2-40B4-BE49-F238E27FC236}">
                <a16:creationId xmlns:a16="http://schemas.microsoft.com/office/drawing/2014/main" id="{2AC880C2-E839-BAAD-53D9-2ECAD3EB6763}"/>
              </a:ext>
            </a:extLst>
          </p:cNvPr>
          <p:cNvCxnSpPr>
            <a:cxnSpLocks/>
          </p:cNvCxnSpPr>
          <p:nvPr/>
        </p:nvCxnSpPr>
        <p:spPr>
          <a:xfrm>
            <a:off x="5868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Rechteck: abgerundete Ecken 103">
            <a:extLst>
              <a:ext uri="{FF2B5EF4-FFF2-40B4-BE49-F238E27FC236}">
                <a16:creationId xmlns:a16="http://schemas.microsoft.com/office/drawing/2014/main" id="{DDA211B6-23AE-D48F-CEDE-894142247A31}"/>
              </a:ext>
            </a:extLst>
          </p:cNvPr>
          <p:cNvSpPr/>
          <p:nvPr/>
        </p:nvSpPr>
        <p:spPr>
          <a:xfrm>
            <a:off x="4860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specified B4P program</a:t>
            </a:r>
          </a:p>
        </p:txBody>
      </p:sp>
      <p:cxnSp>
        <p:nvCxnSpPr>
          <p:cNvPr id="105" name="Gerade Verbindung mit Pfeil 104">
            <a:extLst>
              <a:ext uri="{FF2B5EF4-FFF2-40B4-BE49-F238E27FC236}">
                <a16:creationId xmlns:a16="http://schemas.microsoft.com/office/drawing/2014/main" id="{0A508B4C-372A-DBDE-A838-E86E86BCD48A}"/>
              </a:ext>
            </a:extLst>
          </p:cNvPr>
          <p:cNvCxnSpPr>
            <a:cxnSpLocks/>
            <a:endCxn id="104" idx="0"/>
          </p:cNvCxnSpPr>
          <p:nvPr/>
        </p:nvCxnSpPr>
        <p:spPr>
          <a:xfrm>
            <a:off x="5868000" y="5085000"/>
            <a:ext cx="0" cy="10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7654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Subtra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007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Tree>
    <p:extLst>
      <p:ext uri="{BB962C8B-B14F-4D97-AF65-F5344CB8AC3E}">
        <p14:creationId xmlns:p14="http://schemas.microsoft.com/office/powerpoint/2010/main" val="2948291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multiply</a:t>
            </a:r>
          </a:p>
        </p:txBody>
      </p:sp>
      <p:sp>
        <p:nvSpPr>
          <p:cNvPr id="204" name="Rechteck 203">
            <a:extLst>
              <a:ext uri="{FF2B5EF4-FFF2-40B4-BE49-F238E27FC236}">
                <a16:creationId xmlns:a16="http://schemas.microsoft.com/office/drawing/2014/main" id="{51F7F127-591B-4020-8C3C-39A7607D7743}"/>
              </a:ext>
            </a:extLst>
          </p:cNvPr>
          <p:cNvSpPr/>
          <p:nvPr/>
        </p:nvSpPr>
        <p:spPr>
          <a:xfrm>
            <a:off x="1403648" y="1484778"/>
            <a:ext cx="122417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a:extLst>
              <a:ext uri="{FF2B5EF4-FFF2-40B4-BE49-F238E27FC236}">
                <a16:creationId xmlns:a16="http://schemas.microsoft.com/office/drawing/2014/main" id="{0B71110E-930D-48AE-AC15-452348CA5416}"/>
              </a:ext>
            </a:extLst>
          </p:cNvPr>
          <p:cNvSpPr/>
          <p:nvPr/>
        </p:nvSpPr>
        <p:spPr>
          <a:xfrm>
            <a:off x="1403648" y="1556792"/>
            <a:ext cx="122417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7" name="Rechteck 226">
            <a:extLst>
              <a:ext uri="{FF2B5EF4-FFF2-40B4-BE49-F238E27FC236}">
                <a16:creationId xmlns:a16="http://schemas.microsoft.com/office/drawing/2014/main" id="{892808D4-596F-4936-9B4B-4D37ACF7AFB3}"/>
              </a:ext>
            </a:extLst>
          </p:cNvPr>
          <p:cNvSpPr/>
          <p:nvPr/>
        </p:nvSpPr>
        <p:spPr>
          <a:xfrm>
            <a:off x="1403648" y="1628800"/>
            <a:ext cx="122417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6220FDCB-1D8B-40D4-95D8-399C043DDB86}"/>
              </a:ext>
            </a:extLst>
          </p:cNvPr>
          <p:cNvSpPr/>
          <p:nvPr/>
        </p:nvSpPr>
        <p:spPr>
          <a:xfrm>
            <a:off x="1403648" y="1700808"/>
            <a:ext cx="1224170" cy="720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a:extLst>
              <a:ext uri="{FF2B5EF4-FFF2-40B4-BE49-F238E27FC236}">
                <a16:creationId xmlns:a16="http://schemas.microsoft.com/office/drawing/2014/main" id="{2AD5DF7D-D75D-48F7-9EBB-2CE1ECD9D3FB}"/>
              </a:ext>
            </a:extLst>
          </p:cNvPr>
          <p:cNvSpPr/>
          <p:nvPr/>
        </p:nvSpPr>
        <p:spPr>
          <a:xfrm>
            <a:off x="1403648" y="1772816"/>
            <a:ext cx="1224170" cy="7201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3" name="Rechteck 232">
            <a:extLst>
              <a:ext uri="{FF2B5EF4-FFF2-40B4-BE49-F238E27FC236}">
                <a16:creationId xmlns:a16="http://schemas.microsoft.com/office/drawing/2014/main" id="{421B3289-F74C-4556-9EA1-60A96E302462}"/>
              </a:ext>
            </a:extLst>
          </p:cNvPr>
          <p:cNvSpPr/>
          <p:nvPr/>
        </p:nvSpPr>
        <p:spPr>
          <a:xfrm>
            <a:off x="3275856" y="1412776"/>
            <a:ext cx="720000" cy="288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4" name="Gerade Verbindung 374">
            <a:extLst>
              <a:ext uri="{FF2B5EF4-FFF2-40B4-BE49-F238E27FC236}">
                <a16:creationId xmlns:a16="http://schemas.microsoft.com/office/drawing/2014/main" id="{08792D6C-1ABF-4023-8E3B-DC963588CAC3}"/>
              </a:ext>
            </a:extLst>
          </p:cNvPr>
          <p:cNvCxnSpPr>
            <a:cxnSpLocks/>
          </p:cNvCxnSpPr>
          <p:nvPr/>
        </p:nvCxnSpPr>
        <p:spPr>
          <a:xfrm>
            <a:off x="3275856"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6543175-CA5D-498C-A43F-24C37AD40AB5}"/>
              </a:ext>
            </a:extLst>
          </p:cNvPr>
          <p:cNvSpPr/>
          <p:nvPr/>
        </p:nvSpPr>
        <p:spPr>
          <a:xfrm>
            <a:off x="3275856" y="1484778"/>
            <a:ext cx="720000" cy="7200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B06BF606-05D9-427A-B0D1-8A18EDADD9EE}"/>
              </a:ext>
            </a:extLst>
          </p:cNvPr>
          <p:cNvSpPr/>
          <p:nvPr/>
        </p:nvSpPr>
        <p:spPr>
          <a:xfrm>
            <a:off x="3275856" y="1556792"/>
            <a:ext cx="720000"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7" name="Rechteck 236">
            <a:extLst>
              <a:ext uri="{FF2B5EF4-FFF2-40B4-BE49-F238E27FC236}">
                <a16:creationId xmlns:a16="http://schemas.microsoft.com/office/drawing/2014/main" id="{6B4E655A-425B-4F8A-9942-B05548BB0600}"/>
              </a:ext>
            </a:extLst>
          </p:cNvPr>
          <p:cNvSpPr/>
          <p:nvPr/>
        </p:nvSpPr>
        <p:spPr>
          <a:xfrm>
            <a:off x="3275856" y="1628800"/>
            <a:ext cx="720000" cy="72008"/>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a:extLst>
              <a:ext uri="{FF2B5EF4-FFF2-40B4-BE49-F238E27FC236}">
                <a16:creationId xmlns:a16="http://schemas.microsoft.com/office/drawing/2014/main" id="{8DE71246-88BC-4D0A-948A-BC6CC17D5A84}"/>
              </a:ext>
            </a:extLst>
          </p:cNvPr>
          <p:cNvSpPr/>
          <p:nvPr/>
        </p:nvSpPr>
        <p:spPr>
          <a:xfrm>
            <a:off x="1403648" y="1412776"/>
            <a:ext cx="1224170" cy="43204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 name="Rechteck 11">
            <a:extLst>
              <a:ext uri="{FF2B5EF4-FFF2-40B4-BE49-F238E27FC236}">
                <a16:creationId xmlns:a16="http://schemas.microsoft.com/office/drawing/2014/main" id="{CEE7A37A-69A9-42CB-8279-76FD4E0294CD}"/>
              </a:ext>
            </a:extLst>
          </p:cNvPr>
          <p:cNvSpPr/>
          <p:nvPr/>
        </p:nvSpPr>
        <p:spPr>
          <a:xfrm>
            <a:off x="1403768"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3" name="Rechteck 12">
            <a:extLst>
              <a:ext uri="{FF2B5EF4-FFF2-40B4-BE49-F238E27FC236}">
                <a16:creationId xmlns:a16="http://schemas.microsoft.com/office/drawing/2014/main" id="{EBA0709C-8B65-43C9-BD3C-8C7C6C0F9F13}"/>
              </a:ext>
            </a:extLst>
          </p:cNvPr>
          <p:cNvSpPr/>
          <p:nvPr/>
        </p:nvSpPr>
        <p:spPr>
          <a:xfrm>
            <a:off x="3275976" y="12327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243" name="Rechteck 242">
            <a:extLst>
              <a:ext uri="{FF2B5EF4-FFF2-40B4-BE49-F238E27FC236}">
                <a16:creationId xmlns:a16="http://schemas.microsoft.com/office/drawing/2014/main" id="{02612137-FB59-4B17-A114-E28A72E1E6FF}"/>
              </a:ext>
            </a:extLst>
          </p:cNvPr>
          <p:cNvSpPr/>
          <p:nvPr/>
        </p:nvSpPr>
        <p:spPr>
          <a:xfrm>
            <a:off x="4680012" y="1484778"/>
            <a:ext cx="1224170" cy="216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a:extLst>
              <a:ext uri="{FF2B5EF4-FFF2-40B4-BE49-F238E27FC236}">
                <a16:creationId xmlns:a16="http://schemas.microsoft.com/office/drawing/2014/main" id="{D2BB2832-BB8F-4C98-9E63-B8EF4E996C7C}"/>
              </a:ext>
            </a:extLst>
          </p:cNvPr>
          <p:cNvSpPr/>
          <p:nvPr/>
        </p:nvSpPr>
        <p:spPr>
          <a:xfrm>
            <a:off x="4680012" y="1700808"/>
            <a:ext cx="1224170" cy="216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5" name="Rechteck 244">
            <a:extLst>
              <a:ext uri="{FF2B5EF4-FFF2-40B4-BE49-F238E27FC236}">
                <a16:creationId xmlns:a16="http://schemas.microsoft.com/office/drawing/2014/main" id="{B83B07F0-E642-4C08-A440-107BE9419E1C}"/>
              </a:ext>
            </a:extLst>
          </p:cNvPr>
          <p:cNvSpPr/>
          <p:nvPr/>
        </p:nvSpPr>
        <p:spPr>
          <a:xfrm>
            <a:off x="4680012" y="1916832"/>
            <a:ext cx="1224170" cy="216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C92D3F25-6E76-43EA-99BD-7051942B126E}"/>
              </a:ext>
            </a:extLst>
          </p:cNvPr>
          <p:cNvSpPr/>
          <p:nvPr/>
        </p:nvSpPr>
        <p:spPr>
          <a:xfrm>
            <a:off x="4680012" y="2132856"/>
            <a:ext cx="1224170" cy="216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2861A0D8-2E01-40DC-B1F9-F599F03AFC06}"/>
              </a:ext>
            </a:extLst>
          </p:cNvPr>
          <p:cNvSpPr/>
          <p:nvPr/>
        </p:nvSpPr>
        <p:spPr>
          <a:xfrm>
            <a:off x="4680012" y="2348880"/>
            <a:ext cx="1224170" cy="21600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9" name="Rechteck 248">
            <a:extLst>
              <a:ext uri="{FF2B5EF4-FFF2-40B4-BE49-F238E27FC236}">
                <a16:creationId xmlns:a16="http://schemas.microsoft.com/office/drawing/2014/main" id="{E5990A4C-5B62-4DBD-9538-62F26F5CD8AA}"/>
              </a:ext>
            </a:extLst>
          </p:cNvPr>
          <p:cNvSpPr/>
          <p:nvPr/>
        </p:nvSpPr>
        <p:spPr>
          <a:xfrm>
            <a:off x="4680132"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after multiplication</a:t>
            </a:r>
          </a:p>
        </p:txBody>
      </p:sp>
      <p:cxnSp>
        <p:nvCxnSpPr>
          <p:cNvPr id="250" name="Gerade Verbindung 374">
            <a:extLst>
              <a:ext uri="{FF2B5EF4-FFF2-40B4-BE49-F238E27FC236}">
                <a16:creationId xmlns:a16="http://schemas.microsoft.com/office/drawing/2014/main" id="{4E8ED7F7-92FF-40FF-8238-5CC545F87400}"/>
              </a:ext>
            </a:extLst>
          </p:cNvPr>
          <p:cNvCxnSpPr/>
          <p:nvPr/>
        </p:nvCxnSpPr>
        <p:spPr>
          <a:xfrm>
            <a:off x="5904148"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1" name="Rechteck 250">
            <a:extLst>
              <a:ext uri="{FF2B5EF4-FFF2-40B4-BE49-F238E27FC236}">
                <a16:creationId xmlns:a16="http://schemas.microsoft.com/office/drawing/2014/main" id="{4D605314-BA1C-4490-84FC-57C45A2E6860}"/>
              </a:ext>
            </a:extLst>
          </p:cNvPr>
          <p:cNvSpPr/>
          <p:nvPr/>
        </p:nvSpPr>
        <p:spPr>
          <a:xfrm>
            <a:off x="5904148" y="1484778"/>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2" name="Rechteck 251">
            <a:extLst>
              <a:ext uri="{FF2B5EF4-FFF2-40B4-BE49-F238E27FC236}">
                <a16:creationId xmlns:a16="http://schemas.microsoft.com/office/drawing/2014/main" id="{9545EBA7-AD79-4F32-B886-52FAD229C87E}"/>
              </a:ext>
            </a:extLst>
          </p:cNvPr>
          <p:cNvSpPr/>
          <p:nvPr/>
        </p:nvSpPr>
        <p:spPr>
          <a:xfrm>
            <a:off x="5904148" y="1556792"/>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a:extLst>
              <a:ext uri="{FF2B5EF4-FFF2-40B4-BE49-F238E27FC236}">
                <a16:creationId xmlns:a16="http://schemas.microsoft.com/office/drawing/2014/main" id="{70C3F473-4743-4244-A21A-22AB0A390519}"/>
              </a:ext>
            </a:extLst>
          </p:cNvPr>
          <p:cNvSpPr/>
          <p:nvPr/>
        </p:nvSpPr>
        <p:spPr>
          <a:xfrm>
            <a:off x="5904148" y="1628800"/>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a:extLst>
              <a:ext uri="{FF2B5EF4-FFF2-40B4-BE49-F238E27FC236}">
                <a16:creationId xmlns:a16="http://schemas.microsoft.com/office/drawing/2014/main" id="{B218CC55-EFAE-4BA5-9DAE-580A47F21780}"/>
              </a:ext>
            </a:extLst>
          </p:cNvPr>
          <p:cNvCxnSpPr/>
          <p:nvPr/>
        </p:nvCxnSpPr>
        <p:spPr>
          <a:xfrm>
            <a:off x="5904148" y="1700808"/>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6" name="Rechteck 255">
            <a:extLst>
              <a:ext uri="{FF2B5EF4-FFF2-40B4-BE49-F238E27FC236}">
                <a16:creationId xmlns:a16="http://schemas.microsoft.com/office/drawing/2014/main" id="{3031DBB2-2AF9-48E6-823E-5EA0F1FF25DA}"/>
              </a:ext>
            </a:extLst>
          </p:cNvPr>
          <p:cNvSpPr/>
          <p:nvPr/>
        </p:nvSpPr>
        <p:spPr>
          <a:xfrm>
            <a:off x="5904148" y="1700802"/>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a:extLst>
              <a:ext uri="{FF2B5EF4-FFF2-40B4-BE49-F238E27FC236}">
                <a16:creationId xmlns:a16="http://schemas.microsoft.com/office/drawing/2014/main" id="{0492F661-6E1A-4838-8AA8-D2B3D1C2661A}"/>
              </a:ext>
            </a:extLst>
          </p:cNvPr>
          <p:cNvSpPr/>
          <p:nvPr/>
        </p:nvSpPr>
        <p:spPr>
          <a:xfrm>
            <a:off x="5904148" y="1772816"/>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a:extLst>
              <a:ext uri="{FF2B5EF4-FFF2-40B4-BE49-F238E27FC236}">
                <a16:creationId xmlns:a16="http://schemas.microsoft.com/office/drawing/2014/main" id="{9A472A2B-F666-452E-8176-1542203961F8}"/>
              </a:ext>
            </a:extLst>
          </p:cNvPr>
          <p:cNvSpPr/>
          <p:nvPr/>
        </p:nvSpPr>
        <p:spPr>
          <a:xfrm>
            <a:off x="5904148" y="1844824"/>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9" name="Gerade Verbindung 374">
            <a:extLst>
              <a:ext uri="{FF2B5EF4-FFF2-40B4-BE49-F238E27FC236}">
                <a16:creationId xmlns:a16="http://schemas.microsoft.com/office/drawing/2014/main" id="{D26F23A8-71D9-427B-9B92-7DA5AC540528}"/>
              </a:ext>
            </a:extLst>
          </p:cNvPr>
          <p:cNvCxnSpPr/>
          <p:nvPr/>
        </p:nvCxnSpPr>
        <p:spPr>
          <a:xfrm>
            <a:off x="5904148" y="1916832"/>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a:extLst>
              <a:ext uri="{FF2B5EF4-FFF2-40B4-BE49-F238E27FC236}">
                <a16:creationId xmlns:a16="http://schemas.microsoft.com/office/drawing/2014/main" id="{03C11F4D-9EC3-4E76-9950-5BDCE50729D4}"/>
              </a:ext>
            </a:extLst>
          </p:cNvPr>
          <p:cNvSpPr/>
          <p:nvPr/>
        </p:nvSpPr>
        <p:spPr>
          <a:xfrm>
            <a:off x="5904148" y="1916826"/>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a:extLst>
              <a:ext uri="{FF2B5EF4-FFF2-40B4-BE49-F238E27FC236}">
                <a16:creationId xmlns:a16="http://schemas.microsoft.com/office/drawing/2014/main" id="{7C83FFF8-203B-4E79-ABBE-1C5307A4E3E5}"/>
              </a:ext>
            </a:extLst>
          </p:cNvPr>
          <p:cNvSpPr/>
          <p:nvPr/>
        </p:nvSpPr>
        <p:spPr>
          <a:xfrm>
            <a:off x="5904148" y="1988840"/>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a:extLst>
              <a:ext uri="{FF2B5EF4-FFF2-40B4-BE49-F238E27FC236}">
                <a16:creationId xmlns:a16="http://schemas.microsoft.com/office/drawing/2014/main" id="{5F839575-FCBE-4607-B016-1A67F626AE82}"/>
              </a:ext>
            </a:extLst>
          </p:cNvPr>
          <p:cNvSpPr/>
          <p:nvPr/>
        </p:nvSpPr>
        <p:spPr>
          <a:xfrm>
            <a:off x="5904148" y="2060848"/>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4" name="Gerade Verbindung 374">
            <a:extLst>
              <a:ext uri="{FF2B5EF4-FFF2-40B4-BE49-F238E27FC236}">
                <a16:creationId xmlns:a16="http://schemas.microsoft.com/office/drawing/2014/main" id="{3B85AB88-29EE-441A-A9BD-7DDA2C867758}"/>
              </a:ext>
            </a:extLst>
          </p:cNvPr>
          <p:cNvCxnSpPr/>
          <p:nvPr/>
        </p:nvCxnSpPr>
        <p:spPr>
          <a:xfrm>
            <a:off x="5904148" y="2132856"/>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6" name="Rechteck 265">
            <a:extLst>
              <a:ext uri="{FF2B5EF4-FFF2-40B4-BE49-F238E27FC236}">
                <a16:creationId xmlns:a16="http://schemas.microsoft.com/office/drawing/2014/main" id="{BE9261FB-E701-4A5E-A7CE-9FF2A3721663}"/>
              </a:ext>
            </a:extLst>
          </p:cNvPr>
          <p:cNvSpPr/>
          <p:nvPr/>
        </p:nvSpPr>
        <p:spPr>
          <a:xfrm>
            <a:off x="5904148" y="2132850"/>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F8274360-DB49-4107-BD15-7C395BEBD209}"/>
              </a:ext>
            </a:extLst>
          </p:cNvPr>
          <p:cNvSpPr/>
          <p:nvPr/>
        </p:nvSpPr>
        <p:spPr>
          <a:xfrm>
            <a:off x="5904148" y="2204864"/>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6" name="Rechteck 275">
            <a:extLst>
              <a:ext uri="{FF2B5EF4-FFF2-40B4-BE49-F238E27FC236}">
                <a16:creationId xmlns:a16="http://schemas.microsoft.com/office/drawing/2014/main" id="{A5FBACC8-4809-46CD-8B33-3318E5AE7226}"/>
              </a:ext>
            </a:extLst>
          </p:cNvPr>
          <p:cNvSpPr/>
          <p:nvPr/>
        </p:nvSpPr>
        <p:spPr>
          <a:xfrm>
            <a:off x="5904148" y="2276872"/>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7" name="Gerade Verbindung 374">
            <a:extLst>
              <a:ext uri="{FF2B5EF4-FFF2-40B4-BE49-F238E27FC236}">
                <a16:creationId xmlns:a16="http://schemas.microsoft.com/office/drawing/2014/main" id="{A5C8CB0D-39A1-4D05-A9BF-9BC148C18465}"/>
              </a:ext>
            </a:extLst>
          </p:cNvPr>
          <p:cNvCxnSpPr/>
          <p:nvPr/>
        </p:nvCxnSpPr>
        <p:spPr>
          <a:xfrm>
            <a:off x="5904148" y="2348880"/>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78" name="Rechteck 277">
            <a:extLst>
              <a:ext uri="{FF2B5EF4-FFF2-40B4-BE49-F238E27FC236}">
                <a16:creationId xmlns:a16="http://schemas.microsoft.com/office/drawing/2014/main" id="{2936EEB6-AB72-47EF-8E8C-32712C5A3D1C}"/>
              </a:ext>
            </a:extLst>
          </p:cNvPr>
          <p:cNvSpPr/>
          <p:nvPr/>
        </p:nvSpPr>
        <p:spPr>
          <a:xfrm>
            <a:off x="5904148" y="2348874"/>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F0667D44-8995-4DCD-AE50-D85AE6B1DD12}"/>
              </a:ext>
            </a:extLst>
          </p:cNvPr>
          <p:cNvSpPr/>
          <p:nvPr/>
        </p:nvSpPr>
        <p:spPr>
          <a:xfrm>
            <a:off x="5904148" y="2420888"/>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0" name="Rechteck 279">
            <a:extLst>
              <a:ext uri="{FF2B5EF4-FFF2-40B4-BE49-F238E27FC236}">
                <a16:creationId xmlns:a16="http://schemas.microsoft.com/office/drawing/2014/main" id="{07B8D959-E409-4237-85A1-63846BA4E84F}"/>
              </a:ext>
            </a:extLst>
          </p:cNvPr>
          <p:cNvSpPr/>
          <p:nvPr/>
        </p:nvSpPr>
        <p:spPr>
          <a:xfrm>
            <a:off x="5904148" y="2492896"/>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8" name="Rechteck 247">
            <a:extLst>
              <a:ext uri="{FF2B5EF4-FFF2-40B4-BE49-F238E27FC236}">
                <a16:creationId xmlns:a16="http://schemas.microsoft.com/office/drawing/2014/main" id="{23CA0ABD-2E0F-40BE-9D4B-6F0FE345D937}"/>
              </a:ext>
            </a:extLst>
          </p:cNvPr>
          <p:cNvSpPr/>
          <p:nvPr/>
        </p:nvSpPr>
        <p:spPr>
          <a:xfrm>
            <a:off x="4680012" y="1412776"/>
            <a:ext cx="1944216" cy="115212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Flussdiagramm: Zusammenführung 280">
            <a:extLst>
              <a:ext uri="{FF2B5EF4-FFF2-40B4-BE49-F238E27FC236}">
                <a16:creationId xmlns:a16="http://schemas.microsoft.com/office/drawing/2014/main" id="{85A82A91-55F6-4D1E-9B8F-439BF4A72DB8}"/>
              </a:ext>
            </a:extLst>
          </p:cNvPr>
          <p:cNvSpPr/>
          <p:nvPr/>
        </p:nvSpPr>
        <p:spPr>
          <a:xfrm>
            <a:off x="3491880" y="2024876"/>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2" name="Gerade Verbindung mit Pfeil 281">
            <a:extLst>
              <a:ext uri="{FF2B5EF4-FFF2-40B4-BE49-F238E27FC236}">
                <a16:creationId xmlns:a16="http://schemas.microsoft.com/office/drawing/2014/main" id="{7CF50312-9A5A-4403-A977-620D42BEBE4E}"/>
              </a:ext>
            </a:extLst>
          </p:cNvPr>
          <p:cNvCxnSpPr>
            <a:cxnSpLocks/>
            <a:stCxn id="281" idx="0"/>
            <a:endCxn id="233" idx="2"/>
          </p:cNvCxnSpPr>
          <p:nvPr/>
        </p:nvCxnSpPr>
        <p:spPr>
          <a:xfrm flipH="1" flipV="1">
            <a:off x="3635856" y="1700800"/>
            <a:ext cx="24" cy="32407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3" name="Gerade Verbindung mit Pfeil 282">
            <a:extLst>
              <a:ext uri="{FF2B5EF4-FFF2-40B4-BE49-F238E27FC236}">
                <a16:creationId xmlns:a16="http://schemas.microsoft.com/office/drawing/2014/main" id="{39A8A7C9-051B-41D0-904D-2CCAF9483EF9}"/>
              </a:ext>
            </a:extLst>
          </p:cNvPr>
          <p:cNvCxnSpPr>
            <a:cxnSpLocks/>
            <a:stCxn id="281" idx="2"/>
          </p:cNvCxnSpPr>
          <p:nvPr/>
        </p:nvCxnSpPr>
        <p:spPr>
          <a:xfrm flipH="1">
            <a:off x="2015716" y="2168876"/>
            <a:ext cx="147616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4" name="Gerade Verbindung mit Pfeil 283">
            <a:extLst>
              <a:ext uri="{FF2B5EF4-FFF2-40B4-BE49-F238E27FC236}">
                <a16:creationId xmlns:a16="http://schemas.microsoft.com/office/drawing/2014/main" id="{D7F989F6-DA04-4E02-8269-EC2D60C3C662}"/>
              </a:ext>
            </a:extLst>
          </p:cNvPr>
          <p:cNvCxnSpPr>
            <a:cxnSpLocks/>
          </p:cNvCxnSpPr>
          <p:nvPr/>
        </p:nvCxnSpPr>
        <p:spPr>
          <a:xfrm flipH="1" flipV="1">
            <a:off x="2015692" y="1844824"/>
            <a:ext cx="24" cy="324076"/>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5" name="Gerade Verbindung mit Pfeil 284">
            <a:extLst>
              <a:ext uri="{FF2B5EF4-FFF2-40B4-BE49-F238E27FC236}">
                <a16:creationId xmlns:a16="http://schemas.microsoft.com/office/drawing/2014/main" id="{5390D3F4-3FC2-46E4-AFDA-B3CAD69EE1C6}"/>
              </a:ext>
            </a:extLst>
          </p:cNvPr>
          <p:cNvCxnSpPr>
            <a:cxnSpLocks/>
          </p:cNvCxnSpPr>
          <p:nvPr/>
        </p:nvCxnSpPr>
        <p:spPr>
          <a:xfrm flipH="1">
            <a:off x="3779912" y="2168860"/>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3085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hteck 104">
            <a:extLst>
              <a:ext uri="{FF2B5EF4-FFF2-40B4-BE49-F238E27FC236}">
                <a16:creationId xmlns:a16="http://schemas.microsoft.com/office/drawing/2014/main" id="{1515B03C-D405-4C0E-BC22-F31077CCC9DE}"/>
              </a:ext>
            </a:extLst>
          </p:cNvPr>
          <p:cNvSpPr/>
          <p:nvPr/>
        </p:nvSpPr>
        <p:spPr>
          <a:xfrm>
            <a:off x="1799812" y="2600908"/>
            <a:ext cx="288032" cy="216024"/>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6" name="Rechteck 105">
            <a:extLst>
              <a:ext uri="{FF2B5EF4-FFF2-40B4-BE49-F238E27FC236}">
                <a16:creationId xmlns:a16="http://schemas.microsoft.com/office/drawing/2014/main" id="{0683B4E8-C199-45A6-81AE-5BF446BA7E12}"/>
              </a:ext>
            </a:extLst>
          </p:cNvPr>
          <p:cNvSpPr/>
          <p:nvPr/>
        </p:nvSpPr>
        <p:spPr>
          <a:xfrm>
            <a:off x="1799812" y="2960950"/>
            <a:ext cx="288032" cy="216024"/>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25329B9C-275D-4A8A-BCCE-4D4F8373834C}"/>
              </a:ext>
            </a:extLst>
          </p:cNvPr>
          <p:cNvSpPr/>
          <p:nvPr/>
        </p:nvSpPr>
        <p:spPr>
          <a:xfrm>
            <a:off x="1799812" y="3501008"/>
            <a:ext cx="288032" cy="216024"/>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divide</a:t>
            </a:r>
          </a:p>
        </p:txBody>
      </p:sp>
      <p:sp>
        <p:nvSpPr>
          <p:cNvPr id="48" name="Rechteck 47">
            <a:extLst>
              <a:ext uri="{FF2B5EF4-FFF2-40B4-BE49-F238E27FC236}">
                <a16:creationId xmlns:a16="http://schemas.microsoft.com/office/drawing/2014/main" id="{F15B12E3-9DE4-490F-8E19-ADA7987F5F33}"/>
              </a:ext>
            </a:extLst>
          </p:cNvPr>
          <p:cNvSpPr/>
          <p:nvPr/>
        </p:nvSpPr>
        <p:spPr>
          <a:xfrm>
            <a:off x="2087844" y="2600906"/>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 name="Rechteck 48">
            <a:extLst>
              <a:ext uri="{FF2B5EF4-FFF2-40B4-BE49-F238E27FC236}">
                <a16:creationId xmlns:a16="http://schemas.microsoft.com/office/drawing/2014/main" id="{089CBC47-73C8-46CE-8872-3CAABE109B4B}"/>
              </a:ext>
            </a:extLst>
          </p:cNvPr>
          <p:cNvSpPr/>
          <p:nvPr/>
        </p:nvSpPr>
        <p:spPr>
          <a:xfrm>
            <a:off x="2303868" y="2600906"/>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 name="Rechteck 49">
            <a:extLst>
              <a:ext uri="{FF2B5EF4-FFF2-40B4-BE49-F238E27FC236}">
                <a16:creationId xmlns:a16="http://schemas.microsoft.com/office/drawing/2014/main" id="{AC314B7E-B1E4-40F5-AE14-23BA288C95EF}"/>
              </a:ext>
            </a:extLst>
          </p:cNvPr>
          <p:cNvSpPr/>
          <p:nvPr/>
        </p:nvSpPr>
        <p:spPr>
          <a:xfrm>
            <a:off x="2087844" y="26729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FC751992-3E72-4D00-9E07-41D7B346721D}"/>
              </a:ext>
            </a:extLst>
          </p:cNvPr>
          <p:cNvSpPr/>
          <p:nvPr/>
        </p:nvSpPr>
        <p:spPr>
          <a:xfrm>
            <a:off x="2303868" y="26729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 name="Rechteck 51">
            <a:extLst>
              <a:ext uri="{FF2B5EF4-FFF2-40B4-BE49-F238E27FC236}">
                <a16:creationId xmlns:a16="http://schemas.microsoft.com/office/drawing/2014/main" id="{F7824073-1A6A-499D-8000-CE04EFD435D2}"/>
              </a:ext>
            </a:extLst>
          </p:cNvPr>
          <p:cNvSpPr/>
          <p:nvPr/>
        </p:nvSpPr>
        <p:spPr>
          <a:xfrm>
            <a:off x="2087844" y="2744922"/>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a:extLst>
              <a:ext uri="{FF2B5EF4-FFF2-40B4-BE49-F238E27FC236}">
                <a16:creationId xmlns:a16="http://schemas.microsoft.com/office/drawing/2014/main" id="{62DDA587-48FB-4929-A452-436745FCBE3F}"/>
              </a:ext>
            </a:extLst>
          </p:cNvPr>
          <p:cNvSpPr/>
          <p:nvPr/>
        </p:nvSpPr>
        <p:spPr>
          <a:xfrm>
            <a:off x="2303868" y="2744922"/>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a:extLst>
              <a:ext uri="{FF2B5EF4-FFF2-40B4-BE49-F238E27FC236}">
                <a16:creationId xmlns:a16="http://schemas.microsoft.com/office/drawing/2014/main" id="{FC83B115-F5F7-4461-A43E-7EDD3F7B4797}"/>
              </a:ext>
            </a:extLst>
          </p:cNvPr>
          <p:cNvSpPr/>
          <p:nvPr/>
        </p:nvSpPr>
        <p:spPr>
          <a:xfrm>
            <a:off x="1511780" y="2600906"/>
            <a:ext cx="288032" cy="216024"/>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a:extLst>
              <a:ext uri="{FF2B5EF4-FFF2-40B4-BE49-F238E27FC236}">
                <a16:creationId xmlns:a16="http://schemas.microsoft.com/office/drawing/2014/main" id="{9D134745-96AB-4C2F-8B22-7115BEE15124}"/>
              </a:ext>
            </a:extLst>
          </p:cNvPr>
          <p:cNvSpPr/>
          <p:nvPr/>
        </p:nvSpPr>
        <p:spPr>
          <a:xfrm>
            <a:off x="2087844" y="2960948"/>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4F397983-6C59-4361-9F20-C6A1F8887CC6}"/>
              </a:ext>
            </a:extLst>
          </p:cNvPr>
          <p:cNvSpPr/>
          <p:nvPr/>
        </p:nvSpPr>
        <p:spPr>
          <a:xfrm>
            <a:off x="2303868" y="2960948"/>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7" name="Rechteck 56">
            <a:extLst>
              <a:ext uri="{FF2B5EF4-FFF2-40B4-BE49-F238E27FC236}">
                <a16:creationId xmlns:a16="http://schemas.microsoft.com/office/drawing/2014/main" id="{0AF0F093-41E3-49B9-B079-80EE5261DDA7}"/>
              </a:ext>
            </a:extLst>
          </p:cNvPr>
          <p:cNvSpPr/>
          <p:nvPr/>
        </p:nvSpPr>
        <p:spPr>
          <a:xfrm>
            <a:off x="2087844" y="3032956"/>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a:extLst>
              <a:ext uri="{FF2B5EF4-FFF2-40B4-BE49-F238E27FC236}">
                <a16:creationId xmlns:a16="http://schemas.microsoft.com/office/drawing/2014/main" id="{6112B15A-6C80-4B87-91EC-05324C4A167E}"/>
              </a:ext>
            </a:extLst>
          </p:cNvPr>
          <p:cNvSpPr/>
          <p:nvPr/>
        </p:nvSpPr>
        <p:spPr>
          <a:xfrm>
            <a:off x="2303868" y="3032956"/>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7D3F18B3-A1F5-4438-B3B7-F78D84E61C64}"/>
              </a:ext>
            </a:extLst>
          </p:cNvPr>
          <p:cNvSpPr/>
          <p:nvPr/>
        </p:nvSpPr>
        <p:spPr>
          <a:xfrm>
            <a:off x="2087844" y="3104964"/>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0" name="Rechteck 59">
            <a:extLst>
              <a:ext uri="{FF2B5EF4-FFF2-40B4-BE49-F238E27FC236}">
                <a16:creationId xmlns:a16="http://schemas.microsoft.com/office/drawing/2014/main" id="{FE3950DA-25AE-4A1D-9C7B-2EF80DE04F00}"/>
              </a:ext>
            </a:extLst>
          </p:cNvPr>
          <p:cNvSpPr/>
          <p:nvPr/>
        </p:nvSpPr>
        <p:spPr>
          <a:xfrm>
            <a:off x="2303868" y="3104964"/>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01EEEF0B-4CFD-4709-8402-31990E705A68}"/>
              </a:ext>
            </a:extLst>
          </p:cNvPr>
          <p:cNvSpPr/>
          <p:nvPr/>
        </p:nvSpPr>
        <p:spPr>
          <a:xfrm>
            <a:off x="1511780" y="2960948"/>
            <a:ext cx="288032" cy="216024"/>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 name="Rechteck 61">
            <a:extLst>
              <a:ext uri="{FF2B5EF4-FFF2-40B4-BE49-F238E27FC236}">
                <a16:creationId xmlns:a16="http://schemas.microsoft.com/office/drawing/2014/main" id="{981172E4-B821-438A-A5B9-7C5A0184DAF9}"/>
              </a:ext>
            </a:extLst>
          </p:cNvPr>
          <p:cNvSpPr/>
          <p:nvPr/>
        </p:nvSpPr>
        <p:spPr>
          <a:xfrm>
            <a:off x="1511780" y="2816930"/>
            <a:ext cx="288032" cy="72010"/>
          </a:xfrm>
          <a:prstGeom prst="rect">
            <a:avLst/>
          </a:prstGeom>
          <a:solidFill>
            <a:srgbClr val="99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 name="Rechteck 62">
            <a:extLst>
              <a:ext uri="{FF2B5EF4-FFF2-40B4-BE49-F238E27FC236}">
                <a16:creationId xmlns:a16="http://schemas.microsoft.com/office/drawing/2014/main" id="{68F0FFD3-D1A4-4CE1-9F16-58D57B6F3FC6}"/>
              </a:ext>
            </a:extLst>
          </p:cNvPr>
          <p:cNvSpPr/>
          <p:nvPr/>
        </p:nvSpPr>
        <p:spPr>
          <a:xfrm>
            <a:off x="2087844" y="2816930"/>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64CAEF-493D-4B34-80D2-1EDDB7E33A9D}"/>
              </a:ext>
            </a:extLst>
          </p:cNvPr>
          <p:cNvSpPr/>
          <p:nvPr/>
        </p:nvSpPr>
        <p:spPr>
          <a:xfrm>
            <a:off x="2303868" y="2816930"/>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a:extLst>
              <a:ext uri="{FF2B5EF4-FFF2-40B4-BE49-F238E27FC236}">
                <a16:creationId xmlns:a16="http://schemas.microsoft.com/office/drawing/2014/main" id="{D124D379-B27A-4354-817A-3457225F9FD3}"/>
              </a:ext>
            </a:extLst>
          </p:cNvPr>
          <p:cNvSpPr/>
          <p:nvPr/>
        </p:nvSpPr>
        <p:spPr>
          <a:xfrm>
            <a:off x="1511780" y="3356990"/>
            <a:ext cx="288032" cy="144016"/>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a:extLst>
              <a:ext uri="{FF2B5EF4-FFF2-40B4-BE49-F238E27FC236}">
                <a16:creationId xmlns:a16="http://schemas.microsoft.com/office/drawing/2014/main" id="{AE8B5D05-75D9-4D59-AA8E-6EFD74B18FEF}"/>
              </a:ext>
            </a:extLst>
          </p:cNvPr>
          <p:cNvSpPr/>
          <p:nvPr/>
        </p:nvSpPr>
        <p:spPr>
          <a:xfrm>
            <a:off x="2087844" y="335699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a:extLst>
              <a:ext uri="{FF2B5EF4-FFF2-40B4-BE49-F238E27FC236}">
                <a16:creationId xmlns:a16="http://schemas.microsoft.com/office/drawing/2014/main" id="{10DFA27B-8AB6-4E64-AE1D-6B456A43A6E1}"/>
              </a:ext>
            </a:extLst>
          </p:cNvPr>
          <p:cNvSpPr/>
          <p:nvPr/>
        </p:nvSpPr>
        <p:spPr>
          <a:xfrm>
            <a:off x="2303868" y="335699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8" name="Rechteck 67">
            <a:extLst>
              <a:ext uri="{FF2B5EF4-FFF2-40B4-BE49-F238E27FC236}">
                <a16:creationId xmlns:a16="http://schemas.microsoft.com/office/drawing/2014/main" id="{8579FADD-EB60-41E1-B07C-C255E7C97996}"/>
              </a:ext>
            </a:extLst>
          </p:cNvPr>
          <p:cNvSpPr/>
          <p:nvPr/>
        </p:nvSpPr>
        <p:spPr>
          <a:xfrm>
            <a:off x="2087844" y="342899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9" name="Rechteck 68">
            <a:extLst>
              <a:ext uri="{FF2B5EF4-FFF2-40B4-BE49-F238E27FC236}">
                <a16:creationId xmlns:a16="http://schemas.microsoft.com/office/drawing/2014/main" id="{5DF4C267-BAFC-4589-B10A-A5C4FC448112}"/>
              </a:ext>
            </a:extLst>
          </p:cNvPr>
          <p:cNvSpPr/>
          <p:nvPr/>
        </p:nvSpPr>
        <p:spPr>
          <a:xfrm>
            <a:off x="2303868" y="342899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0" name="Rechteck 69">
            <a:extLst>
              <a:ext uri="{FF2B5EF4-FFF2-40B4-BE49-F238E27FC236}">
                <a16:creationId xmlns:a16="http://schemas.microsoft.com/office/drawing/2014/main" id="{370CEF38-B40B-41FC-B0B7-77DE9F67CBB6}"/>
              </a:ext>
            </a:extLst>
          </p:cNvPr>
          <p:cNvSpPr/>
          <p:nvPr/>
        </p:nvSpPr>
        <p:spPr>
          <a:xfrm>
            <a:off x="1511780" y="3501006"/>
            <a:ext cx="288032" cy="216024"/>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a:extLst>
              <a:ext uri="{FF2B5EF4-FFF2-40B4-BE49-F238E27FC236}">
                <a16:creationId xmlns:a16="http://schemas.microsoft.com/office/drawing/2014/main" id="{D69FBE9C-593C-4B24-9EFF-8FE131EEDD2C}"/>
              </a:ext>
            </a:extLst>
          </p:cNvPr>
          <p:cNvSpPr/>
          <p:nvPr/>
        </p:nvSpPr>
        <p:spPr>
          <a:xfrm>
            <a:off x="2087844" y="350100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a:extLst>
              <a:ext uri="{FF2B5EF4-FFF2-40B4-BE49-F238E27FC236}">
                <a16:creationId xmlns:a16="http://schemas.microsoft.com/office/drawing/2014/main" id="{FC292205-51F4-4578-98CB-6382F2799537}"/>
              </a:ext>
            </a:extLst>
          </p:cNvPr>
          <p:cNvSpPr/>
          <p:nvPr/>
        </p:nvSpPr>
        <p:spPr>
          <a:xfrm>
            <a:off x="2303868" y="350100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a:extLst>
              <a:ext uri="{FF2B5EF4-FFF2-40B4-BE49-F238E27FC236}">
                <a16:creationId xmlns:a16="http://schemas.microsoft.com/office/drawing/2014/main" id="{AB351BE1-D3AF-4655-940D-4654D2F5B6F9}"/>
              </a:ext>
            </a:extLst>
          </p:cNvPr>
          <p:cNvSpPr/>
          <p:nvPr/>
        </p:nvSpPr>
        <p:spPr>
          <a:xfrm>
            <a:off x="2087844" y="35730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FAEA1BE2-A046-4D95-92F7-A00E91FE93BB}"/>
              </a:ext>
            </a:extLst>
          </p:cNvPr>
          <p:cNvSpPr/>
          <p:nvPr/>
        </p:nvSpPr>
        <p:spPr>
          <a:xfrm>
            <a:off x="2303868" y="35730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a:extLst>
              <a:ext uri="{FF2B5EF4-FFF2-40B4-BE49-F238E27FC236}">
                <a16:creationId xmlns:a16="http://schemas.microsoft.com/office/drawing/2014/main" id="{EBDD0CF1-3172-4E67-9777-9551796190A2}"/>
              </a:ext>
            </a:extLst>
          </p:cNvPr>
          <p:cNvSpPr/>
          <p:nvPr/>
        </p:nvSpPr>
        <p:spPr>
          <a:xfrm>
            <a:off x="2087844" y="3645022"/>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a:extLst>
              <a:ext uri="{FF2B5EF4-FFF2-40B4-BE49-F238E27FC236}">
                <a16:creationId xmlns:a16="http://schemas.microsoft.com/office/drawing/2014/main" id="{AAFFAC4F-01A1-4F12-94DB-67AB625CE890}"/>
              </a:ext>
            </a:extLst>
          </p:cNvPr>
          <p:cNvSpPr/>
          <p:nvPr/>
        </p:nvSpPr>
        <p:spPr>
          <a:xfrm>
            <a:off x="2303868" y="3645022"/>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a:extLst>
              <a:ext uri="{FF2B5EF4-FFF2-40B4-BE49-F238E27FC236}">
                <a16:creationId xmlns:a16="http://schemas.microsoft.com/office/drawing/2014/main" id="{018E35AD-E64D-4BE2-8643-8EEDC39840F7}"/>
              </a:ext>
            </a:extLst>
          </p:cNvPr>
          <p:cNvSpPr/>
          <p:nvPr/>
        </p:nvSpPr>
        <p:spPr>
          <a:xfrm>
            <a:off x="1511780" y="3176972"/>
            <a:ext cx="576098"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a:extLst>
              <a:ext uri="{FF2B5EF4-FFF2-40B4-BE49-F238E27FC236}">
                <a16:creationId xmlns:a16="http://schemas.microsoft.com/office/drawing/2014/main" id="{95B1D939-674B-43E7-B50D-482D4DA87748}"/>
              </a:ext>
            </a:extLst>
          </p:cNvPr>
          <p:cNvSpPr/>
          <p:nvPr/>
        </p:nvSpPr>
        <p:spPr>
          <a:xfrm>
            <a:off x="2087844"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a:extLst>
              <a:ext uri="{FF2B5EF4-FFF2-40B4-BE49-F238E27FC236}">
                <a16:creationId xmlns:a16="http://schemas.microsoft.com/office/drawing/2014/main" id="{DBBDF549-7CC2-422C-9177-4CBEC022413B}"/>
              </a:ext>
            </a:extLst>
          </p:cNvPr>
          <p:cNvSpPr/>
          <p:nvPr/>
        </p:nvSpPr>
        <p:spPr>
          <a:xfrm>
            <a:off x="2303868"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a:extLst>
              <a:ext uri="{FF2B5EF4-FFF2-40B4-BE49-F238E27FC236}">
                <a16:creationId xmlns:a16="http://schemas.microsoft.com/office/drawing/2014/main" id="{491CC988-0537-47DE-B8DB-0D3CE890A5F4}"/>
              </a:ext>
            </a:extLst>
          </p:cNvPr>
          <p:cNvSpPr/>
          <p:nvPr/>
        </p:nvSpPr>
        <p:spPr>
          <a:xfrm>
            <a:off x="1511780" y="2888940"/>
            <a:ext cx="576098"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a:extLst>
              <a:ext uri="{FF2B5EF4-FFF2-40B4-BE49-F238E27FC236}">
                <a16:creationId xmlns:a16="http://schemas.microsoft.com/office/drawing/2014/main" id="{78E770F5-DF90-4456-872B-CEE88FC8AD25}"/>
              </a:ext>
            </a:extLst>
          </p:cNvPr>
          <p:cNvSpPr/>
          <p:nvPr/>
        </p:nvSpPr>
        <p:spPr>
          <a:xfrm>
            <a:off x="2087844"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2" name="Rechteck 81">
            <a:extLst>
              <a:ext uri="{FF2B5EF4-FFF2-40B4-BE49-F238E27FC236}">
                <a16:creationId xmlns:a16="http://schemas.microsoft.com/office/drawing/2014/main" id="{4B7BD0DA-E320-47B1-AB78-B6F84997048C}"/>
              </a:ext>
            </a:extLst>
          </p:cNvPr>
          <p:cNvSpPr/>
          <p:nvPr/>
        </p:nvSpPr>
        <p:spPr>
          <a:xfrm>
            <a:off x="2303868"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05E63C05-63D4-48FA-A0AD-012E67B45E2D}"/>
              </a:ext>
            </a:extLst>
          </p:cNvPr>
          <p:cNvSpPr/>
          <p:nvPr/>
        </p:nvSpPr>
        <p:spPr>
          <a:xfrm>
            <a:off x="1511780" y="2528900"/>
            <a:ext cx="576098"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2C118963-8222-41E5-A66A-75A371697EA5}"/>
              </a:ext>
            </a:extLst>
          </p:cNvPr>
          <p:cNvSpPr/>
          <p:nvPr/>
        </p:nvSpPr>
        <p:spPr>
          <a:xfrm>
            <a:off x="2087844"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53323E31-49BA-43CA-B78C-45BEBCB4723C}"/>
              </a:ext>
            </a:extLst>
          </p:cNvPr>
          <p:cNvSpPr/>
          <p:nvPr/>
        </p:nvSpPr>
        <p:spPr>
          <a:xfrm>
            <a:off x="2303868"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 name="Rechteck 2">
            <a:extLst>
              <a:ext uri="{FF2B5EF4-FFF2-40B4-BE49-F238E27FC236}">
                <a16:creationId xmlns:a16="http://schemas.microsoft.com/office/drawing/2014/main" id="{BBC3B9FD-9A98-40CD-9662-83AEC3472B4F}"/>
              </a:ext>
            </a:extLst>
          </p:cNvPr>
          <p:cNvSpPr/>
          <p:nvPr/>
        </p:nvSpPr>
        <p:spPr>
          <a:xfrm>
            <a:off x="1511780" y="2456892"/>
            <a:ext cx="1008112" cy="1260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13B50A6F-16AA-4D7D-BA12-ACC949DDFA7E}"/>
              </a:ext>
            </a:extLst>
          </p:cNvPr>
          <p:cNvSpPr/>
          <p:nvPr/>
        </p:nvSpPr>
        <p:spPr>
          <a:xfrm>
            <a:off x="3311980" y="252890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1" name="Rechteck 90">
            <a:extLst>
              <a:ext uri="{FF2B5EF4-FFF2-40B4-BE49-F238E27FC236}">
                <a16:creationId xmlns:a16="http://schemas.microsoft.com/office/drawing/2014/main" id="{F7C49036-A99D-4E5F-8414-4913782DCD6F}"/>
              </a:ext>
            </a:extLst>
          </p:cNvPr>
          <p:cNvSpPr/>
          <p:nvPr/>
        </p:nvSpPr>
        <p:spPr>
          <a:xfrm>
            <a:off x="3528004" y="252890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a:extLst>
              <a:ext uri="{FF2B5EF4-FFF2-40B4-BE49-F238E27FC236}">
                <a16:creationId xmlns:a16="http://schemas.microsoft.com/office/drawing/2014/main" id="{69307C2C-D569-4DD6-9535-59B370E6CB52}"/>
              </a:ext>
            </a:extLst>
          </p:cNvPr>
          <p:cNvSpPr/>
          <p:nvPr/>
        </p:nvSpPr>
        <p:spPr>
          <a:xfrm>
            <a:off x="3311980" y="260090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a:extLst>
              <a:ext uri="{FF2B5EF4-FFF2-40B4-BE49-F238E27FC236}">
                <a16:creationId xmlns:a16="http://schemas.microsoft.com/office/drawing/2014/main" id="{2DA8E66C-EDBB-479F-BCD5-A80B1B88A2CA}"/>
              </a:ext>
            </a:extLst>
          </p:cNvPr>
          <p:cNvSpPr/>
          <p:nvPr/>
        </p:nvSpPr>
        <p:spPr>
          <a:xfrm>
            <a:off x="3528004" y="260090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0A108ED6-29C1-4ABA-BB7E-A0E2B8D87087}"/>
              </a:ext>
            </a:extLst>
          </p:cNvPr>
          <p:cNvSpPr/>
          <p:nvPr/>
        </p:nvSpPr>
        <p:spPr>
          <a:xfrm>
            <a:off x="3311980" y="267291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a:extLst>
              <a:ext uri="{FF2B5EF4-FFF2-40B4-BE49-F238E27FC236}">
                <a16:creationId xmlns:a16="http://schemas.microsoft.com/office/drawing/2014/main" id="{C946C972-1B19-4551-903F-7B84DCE4B3DD}"/>
              </a:ext>
            </a:extLst>
          </p:cNvPr>
          <p:cNvSpPr/>
          <p:nvPr/>
        </p:nvSpPr>
        <p:spPr>
          <a:xfrm>
            <a:off x="3528004" y="267291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6" name="Rechteck 95">
            <a:extLst>
              <a:ext uri="{FF2B5EF4-FFF2-40B4-BE49-F238E27FC236}">
                <a16:creationId xmlns:a16="http://schemas.microsoft.com/office/drawing/2014/main" id="{1351953B-996A-4582-A86C-36EDF5D32DEE}"/>
              </a:ext>
            </a:extLst>
          </p:cNvPr>
          <p:cNvSpPr/>
          <p:nvPr/>
        </p:nvSpPr>
        <p:spPr>
          <a:xfrm>
            <a:off x="3311980" y="2456892"/>
            <a:ext cx="432048"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962DF210-29E6-4831-9ECB-AC090D6DEE91}"/>
              </a:ext>
            </a:extLst>
          </p:cNvPr>
          <p:cNvSpPr/>
          <p:nvPr/>
        </p:nvSpPr>
        <p:spPr>
          <a:xfrm>
            <a:off x="4824148" y="3212976"/>
            <a:ext cx="288032" cy="72010"/>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A3BDA506-51D8-4C63-98C1-A2D37211A25E}"/>
              </a:ext>
            </a:extLst>
          </p:cNvPr>
          <p:cNvSpPr/>
          <p:nvPr/>
        </p:nvSpPr>
        <p:spPr>
          <a:xfrm>
            <a:off x="4536116" y="3212974"/>
            <a:ext cx="288032"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F9AA3EBC-578C-494D-9963-2F66751C2EA5}"/>
              </a:ext>
            </a:extLst>
          </p:cNvPr>
          <p:cNvSpPr/>
          <p:nvPr/>
        </p:nvSpPr>
        <p:spPr>
          <a:xfrm>
            <a:off x="4824148" y="3284984"/>
            <a:ext cx="288032" cy="72008"/>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2AB2AF91-E184-44F6-B72A-07814BB986B4}"/>
              </a:ext>
            </a:extLst>
          </p:cNvPr>
          <p:cNvSpPr/>
          <p:nvPr/>
        </p:nvSpPr>
        <p:spPr>
          <a:xfrm>
            <a:off x="4536116" y="3284982"/>
            <a:ext cx="288032" cy="72008"/>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846939C9-248F-434F-8F7F-8BB76EC3582B}"/>
              </a:ext>
            </a:extLst>
          </p:cNvPr>
          <p:cNvSpPr/>
          <p:nvPr/>
        </p:nvSpPr>
        <p:spPr>
          <a:xfrm>
            <a:off x="4824148" y="3356992"/>
            <a:ext cx="288032" cy="72010"/>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227A20C-5A6A-40D0-9389-44A57E26C6C9}"/>
              </a:ext>
            </a:extLst>
          </p:cNvPr>
          <p:cNvSpPr/>
          <p:nvPr/>
        </p:nvSpPr>
        <p:spPr>
          <a:xfrm>
            <a:off x="4536116" y="3356990"/>
            <a:ext cx="288032" cy="7201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3A6B0C9B-847E-44BE-85F8-AC4CD688351A}"/>
              </a:ext>
            </a:extLst>
          </p:cNvPr>
          <p:cNvSpPr/>
          <p:nvPr/>
        </p:nvSpPr>
        <p:spPr>
          <a:xfrm>
            <a:off x="1799812" y="2816932"/>
            <a:ext cx="288032" cy="7201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2092079D-894B-4B7B-BC38-5595717A3611}"/>
              </a:ext>
            </a:extLst>
          </p:cNvPr>
          <p:cNvSpPr/>
          <p:nvPr/>
        </p:nvSpPr>
        <p:spPr>
          <a:xfrm>
            <a:off x="1799812" y="3356992"/>
            <a:ext cx="288032" cy="144016"/>
          </a:xfrm>
          <a:prstGeom prst="rect">
            <a:avLst/>
          </a:prstGeom>
          <a:solidFill>
            <a:srgbClr val="336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B2C990BC-9C9D-4428-92F8-BA79FF167A7F}"/>
              </a:ext>
            </a:extLst>
          </p:cNvPr>
          <p:cNvSpPr/>
          <p:nvPr/>
        </p:nvSpPr>
        <p:spPr>
          <a:xfrm>
            <a:off x="4536116" y="3140968"/>
            <a:ext cx="57606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8" name="Gerade Verbindung mit Pfeil 117">
            <a:extLst>
              <a:ext uri="{FF2B5EF4-FFF2-40B4-BE49-F238E27FC236}">
                <a16:creationId xmlns:a16="http://schemas.microsoft.com/office/drawing/2014/main" id="{28943618-7387-4F3C-8376-82ABA428A40E}"/>
              </a:ext>
            </a:extLst>
          </p:cNvPr>
          <p:cNvCxnSpPr>
            <a:cxnSpLocks/>
            <a:endCxn id="96" idx="2"/>
          </p:cNvCxnSpPr>
          <p:nvPr/>
        </p:nvCxnSpPr>
        <p:spPr>
          <a:xfrm flipH="1" flipV="1">
            <a:off x="3528004" y="2744924"/>
            <a:ext cx="24" cy="39608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Gerade Verbindung mit Pfeil 118">
            <a:extLst>
              <a:ext uri="{FF2B5EF4-FFF2-40B4-BE49-F238E27FC236}">
                <a16:creationId xmlns:a16="http://schemas.microsoft.com/office/drawing/2014/main" id="{FD30348C-F1DA-4FD0-8504-789A83614929}"/>
              </a:ext>
            </a:extLst>
          </p:cNvPr>
          <p:cNvCxnSpPr>
            <a:cxnSpLocks/>
            <a:stCxn id="6" idx="2"/>
          </p:cNvCxnSpPr>
          <p:nvPr/>
        </p:nvCxnSpPr>
        <p:spPr>
          <a:xfrm flipH="1">
            <a:off x="2555896" y="3284984"/>
            <a:ext cx="828092"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a:extLst>
              <a:ext uri="{FF2B5EF4-FFF2-40B4-BE49-F238E27FC236}">
                <a16:creationId xmlns:a16="http://schemas.microsoft.com/office/drawing/2014/main" id="{4CBBF9F0-82A0-4398-A990-8C3E17DE909D}"/>
              </a:ext>
            </a:extLst>
          </p:cNvPr>
          <p:cNvCxnSpPr>
            <a:cxnSpLocks/>
          </p:cNvCxnSpPr>
          <p:nvPr/>
        </p:nvCxnSpPr>
        <p:spPr>
          <a:xfrm flipH="1">
            <a:off x="3672020" y="3284984"/>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Ellipse 5">
            <a:extLst>
              <a:ext uri="{FF2B5EF4-FFF2-40B4-BE49-F238E27FC236}">
                <a16:creationId xmlns:a16="http://schemas.microsoft.com/office/drawing/2014/main" id="{55F0CB72-BE01-4A37-9D2A-CA70E5321227}"/>
              </a:ext>
            </a:extLst>
          </p:cNvPr>
          <p:cNvSpPr/>
          <p:nvPr/>
        </p:nvSpPr>
        <p:spPr>
          <a:xfrm>
            <a:off x="3383988" y="3140968"/>
            <a:ext cx="288032" cy="288032"/>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600" dirty="0">
                <a:solidFill>
                  <a:schemeClr val="tx1"/>
                </a:solidFill>
              </a:rPr>
              <a:t>÷</a:t>
            </a:r>
          </a:p>
        </p:txBody>
      </p:sp>
      <p:sp>
        <p:nvSpPr>
          <p:cNvPr id="128" name="Rechteck 127">
            <a:extLst>
              <a:ext uri="{FF2B5EF4-FFF2-40B4-BE49-F238E27FC236}">
                <a16:creationId xmlns:a16="http://schemas.microsoft.com/office/drawing/2014/main" id="{62D758AF-6178-4B62-84C1-90E90F13FE79}"/>
              </a:ext>
            </a:extLst>
          </p:cNvPr>
          <p:cNvSpPr/>
          <p:nvPr/>
        </p:nvSpPr>
        <p:spPr>
          <a:xfrm>
            <a:off x="14757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umerator table</a:t>
            </a:r>
          </a:p>
        </p:txBody>
      </p:sp>
      <p:sp>
        <p:nvSpPr>
          <p:cNvPr id="129" name="Rechteck 128">
            <a:extLst>
              <a:ext uri="{FF2B5EF4-FFF2-40B4-BE49-F238E27FC236}">
                <a16:creationId xmlns:a16="http://schemas.microsoft.com/office/drawing/2014/main" id="{B83F275E-C3B9-41E4-BA01-F3FCB482DEBE}"/>
              </a:ext>
            </a:extLst>
          </p:cNvPr>
          <p:cNvSpPr/>
          <p:nvPr/>
        </p:nvSpPr>
        <p:spPr>
          <a:xfrm>
            <a:off x="32759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nominator table</a:t>
            </a:r>
          </a:p>
        </p:txBody>
      </p:sp>
      <p:sp>
        <p:nvSpPr>
          <p:cNvPr id="130" name="Rechteck 129">
            <a:extLst>
              <a:ext uri="{FF2B5EF4-FFF2-40B4-BE49-F238E27FC236}">
                <a16:creationId xmlns:a16="http://schemas.microsoft.com/office/drawing/2014/main" id="{E4290B15-5F2F-41CD-A95C-BF16CA360ABD}"/>
              </a:ext>
            </a:extLst>
          </p:cNvPr>
          <p:cNvSpPr/>
          <p:nvPr/>
        </p:nvSpPr>
        <p:spPr>
          <a:xfrm>
            <a:off x="4500112" y="29609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Quotient table</a:t>
            </a:r>
          </a:p>
        </p:txBody>
      </p:sp>
    </p:spTree>
    <p:extLst>
      <p:ext uri="{BB962C8B-B14F-4D97-AF65-F5344CB8AC3E}">
        <p14:creationId xmlns:p14="http://schemas.microsoft.com/office/powerpoint/2010/main" val="349900998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Rechteck 295"/>
          <p:cNvSpPr/>
          <p:nvPr/>
        </p:nvSpPr>
        <p:spPr>
          <a:xfrm>
            <a:off x="1115520" y="1556740"/>
            <a:ext cx="14402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683460" y="1556740"/>
            <a:ext cx="28804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Copy Column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372" name="Rechteck 371"/>
          <p:cNvSpPr/>
          <p:nvPr/>
        </p:nvSpPr>
        <p:spPr>
          <a:xfrm>
            <a:off x="179390" y="148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a:t>
            </a:r>
          </a:p>
        </p:txBody>
      </p:sp>
      <p:sp>
        <p:nvSpPr>
          <p:cNvPr id="363" name="Rechteck 362"/>
          <p:cNvSpPr/>
          <p:nvPr/>
        </p:nvSpPr>
        <p:spPr>
          <a:xfrm>
            <a:off x="4212000" y="198893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4" name="Rechteck 363"/>
          <p:cNvSpPr/>
          <p:nvPr/>
        </p:nvSpPr>
        <p:spPr>
          <a:xfrm>
            <a:off x="4356020" y="198893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2)</a:t>
            </a:r>
          </a:p>
        </p:txBody>
      </p:sp>
      <p:cxnSp>
        <p:nvCxnSpPr>
          <p:cNvPr id="375" name="Gerade Verbindung 374"/>
          <p:cNvCxnSpPr>
            <a:endCxn id="45" idx="0"/>
          </p:cNvCxnSpPr>
          <p:nvPr/>
        </p:nvCxnSpPr>
        <p:spPr>
          <a:xfrm>
            <a:off x="180000" y="155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6084000" y="4436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4)</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08" name="Rechteck 107"/>
          <p:cNvSpPr/>
          <p:nvPr/>
        </p:nvSpPr>
        <p:spPr>
          <a:xfrm>
            <a:off x="5940000" y="443666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 name="Pfeil nach rechts 16"/>
          <p:cNvSpPr/>
          <p:nvPr/>
        </p:nvSpPr>
        <p:spPr>
          <a:xfrm>
            <a:off x="5364000" y="4580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 name="Rechteck 44"/>
          <p:cNvSpPr/>
          <p:nvPr/>
        </p:nvSpPr>
        <p:spPr>
          <a:xfrm>
            <a:off x="1620000" y="155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3060130" y="155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2628070" y="155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3" name="Rechteck 52"/>
          <p:cNvSpPr/>
          <p:nvPr/>
        </p:nvSpPr>
        <p:spPr>
          <a:xfrm>
            <a:off x="212400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when completed</a:t>
            </a:r>
          </a:p>
        </p:txBody>
      </p:sp>
      <p:sp>
        <p:nvSpPr>
          <p:cNvPr id="54" name="Rechteck 53"/>
          <p:cNvSpPr/>
          <p:nvPr/>
        </p:nvSpPr>
        <p:spPr>
          <a:xfrm>
            <a:off x="2124000" y="148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2124000" y="155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 name="Gerade Verbindung 374"/>
          <p:cNvCxnSpPr/>
          <p:nvPr/>
        </p:nvCxnSpPr>
        <p:spPr>
          <a:xfrm flipV="1">
            <a:off x="2124610" y="155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3564610" y="1557260"/>
            <a:ext cx="14402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3708000" y="1557000"/>
            <a:ext cx="28804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Pfeil nach rechts 64"/>
          <p:cNvSpPr/>
          <p:nvPr/>
        </p:nvSpPr>
        <p:spPr>
          <a:xfrm>
            <a:off x="1691950" y="213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66" name="Gerade Verbindung mit Pfeil 65"/>
          <p:cNvCxnSpPr/>
          <p:nvPr/>
        </p:nvCxnSpPr>
        <p:spPr>
          <a:xfrm flipH="1">
            <a:off x="1188000" y="1989000"/>
            <a:ext cx="2448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Gerade Verbindung mit Pfeil 4"/>
          <p:cNvCxnSpPr/>
          <p:nvPr/>
        </p:nvCxnSpPr>
        <p:spPr>
          <a:xfrm flipH="1">
            <a:off x="828000" y="184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a:off x="1115520" y="371674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683460" y="371674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179390" y="350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75" name="Rechteck 74"/>
          <p:cNvSpPr/>
          <p:nvPr/>
        </p:nvSpPr>
        <p:spPr>
          <a:xfrm>
            <a:off x="179390" y="364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179390" y="371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179390" y="328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selected rows( )</a:t>
            </a:r>
          </a:p>
        </p:txBody>
      </p:sp>
      <p:sp>
        <p:nvSpPr>
          <p:cNvPr id="79" name="Rechteck 78"/>
          <p:cNvSpPr/>
          <p:nvPr/>
        </p:nvSpPr>
        <p:spPr>
          <a:xfrm>
            <a:off x="395420" y="371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1" name="Gerade Verbindung 374"/>
          <p:cNvCxnSpPr>
            <a:endCxn id="82" idx="0"/>
          </p:cNvCxnSpPr>
          <p:nvPr/>
        </p:nvCxnSpPr>
        <p:spPr>
          <a:xfrm>
            <a:off x="180000" y="371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1620000" y="371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3060130" y="371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2628070" y="371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350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86" name="Rechteck 85"/>
          <p:cNvSpPr/>
          <p:nvPr/>
        </p:nvSpPr>
        <p:spPr>
          <a:xfrm>
            <a:off x="2124000" y="364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p:cNvSpPr/>
          <p:nvPr/>
        </p:nvSpPr>
        <p:spPr>
          <a:xfrm>
            <a:off x="2124000" y="371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2340030" y="371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0" name="Gerade Verbindung 374"/>
          <p:cNvCxnSpPr/>
          <p:nvPr/>
        </p:nvCxnSpPr>
        <p:spPr>
          <a:xfrm flipV="1">
            <a:off x="2124610" y="371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3564610" y="371726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08000" y="3717000"/>
            <a:ext cx="28804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7" name="Pfeil nach rechts 96"/>
          <p:cNvSpPr/>
          <p:nvPr/>
        </p:nvSpPr>
        <p:spPr>
          <a:xfrm>
            <a:off x="1691950" y="429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6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 name="Rechteck 60"/>
          <p:cNvSpPr/>
          <p:nvPr/>
        </p:nvSpPr>
        <p:spPr>
          <a:xfrm>
            <a:off x="1116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684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2628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2340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2" name="Rechteck 101"/>
          <p:cNvSpPr/>
          <p:nvPr/>
        </p:nvSpPr>
        <p:spPr>
          <a:xfrm>
            <a:off x="3060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3564000" y="47970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3708000" y="4797000"/>
            <a:ext cx="288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396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p:cNvSpPr/>
          <p:nvPr/>
        </p:nvSpPr>
        <p:spPr>
          <a:xfrm>
            <a:off x="1116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84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2628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2340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060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p:cNvSpPr/>
          <p:nvPr/>
        </p:nvSpPr>
        <p:spPr>
          <a:xfrm>
            <a:off x="3564000" y="3860990"/>
            <a:ext cx="144000" cy="216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708000" y="3860990"/>
            <a:ext cx="288000" cy="215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396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p:cNvSpPr/>
          <p:nvPr/>
        </p:nvSpPr>
        <p:spPr>
          <a:xfrm>
            <a:off x="1116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684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628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p:cNvSpPr/>
          <p:nvPr/>
        </p:nvSpPr>
        <p:spPr>
          <a:xfrm>
            <a:off x="2340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p:cNvSpPr/>
          <p:nvPr/>
        </p:nvSpPr>
        <p:spPr>
          <a:xfrm>
            <a:off x="3060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p:cNvSpPr/>
          <p:nvPr/>
        </p:nvSpPr>
        <p:spPr>
          <a:xfrm>
            <a:off x="3564000" y="4149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p:cNvSpPr/>
          <p:nvPr/>
        </p:nvSpPr>
        <p:spPr>
          <a:xfrm>
            <a:off x="3708000" y="4149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396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1116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p:cNvSpPr/>
          <p:nvPr/>
        </p:nvSpPr>
        <p:spPr>
          <a:xfrm>
            <a:off x="684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2628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p:cNvSpPr/>
          <p:nvPr/>
        </p:nvSpPr>
        <p:spPr>
          <a:xfrm>
            <a:off x="2340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3060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p:cNvSpPr/>
          <p:nvPr/>
        </p:nvSpPr>
        <p:spPr>
          <a:xfrm>
            <a:off x="3564000" y="4581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3708000" y="4581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8" name="Gerade Verbindung mit Pfeil 97"/>
          <p:cNvCxnSpPr>
            <a:endCxn id="124" idx="3"/>
          </p:cNvCxnSpPr>
          <p:nvPr/>
        </p:nvCxnSpPr>
        <p:spPr>
          <a:xfrm flipH="1">
            <a:off x="1260000" y="4221000"/>
            <a:ext cx="2376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H="1">
            <a:off x="828000" y="400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echteck 140"/>
          <p:cNvSpPr/>
          <p:nvPr/>
        </p:nvSpPr>
        <p:spPr>
          <a:xfrm>
            <a:off x="4212000" y="364500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356020" y="364500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lumn included in</a:t>
            </a:r>
          </a:p>
          <a:p>
            <a:r>
              <a:rPr lang="en-US" sz="1000" dirty="0">
                <a:solidFill>
                  <a:schemeClr val="tx1"/>
                </a:solidFill>
              </a:rPr>
              <a:t>the expression</a:t>
            </a:r>
            <a:br>
              <a:rPr lang="en-US" sz="1000" dirty="0">
                <a:solidFill>
                  <a:schemeClr val="tx1"/>
                </a:solidFill>
              </a:rPr>
            </a:br>
            <a:r>
              <a:rPr lang="en-US" sz="1000" dirty="0">
                <a:solidFill>
                  <a:schemeClr val="tx1"/>
                </a:solidFill>
              </a:rPr>
              <a:t>to select the rows</a:t>
            </a:r>
            <a:br>
              <a:rPr lang="en-US" sz="1000" dirty="0">
                <a:solidFill>
                  <a:schemeClr val="tx1"/>
                </a:solidFill>
              </a:rPr>
            </a:br>
            <a:r>
              <a:rPr lang="en-US" sz="1000" dirty="0">
                <a:solidFill>
                  <a:schemeClr val="tx1"/>
                </a:solidFill>
              </a:rPr>
              <a:t>(Parameter 2)</a:t>
            </a:r>
          </a:p>
        </p:txBody>
      </p:sp>
      <p:sp>
        <p:nvSpPr>
          <p:cNvPr id="143" name="Rechteck 142"/>
          <p:cNvSpPr/>
          <p:nvPr/>
        </p:nvSpPr>
        <p:spPr>
          <a:xfrm>
            <a:off x="4212000" y="443727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356020" y="443727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3)</a:t>
            </a:r>
          </a:p>
        </p:txBody>
      </p:sp>
      <p:sp>
        <p:nvSpPr>
          <p:cNvPr id="151" name="Rechteck 150"/>
          <p:cNvSpPr/>
          <p:nvPr/>
        </p:nvSpPr>
        <p:spPr>
          <a:xfrm>
            <a:off x="6084000" y="1988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3)</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52" name="Pfeil nach rechts 151"/>
          <p:cNvSpPr/>
          <p:nvPr/>
        </p:nvSpPr>
        <p:spPr>
          <a:xfrm>
            <a:off x="5364000" y="2132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5940000" y="198900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3288487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table lookup ignore case, table lookup top down, table lookup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02" name="Rechteck 201">
            <a:extLst>
              <a:ext uri="{FF2B5EF4-FFF2-40B4-BE49-F238E27FC236}">
                <a16:creationId xmlns:a16="http://schemas.microsoft.com/office/drawing/2014/main" id="{9DF86643-95DF-4583-8F68-C720169C381B}"/>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a:extLst>
              <a:ext uri="{FF2B5EF4-FFF2-40B4-BE49-F238E27FC236}">
                <a16:creationId xmlns:a16="http://schemas.microsoft.com/office/drawing/2014/main" id="{D47B2FEE-E36C-4C7F-8EE3-2436822CF42E}"/>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5FE8A065-B5D4-40DA-BAE6-DE2D448F5BE9}"/>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0123BBBF-F3A9-42FB-BFE6-0590E389650E}"/>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a:extLst>
              <a:ext uri="{FF2B5EF4-FFF2-40B4-BE49-F238E27FC236}">
                <a16:creationId xmlns:a16="http://schemas.microsoft.com/office/drawing/2014/main" id="{D2B627D5-D445-4D51-9B1A-75104B860335}"/>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a:extLst>
              <a:ext uri="{FF2B5EF4-FFF2-40B4-BE49-F238E27FC236}">
                <a16:creationId xmlns:a16="http://schemas.microsoft.com/office/drawing/2014/main" id="{E5917281-8964-48B5-BE8F-0AFE2B5BA9C1}"/>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8" name="Rechteck 207">
            <a:extLst>
              <a:ext uri="{FF2B5EF4-FFF2-40B4-BE49-F238E27FC236}">
                <a16:creationId xmlns:a16="http://schemas.microsoft.com/office/drawing/2014/main" id="{B4F801FC-8A1C-4C18-A4E2-E924D85FA4A1}"/>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E4AA081E-E6E4-4023-959B-643806660EC5}"/>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10" name="Rechteck 209">
            <a:extLst>
              <a:ext uri="{FF2B5EF4-FFF2-40B4-BE49-F238E27FC236}">
                <a16:creationId xmlns:a16="http://schemas.microsoft.com/office/drawing/2014/main" id="{261F5637-E2FA-400A-BDEC-4AA250D1BF65}"/>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11" name="Rechteck 210">
            <a:extLst>
              <a:ext uri="{FF2B5EF4-FFF2-40B4-BE49-F238E27FC236}">
                <a16:creationId xmlns:a16="http://schemas.microsoft.com/office/drawing/2014/main" id="{D4B640D7-5E84-4C0E-B188-57706A52132D}"/>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2" name="Rechteck 211">
            <a:extLst>
              <a:ext uri="{FF2B5EF4-FFF2-40B4-BE49-F238E27FC236}">
                <a16:creationId xmlns:a16="http://schemas.microsoft.com/office/drawing/2014/main" id="{1242BBEC-9BB5-41BA-8589-77C13C07D8B4}"/>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a:extLst>
              <a:ext uri="{FF2B5EF4-FFF2-40B4-BE49-F238E27FC236}">
                <a16:creationId xmlns:a16="http://schemas.microsoft.com/office/drawing/2014/main" id="{6A1D1F67-3691-44DE-A535-404F22F02FC1}"/>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once, table lookup once ignore case:</a:t>
            </a:r>
          </a:p>
        </p:txBody>
      </p:sp>
      <p:sp>
        <p:nvSpPr>
          <p:cNvPr id="215" name="Rechteck 214">
            <a:extLst>
              <a:ext uri="{FF2B5EF4-FFF2-40B4-BE49-F238E27FC236}">
                <a16:creationId xmlns:a16="http://schemas.microsoft.com/office/drawing/2014/main" id="{F757B944-62CC-4073-88FF-C658BB7289F1}"/>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17" name="Rechteck 216">
            <a:extLst>
              <a:ext uri="{FF2B5EF4-FFF2-40B4-BE49-F238E27FC236}">
                <a16:creationId xmlns:a16="http://schemas.microsoft.com/office/drawing/2014/main" id="{0C3E4AAF-8B2D-416C-B5C5-E1E7E93D4871}"/>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a:extLst>
              <a:ext uri="{FF2B5EF4-FFF2-40B4-BE49-F238E27FC236}">
                <a16:creationId xmlns:a16="http://schemas.microsoft.com/office/drawing/2014/main" id="{F02F16BB-8360-4B15-A4A0-CED61952FAAD}"/>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a:extLst>
              <a:ext uri="{FF2B5EF4-FFF2-40B4-BE49-F238E27FC236}">
                <a16:creationId xmlns:a16="http://schemas.microsoft.com/office/drawing/2014/main" id="{648A9D07-5433-4D46-84ED-DE16832A3384}"/>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20" name="Rechteck 219">
            <a:extLst>
              <a:ext uri="{FF2B5EF4-FFF2-40B4-BE49-F238E27FC236}">
                <a16:creationId xmlns:a16="http://schemas.microsoft.com/office/drawing/2014/main" id="{82E961C0-5849-46BC-871B-D17794BAF4E7}"/>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1" name="Gerade Verbindung 374">
            <a:extLst>
              <a:ext uri="{FF2B5EF4-FFF2-40B4-BE49-F238E27FC236}">
                <a16:creationId xmlns:a16="http://schemas.microsoft.com/office/drawing/2014/main" id="{2DF1384E-FCF9-411B-8855-F6F4F3C6AB3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194C52E0-233D-40A3-AFC9-2513E08D0265}"/>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a:extLst>
              <a:ext uri="{FF2B5EF4-FFF2-40B4-BE49-F238E27FC236}">
                <a16:creationId xmlns:a16="http://schemas.microsoft.com/office/drawing/2014/main" id="{D53071BF-AB85-4D77-8F48-88045ECCE847}"/>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8B4B4332-C5A4-4E9E-929F-458AF93E723A}"/>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64020903-1BFE-40A8-84CC-03158FB676D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6" name="Gerade Verbindung 77">
            <a:extLst>
              <a:ext uri="{FF2B5EF4-FFF2-40B4-BE49-F238E27FC236}">
                <a16:creationId xmlns:a16="http://schemas.microsoft.com/office/drawing/2014/main" id="{BBCDA4A8-CFB6-4F9F-B455-AC0FAF8B55B9}"/>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a:extLst>
              <a:ext uri="{FF2B5EF4-FFF2-40B4-BE49-F238E27FC236}">
                <a16:creationId xmlns:a16="http://schemas.microsoft.com/office/drawing/2014/main" id="{329099AA-9D1E-4910-B9E8-4F829A590105}"/>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9B1A147D-C292-4192-98CD-BC32D7896E6B}"/>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a:extLst>
              <a:ext uri="{FF2B5EF4-FFF2-40B4-BE49-F238E27FC236}">
                <a16:creationId xmlns:a16="http://schemas.microsoft.com/office/drawing/2014/main" id="{2499D326-0F9C-4904-8009-4FFDDD219E12}"/>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a:extLst>
              <a:ext uri="{FF2B5EF4-FFF2-40B4-BE49-F238E27FC236}">
                <a16:creationId xmlns:a16="http://schemas.microsoft.com/office/drawing/2014/main" id="{5609AB18-5BBB-480F-B060-1ABE477EEBE6}"/>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1" name="Gerade Verbindung mit Pfeil 230">
            <a:extLst>
              <a:ext uri="{FF2B5EF4-FFF2-40B4-BE49-F238E27FC236}">
                <a16:creationId xmlns:a16="http://schemas.microsoft.com/office/drawing/2014/main" id="{B16BF41F-DC7A-4AAC-94A8-EEF8E3E7DB39}"/>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32" name="Rechteck 231">
            <a:extLst>
              <a:ext uri="{FF2B5EF4-FFF2-40B4-BE49-F238E27FC236}">
                <a16:creationId xmlns:a16="http://schemas.microsoft.com/office/drawing/2014/main" id="{D21D1320-8044-46D1-B821-27F01FA00B58}"/>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003140B2-65B4-436A-A072-11044A4C68F5}"/>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4" name="Gerade Verbindung mit Pfeil 233">
            <a:extLst>
              <a:ext uri="{FF2B5EF4-FFF2-40B4-BE49-F238E27FC236}">
                <a16:creationId xmlns:a16="http://schemas.microsoft.com/office/drawing/2014/main" id="{431B1D07-55BE-40F7-A9A4-E083A74EF86E}"/>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CFA0116-1635-40A8-9366-3BB11AFE4EE2}"/>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450BCB87-92DF-489C-B246-E284D394FA3E}"/>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a:extLst>
              <a:ext uri="{FF2B5EF4-FFF2-40B4-BE49-F238E27FC236}">
                <a16:creationId xmlns:a16="http://schemas.microsoft.com/office/drawing/2014/main" id="{C7C747B6-CF8C-487C-980B-D2FCA1720915}"/>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274" name="Rechteck 273">
            <a:extLst>
              <a:ext uri="{FF2B5EF4-FFF2-40B4-BE49-F238E27FC236}">
                <a16:creationId xmlns:a16="http://schemas.microsoft.com/office/drawing/2014/main" id="{D80CEF0A-B6AB-4575-A7CE-43D9E4606F08}"/>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a:extLst>
              <a:ext uri="{FF2B5EF4-FFF2-40B4-BE49-F238E27FC236}">
                <a16:creationId xmlns:a16="http://schemas.microsoft.com/office/drawing/2014/main" id="{72813774-59BF-428E-8A8D-56EA2374BB18}"/>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C278A0E1-14DB-42EA-98AB-17B55D84EEE0}"/>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90A2F3DA-05C6-46E5-9E5D-851350257D76}"/>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E1E68778-D7F1-4A18-B336-7BC248076137}"/>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a:extLst>
              <a:ext uri="{FF2B5EF4-FFF2-40B4-BE49-F238E27FC236}">
                <a16:creationId xmlns:a16="http://schemas.microsoft.com/office/drawing/2014/main" id="{4539FFDB-F398-43DB-9469-5BA7B3ADB66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7A746CB6-AF55-4A89-813D-7C0021EE39C3}"/>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Rechteck 280">
            <a:extLst>
              <a:ext uri="{FF2B5EF4-FFF2-40B4-BE49-F238E27FC236}">
                <a16:creationId xmlns:a16="http://schemas.microsoft.com/office/drawing/2014/main" id="{33FBA66B-477A-45C8-85CD-BB58C2137B86}"/>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84802F02-5A63-4672-9E05-D7BE723BFF5B}"/>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DF7193E4-B1EE-432C-B60D-C43C34D6513A}"/>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a:extLst>
              <a:ext uri="{FF2B5EF4-FFF2-40B4-BE49-F238E27FC236}">
                <a16:creationId xmlns:a16="http://schemas.microsoft.com/office/drawing/2014/main" id="{16885DE7-8C19-4DEE-9F66-C093EE18300B}"/>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A7C207FD-917B-46AE-A751-E9B45D0C5066}"/>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289" name="Rechteck 288">
            <a:extLst>
              <a:ext uri="{FF2B5EF4-FFF2-40B4-BE49-F238E27FC236}">
                <a16:creationId xmlns:a16="http://schemas.microsoft.com/office/drawing/2014/main" id="{325FF68A-A876-4737-A7BF-533D488CB52A}"/>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290" name="Gerade Verbindung mit Pfeil 289">
            <a:extLst>
              <a:ext uri="{FF2B5EF4-FFF2-40B4-BE49-F238E27FC236}">
                <a16:creationId xmlns:a16="http://schemas.microsoft.com/office/drawing/2014/main" id="{79FDCCC1-3EF5-407D-AD96-56238366241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1" name="Gerade Verbindung mit Pfeil 290">
            <a:extLst>
              <a:ext uri="{FF2B5EF4-FFF2-40B4-BE49-F238E27FC236}">
                <a16:creationId xmlns:a16="http://schemas.microsoft.com/office/drawing/2014/main" id="{62ECFC28-55D1-4051-9F72-ABC57DA1342F}"/>
              </a:ext>
            </a:extLst>
          </p:cNvPr>
          <p:cNvCxnSpPr>
            <a:cxnSpLocks/>
            <a:stCxn id="278"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060874"/>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060874"/>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060874"/>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p:nvPr/>
        </p:nvCxnSpPr>
        <p:spPr>
          <a:xfrm>
            <a:off x="971622" y="1556814"/>
            <a:ext cx="1944270" cy="50407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p:nvPr/>
        </p:nvCxnSpPr>
        <p:spPr>
          <a:xfrm>
            <a:off x="539562" y="1556814"/>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17" name="Rechteck 316">
            <a:extLst>
              <a:ext uri="{FF2B5EF4-FFF2-40B4-BE49-F238E27FC236}">
                <a16:creationId xmlns:a16="http://schemas.microsoft.com/office/drawing/2014/main" id="{EDE652E3-9DB2-495F-969B-FCDA8EC5E352}"/>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a:extLst>
              <a:ext uri="{FF2B5EF4-FFF2-40B4-BE49-F238E27FC236}">
                <a16:creationId xmlns:a16="http://schemas.microsoft.com/office/drawing/2014/main" id="{99DBD3FF-4CF5-4952-A3A7-DF0CC2742A6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19" name="Rechteck 318">
            <a:extLst>
              <a:ext uri="{FF2B5EF4-FFF2-40B4-BE49-F238E27FC236}">
                <a16:creationId xmlns:a16="http://schemas.microsoft.com/office/drawing/2014/main" id="{CFB2E40C-5AFE-4EBA-8B9A-2038D0C90769}"/>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a:extLst>
              <a:ext uri="{FF2B5EF4-FFF2-40B4-BE49-F238E27FC236}">
                <a16:creationId xmlns:a16="http://schemas.microsoft.com/office/drawing/2014/main" id="{9C7BB116-3E99-412A-B634-734F4924AE16}"/>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21" name="Pfeil nach rechts 16">
            <a:extLst>
              <a:ext uri="{FF2B5EF4-FFF2-40B4-BE49-F238E27FC236}">
                <a16:creationId xmlns:a16="http://schemas.microsoft.com/office/drawing/2014/main" id="{561B3F26-978A-4C73-BE28-1468C41E3F30}"/>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Pfeil nach links und rechts 17">
            <a:extLst>
              <a:ext uri="{FF2B5EF4-FFF2-40B4-BE49-F238E27FC236}">
                <a16:creationId xmlns:a16="http://schemas.microsoft.com/office/drawing/2014/main" id="{8B1F86BD-4CE6-4811-867E-6AADB5EA34DD}"/>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8F22C7BA-9057-4E46-B0D6-DCBB9FF94EF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8ECBFB67-028A-4F5F-A683-AA9961DC37FA}"/>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326" name="Rechteck 325">
            <a:extLst>
              <a:ext uri="{FF2B5EF4-FFF2-40B4-BE49-F238E27FC236}">
                <a16:creationId xmlns:a16="http://schemas.microsoft.com/office/drawing/2014/main" id="{2F96EA54-5CEF-41E3-9E24-E4D1A76926F8}"/>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27" name="Rechteck 326">
            <a:extLst>
              <a:ext uri="{FF2B5EF4-FFF2-40B4-BE49-F238E27FC236}">
                <a16:creationId xmlns:a16="http://schemas.microsoft.com/office/drawing/2014/main" id="{4D6124E7-A9C7-4C3B-BBA2-88E28FF6BDC7}"/>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28" name="Rechteck 327">
            <a:extLst>
              <a:ext uri="{FF2B5EF4-FFF2-40B4-BE49-F238E27FC236}">
                <a16:creationId xmlns:a16="http://schemas.microsoft.com/office/drawing/2014/main" id="{757C06D7-EB75-420E-90E5-79BF706CE954}"/>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29" name="Ellipse 328">
            <a:extLst>
              <a:ext uri="{FF2B5EF4-FFF2-40B4-BE49-F238E27FC236}">
                <a16:creationId xmlns:a16="http://schemas.microsoft.com/office/drawing/2014/main" id="{898EE3D4-8EEE-4803-9D48-C82BD87301F9}"/>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30" name="Rechteck 329">
            <a:extLst>
              <a:ext uri="{FF2B5EF4-FFF2-40B4-BE49-F238E27FC236}">
                <a16:creationId xmlns:a16="http://schemas.microsoft.com/office/drawing/2014/main" id="{6C801BB1-979F-4EA7-B0A5-F96A03D96764}"/>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a:extLst>
              <a:ext uri="{FF2B5EF4-FFF2-40B4-BE49-F238E27FC236}">
                <a16:creationId xmlns:a16="http://schemas.microsoft.com/office/drawing/2014/main" id="{736DA2D3-F3D4-43F4-8C9B-957CC964C094}"/>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a:extLst>
              <a:ext uri="{FF2B5EF4-FFF2-40B4-BE49-F238E27FC236}">
                <a16:creationId xmlns:a16="http://schemas.microsoft.com/office/drawing/2014/main" id="{A54ADB20-4FDA-442F-BDBB-05287FD548EB}"/>
              </a:ext>
            </a:extLst>
          </p:cNvPr>
          <p:cNvSpPr/>
          <p:nvPr/>
        </p:nvSpPr>
        <p:spPr>
          <a:xfrm>
            <a:off x="68358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1804D55F-4430-4B48-AAD2-085D052A3167}"/>
              </a:ext>
            </a:extLst>
          </p:cNvPr>
          <p:cNvSpPr/>
          <p:nvPr/>
        </p:nvSpPr>
        <p:spPr>
          <a:xfrm>
            <a:off x="82760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46A81438-6411-412C-9030-6653BB1A41EF}"/>
              </a:ext>
            </a:extLst>
          </p:cNvPr>
          <p:cNvSpPr/>
          <p:nvPr/>
        </p:nvSpPr>
        <p:spPr>
          <a:xfrm>
            <a:off x="111564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a:extLst>
              <a:ext uri="{FF2B5EF4-FFF2-40B4-BE49-F238E27FC236}">
                <a16:creationId xmlns:a16="http://schemas.microsoft.com/office/drawing/2014/main" id="{04D3E472-2977-419F-B2E6-F0B004A91C63}"/>
              </a:ext>
            </a:extLst>
          </p:cNvPr>
          <p:cNvSpPr/>
          <p:nvPr/>
        </p:nvSpPr>
        <p:spPr>
          <a:xfrm>
            <a:off x="395542" y="184482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41" name="Gerade Verbindung mit Pfeil 340">
            <a:extLst>
              <a:ext uri="{FF2B5EF4-FFF2-40B4-BE49-F238E27FC236}">
                <a16:creationId xmlns:a16="http://schemas.microsoft.com/office/drawing/2014/main" id="{62127F93-4382-4857-B55C-75E76281D2FD}"/>
              </a:ext>
            </a:extLst>
          </p:cNvPr>
          <p:cNvCxnSpPr>
            <a:cxnSpLocks/>
          </p:cNvCxnSpPr>
          <p:nvPr/>
        </p:nvCxnSpPr>
        <p:spPr>
          <a:xfrm>
            <a:off x="539552" y="191683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cxnSp>
        <p:nvCxnSpPr>
          <p:cNvPr id="128" name="Gerade Verbindung mit Pfeil 127">
            <a:extLst>
              <a:ext uri="{FF2B5EF4-FFF2-40B4-BE49-F238E27FC236}">
                <a16:creationId xmlns:a16="http://schemas.microsoft.com/office/drawing/2014/main" id="{414E42D8-1E9B-4466-B07D-14C7A83557A4}"/>
              </a:ext>
            </a:extLst>
          </p:cNvPr>
          <p:cNvCxnSpPr>
            <a:cxnSpLocks/>
          </p:cNvCxnSpPr>
          <p:nvPr/>
        </p:nvCxnSpPr>
        <p:spPr>
          <a:xfrm>
            <a:off x="968188" y="1900518"/>
            <a:ext cx="1947682" cy="16034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 Verbindung mit Pfeil 129">
            <a:extLst>
              <a:ext uri="{FF2B5EF4-FFF2-40B4-BE49-F238E27FC236}">
                <a16:creationId xmlns:a16="http://schemas.microsoft.com/office/drawing/2014/main" id="{B7C387D5-B784-4CD6-9AA7-88588835D342}"/>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80339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fast, table lookup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44105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table integrate ignore case, table integrate top down, table integrate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20486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20486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20486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a:cxnSpLocks/>
          </p:cNvCxnSpPr>
          <p:nvPr/>
        </p:nvCxnSpPr>
        <p:spPr>
          <a:xfrm>
            <a:off x="1187624" y="1556792"/>
            <a:ext cx="0" cy="180013"/>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a:cxnSpLocks/>
            <a:endCxn id="306" idx="1"/>
          </p:cNvCxnSpPr>
          <p:nvPr/>
        </p:nvCxnSpPr>
        <p:spPr>
          <a:xfrm>
            <a:off x="539562" y="1556814"/>
            <a:ext cx="1728186" cy="68405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160" name="Rechteck 159">
            <a:extLst>
              <a:ext uri="{FF2B5EF4-FFF2-40B4-BE49-F238E27FC236}">
                <a16:creationId xmlns:a16="http://schemas.microsoft.com/office/drawing/2014/main" id="{569CEFC1-1286-4EE6-B67B-55AA0DE2CADA}"/>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once, table integrate once ignore case:</a:t>
            </a:r>
          </a:p>
        </p:txBody>
      </p:sp>
      <p:sp>
        <p:nvSpPr>
          <p:cNvPr id="260" name="Rechteck 259">
            <a:extLst>
              <a:ext uri="{FF2B5EF4-FFF2-40B4-BE49-F238E27FC236}">
                <a16:creationId xmlns:a16="http://schemas.microsoft.com/office/drawing/2014/main" id="{E07E2154-BBE2-43FD-B18F-7DD996669D78}"/>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a:extLst>
              <a:ext uri="{FF2B5EF4-FFF2-40B4-BE49-F238E27FC236}">
                <a16:creationId xmlns:a16="http://schemas.microsoft.com/office/drawing/2014/main" id="{88C7EF2D-5EBE-4235-8543-3E234C2DF278}"/>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a:extLst>
              <a:ext uri="{FF2B5EF4-FFF2-40B4-BE49-F238E27FC236}">
                <a16:creationId xmlns:a16="http://schemas.microsoft.com/office/drawing/2014/main" id="{2363F0B6-698A-4603-8271-0F90A4212285}"/>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a:extLst>
              <a:ext uri="{FF2B5EF4-FFF2-40B4-BE49-F238E27FC236}">
                <a16:creationId xmlns:a16="http://schemas.microsoft.com/office/drawing/2014/main" id="{A94A30F0-2228-480A-B362-D48BAFF737F0}"/>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a:extLst>
              <a:ext uri="{FF2B5EF4-FFF2-40B4-BE49-F238E27FC236}">
                <a16:creationId xmlns:a16="http://schemas.microsoft.com/office/drawing/2014/main" id="{45B6A2BF-7813-41A6-943B-7BDD10094E19}"/>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a:extLst>
              <a:ext uri="{FF2B5EF4-FFF2-40B4-BE49-F238E27FC236}">
                <a16:creationId xmlns:a16="http://schemas.microsoft.com/office/drawing/2014/main" id="{5B1A60C0-3B30-4589-A815-3EB755DC2B5B}"/>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a:extLst>
              <a:ext uri="{FF2B5EF4-FFF2-40B4-BE49-F238E27FC236}">
                <a16:creationId xmlns:a16="http://schemas.microsoft.com/office/drawing/2014/main" id="{315D8B10-29EE-490E-9C0D-CEEBB64C56E6}"/>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a:extLst>
              <a:ext uri="{FF2B5EF4-FFF2-40B4-BE49-F238E27FC236}">
                <a16:creationId xmlns:a16="http://schemas.microsoft.com/office/drawing/2014/main" id="{51425344-0241-4991-B6A7-5748A25B522B}"/>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68" name="Rechteck 267">
            <a:extLst>
              <a:ext uri="{FF2B5EF4-FFF2-40B4-BE49-F238E27FC236}">
                <a16:creationId xmlns:a16="http://schemas.microsoft.com/office/drawing/2014/main" id="{DF54FE39-97EB-406C-9B40-5DEC9D947B28}"/>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69" name="Rechteck 268">
            <a:extLst>
              <a:ext uri="{FF2B5EF4-FFF2-40B4-BE49-F238E27FC236}">
                <a16:creationId xmlns:a16="http://schemas.microsoft.com/office/drawing/2014/main" id="{427A4AD9-1A23-4B4C-B457-268051C5965B}"/>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a:extLst>
              <a:ext uri="{FF2B5EF4-FFF2-40B4-BE49-F238E27FC236}">
                <a16:creationId xmlns:a16="http://schemas.microsoft.com/office/drawing/2014/main" id="{5716B420-33AD-441B-8875-2F5B015AFBA9}"/>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a:extLst>
              <a:ext uri="{FF2B5EF4-FFF2-40B4-BE49-F238E27FC236}">
                <a16:creationId xmlns:a16="http://schemas.microsoft.com/office/drawing/2014/main" id="{A457B34B-0D00-475E-B0F2-1173E727E3B3}"/>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72" name="Rechteck 271">
            <a:extLst>
              <a:ext uri="{FF2B5EF4-FFF2-40B4-BE49-F238E27FC236}">
                <a16:creationId xmlns:a16="http://schemas.microsoft.com/office/drawing/2014/main" id="{8C869B1E-61EC-40F2-9CC8-6898E7F6C454}"/>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880C0422-4A22-43FA-A1B2-0A68A5F1E793}"/>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AF592697-0507-4612-81A4-CBA94D7111D5}"/>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86" name="Rechteck 285">
            <a:extLst>
              <a:ext uri="{FF2B5EF4-FFF2-40B4-BE49-F238E27FC236}">
                <a16:creationId xmlns:a16="http://schemas.microsoft.com/office/drawing/2014/main" id="{4D62307A-38D9-40F4-AA80-6CD011BAD43C}"/>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8" name="Gerade Verbindung 374">
            <a:extLst>
              <a:ext uri="{FF2B5EF4-FFF2-40B4-BE49-F238E27FC236}">
                <a16:creationId xmlns:a16="http://schemas.microsoft.com/office/drawing/2014/main" id="{2D50C6BD-76CD-4117-8F2C-EACEBA29A7F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96" name="Rechteck 295">
            <a:extLst>
              <a:ext uri="{FF2B5EF4-FFF2-40B4-BE49-F238E27FC236}">
                <a16:creationId xmlns:a16="http://schemas.microsoft.com/office/drawing/2014/main" id="{4C65D402-8549-4BFF-9B87-0AC678881E3A}"/>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7" name="Rechteck 296">
            <a:extLst>
              <a:ext uri="{FF2B5EF4-FFF2-40B4-BE49-F238E27FC236}">
                <a16:creationId xmlns:a16="http://schemas.microsoft.com/office/drawing/2014/main" id="{422E87BC-BFA2-48AF-BCF9-4A6CCE86DBDE}"/>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a:extLst>
              <a:ext uri="{FF2B5EF4-FFF2-40B4-BE49-F238E27FC236}">
                <a16:creationId xmlns:a16="http://schemas.microsoft.com/office/drawing/2014/main" id="{734B0F8F-473B-4AA9-98A6-E9DD68F50B95}"/>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8" name="Rechteck 307">
            <a:extLst>
              <a:ext uri="{FF2B5EF4-FFF2-40B4-BE49-F238E27FC236}">
                <a16:creationId xmlns:a16="http://schemas.microsoft.com/office/drawing/2014/main" id="{E633C143-6531-4563-9AEE-FB0F7B124EC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9" name="Gerade Verbindung 77">
            <a:extLst>
              <a:ext uri="{FF2B5EF4-FFF2-40B4-BE49-F238E27FC236}">
                <a16:creationId xmlns:a16="http://schemas.microsoft.com/office/drawing/2014/main" id="{3A2A3C58-D71F-4861-8F92-0729ECBB32C6}"/>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a:extLst>
              <a:ext uri="{FF2B5EF4-FFF2-40B4-BE49-F238E27FC236}">
                <a16:creationId xmlns:a16="http://schemas.microsoft.com/office/drawing/2014/main" id="{707D5677-16DD-43E3-AC5E-01F8C0572117}"/>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a:extLst>
              <a:ext uri="{FF2B5EF4-FFF2-40B4-BE49-F238E27FC236}">
                <a16:creationId xmlns:a16="http://schemas.microsoft.com/office/drawing/2014/main" id="{A4139953-E0C0-461E-A039-1C50B7A82E77}"/>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a:extLst>
              <a:ext uri="{FF2B5EF4-FFF2-40B4-BE49-F238E27FC236}">
                <a16:creationId xmlns:a16="http://schemas.microsoft.com/office/drawing/2014/main" id="{B73A2565-1A6C-446D-9A0A-1E2FEBB7777B}"/>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3" name="Rechteck 312">
            <a:extLst>
              <a:ext uri="{FF2B5EF4-FFF2-40B4-BE49-F238E27FC236}">
                <a16:creationId xmlns:a16="http://schemas.microsoft.com/office/drawing/2014/main" id="{01D78A45-F2CC-4F7F-AA33-AA9C125C20E7}"/>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14" name="Gerade Verbindung mit Pfeil 313">
            <a:extLst>
              <a:ext uri="{FF2B5EF4-FFF2-40B4-BE49-F238E27FC236}">
                <a16:creationId xmlns:a16="http://schemas.microsoft.com/office/drawing/2014/main" id="{FF344BDF-AE3D-47C4-B1B0-5F60B7A4B3C2}"/>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15" name="Rechteck 314">
            <a:extLst>
              <a:ext uri="{FF2B5EF4-FFF2-40B4-BE49-F238E27FC236}">
                <a16:creationId xmlns:a16="http://schemas.microsoft.com/office/drawing/2014/main" id="{81944325-8430-4754-B71A-DBCE3B4D1DFC}"/>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a:extLst>
              <a:ext uri="{FF2B5EF4-FFF2-40B4-BE49-F238E27FC236}">
                <a16:creationId xmlns:a16="http://schemas.microsoft.com/office/drawing/2014/main" id="{3F09D9A8-481B-4B07-AB2C-12E5D8D24946}"/>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36" name="Gerade Verbindung mit Pfeil 335">
            <a:extLst>
              <a:ext uri="{FF2B5EF4-FFF2-40B4-BE49-F238E27FC236}">
                <a16:creationId xmlns:a16="http://schemas.microsoft.com/office/drawing/2014/main" id="{E923E1FD-E999-4B47-88D2-9D89643390B5}"/>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7" name="Rechteck 336">
            <a:extLst>
              <a:ext uri="{FF2B5EF4-FFF2-40B4-BE49-F238E27FC236}">
                <a16:creationId xmlns:a16="http://schemas.microsoft.com/office/drawing/2014/main" id="{F5815B20-BA24-46CA-9008-D8FCCDA04FC1}"/>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A650F367-B246-417B-9049-AFAF55503967}"/>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746AA394-F5A5-44B1-B6BB-545439A05A3F}"/>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340" name="Rechteck 339">
            <a:extLst>
              <a:ext uri="{FF2B5EF4-FFF2-40B4-BE49-F238E27FC236}">
                <a16:creationId xmlns:a16="http://schemas.microsoft.com/office/drawing/2014/main" id="{191A3CD8-EBFD-4173-B868-86A2AEB1CD6D}"/>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1" name="Rechteck 340">
            <a:extLst>
              <a:ext uri="{FF2B5EF4-FFF2-40B4-BE49-F238E27FC236}">
                <a16:creationId xmlns:a16="http://schemas.microsoft.com/office/drawing/2014/main" id="{2EEFF525-7541-4F5D-BFAD-4990C61C6314}"/>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a:extLst>
              <a:ext uri="{FF2B5EF4-FFF2-40B4-BE49-F238E27FC236}">
                <a16:creationId xmlns:a16="http://schemas.microsoft.com/office/drawing/2014/main" id="{F552241F-383E-4943-9D32-60B7640AD549}"/>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a:extLst>
              <a:ext uri="{FF2B5EF4-FFF2-40B4-BE49-F238E27FC236}">
                <a16:creationId xmlns:a16="http://schemas.microsoft.com/office/drawing/2014/main" id="{5153EB3E-F61A-4899-BEA7-19903690413B}"/>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a:extLst>
              <a:ext uri="{FF2B5EF4-FFF2-40B4-BE49-F238E27FC236}">
                <a16:creationId xmlns:a16="http://schemas.microsoft.com/office/drawing/2014/main" id="{17C6989C-F5BA-4AA8-A257-A91F3595FF90}"/>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a:extLst>
              <a:ext uri="{FF2B5EF4-FFF2-40B4-BE49-F238E27FC236}">
                <a16:creationId xmlns:a16="http://schemas.microsoft.com/office/drawing/2014/main" id="{C6CF75B7-185C-47BD-9401-1F2F11CE5A1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a:extLst>
              <a:ext uri="{FF2B5EF4-FFF2-40B4-BE49-F238E27FC236}">
                <a16:creationId xmlns:a16="http://schemas.microsoft.com/office/drawing/2014/main" id="{A4B84FFA-2205-4EF3-AE1A-F8DEFB0238BB}"/>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a:extLst>
              <a:ext uri="{FF2B5EF4-FFF2-40B4-BE49-F238E27FC236}">
                <a16:creationId xmlns:a16="http://schemas.microsoft.com/office/drawing/2014/main" id="{5782E4CC-4FD3-4AB8-9839-57660076508E}"/>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a:extLst>
              <a:ext uri="{FF2B5EF4-FFF2-40B4-BE49-F238E27FC236}">
                <a16:creationId xmlns:a16="http://schemas.microsoft.com/office/drawing/2014/main" id="{E7E6D2BA-12A3-460E-9030-B2A0320D797E}"/>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a:extLst>
              <a:ext uri="{FF2B5EF4-FFF2-40B4-BE49-F238E27FC236}">
                <a16:creationId xmlns:a16="http://schemas.microsoft.com/office/drawing/2014/main" id="{68A77E65-8697-44EB-B8C0-2F6393081D3F}"/>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a:extLst>
              <a:ext uri="{FF2B5EF4-FFF2-40B4-BE49-F238E27FC236}">
                <a16:creationId xmlns:a16="http://schemas.microsoft.com/office/drawing/2014/main" id="{BD80D7DB-FE76-44F0-AB58-255C739F3011}"/>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a:extLst>
              <a:ext uri="{FF2B5EF4-FFF2-40B4-BE49-F238E27FC236}">
                <a16:creationId xmlns:a16="http://schemas.microsoft.com/office/drawing/2014/main" id="{FE5813C2-B115-41B4-ADF9-32EBFA8EAEAC}"/>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353" name="Rechteck 352">
            <a:extLst>
              <a:ext uri="{FF2B5EF4-FFF2-40B4-BE49-F238E27FC236}">
                <a16:creationId xmlns:a16="http://schemas.microsoft.com/office/drawing/2014/main" id="{4FCE48BE-D05C-444F-9184-CD59D7BD8D35}"/>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354" name="Gerade Verbindung mit Pfeil 353">
            <a:extLst>
              <a:ext uri="{FF2B5EF4-FFF2-40B4-BE49-F238E27FC236}">
                <a16:creationId xmlns:a16="http://schemas.microsoft.com/office/drawing/2014/main" id="{B4228A15-B281-48BD-8125-F1BF7E6C5B9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5" name="Gerade Verbindung mit Pfeil 354">
            <a:extLst>
              <a:ext uri="{FF2B5EF4-FFF2-40B4-BE49-F238E27FC236}">
                <a16:creationId xmlns:a16="http://schemas.microsoft.com/office/drawing/2014/main" id="{2F55BF2E-ACFE-4F07-A89D-77E463B6E80A}"/>
              </a:ext>
            </a:extLst>
          </p:cNvPr>
          <p:cNvCxnSpPr>
            <a:cxnSpLocks/>
            <a:stCxn id="345"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6" name="Rechteck 355">
            <a:extLst>
              <a:ext uri="{FF2B5EF4-FFF2-40B4-BE49-F238E27FC236}">
                <a16:creationId xmlns:a16="http://schemas.microsoft.com/office/drawing/2014/main" id="{374A6A41-3858-4014-81B4-34F2512DED54}"/>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a:extLst>
              <a:ext uri="{FF2B5EF4-FFF2-40B4-BE49-F238E27FC236}">
                <a16:creationId xmlns:a16="http://schemas.microsoft.com/office/drawing/2014/main" id="{2553E06F-C037-4811-9A08-629200EF99A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58" name="Rechteck 357">
            <a:extLst>
              <a:ext uri="{FF2B5EF4-FFF2-40B4-BE49-F238E27FC236}">
                <a16:creationId xmlns:a16="http://schemas.microsoft.com/office/drawing/2014/main" id="{5BC95040-8DC9-4DD1-9154-AA7CDF2E5FEC}"/>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9" name="Rechteck 358">
            <a:extLst>
              <a:ext uri="{FF2B5EF4-FFF2-40B4-BE49-F238E27FC236}">
                <a16:creationId xmlns:a16="http://schemas.microsoft.com/office/drawing/2014/main" id="{63CF1BF3-1C57-41D6-8CEC-A5D886378B43}"/>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60" name="Pfeil nach rechts 16">
            <a:extLst>
              <a:ext uri="{FF2B5EF4-FFF2-40B4-BE49-F238E27FC236}">
                <a16:creationId xmlns:a16="http://schemas.microsoft.com/office/drawing/2014/main" id="{55CF4268-C78E-46E4-9961-F5F12AD42291}"/>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Pfeil nach links und rechts 17">
            <a:extLst>
              <a:ext uri="{FF2B5EF4-FFF2-40B4-BE49-F238E27FC236}">
                <a16:creationId xmlns:a16="http://schemas.microsoft.com/office/drawing/2014/main" id="{D7D98C3B-2976-4C4D-BE24-98D546961382}"/>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a:extLst>
              <a:ext uri="{FF2B5EF4-FFF2-40B4-BE49-F238E27FC236}">
                <a16:creationId xmlns:a16="http://schemas.microsoft.com/office/drawing/2014/main" id="{9A85C5CC-2C9F-4195-9A6B-8F495AEBE0C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a:extLst>
              <a:ext uri="{FF2B5EF4-FFF2-40B4-BE49-F238E27FC236}">
                <a16:creationId xmlns:a16="http://schemas.microsoft.com/office/drawing/2014/main" id="{484A1020-0D8E-48EE-A8D1-EA6661441416}"/>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364" name="Rechteck 363">
            <a:extLst>
              <a:ext uri="{FF2B5EF4-FFF2-40B4-BE49-F238E27FC236}">
                <a16:creationId xmlns:a16="http://schemas.microsoft.com/office/drawing/2014/main" id="{C9473946-C626-4443-BA77-496DEA08E10A}"/>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65" name="Rechteck 364">
            <a:extLst>
              <a:ext uri="{FF2B5EF4-FFF2-40B4-BE49-F238E27FC236}">
                <a16:creationId xmlns:a16="http://schemas.microsoft.com/office/drawing/2014/main" id="{2E89CB2B-E6EB-4CBC-8C46-C7F418F8DD6A}"/>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66" name="Rechteck 365">
            <a:extLst>
              <a:ext uri="{FF2B5EF4-FFF2-40B4-BE49-F238E27FC236}">
                <a16:creationId xmlns:a16="http://schemas.microsoft.com/office/drawing/2014/main" id="{F9F47B62-2AD7-49C5-BC26-DD257810CEE2}"/>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67" name="Ellipse 366">
            <a:extLst>
              <a:ext uri="{FF2B5EF4-FFF2-40B4-BE49-F238E27FC236}">
                <a16:creationId xmlns:a16="http://schemas.microsoft.com/office/drawing/2014/main" id="{7AED0ED7-54F4-4B0D-8889-7E5778DBD137}"/>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68" name="Rechteck 367">
            <a:extLst>
              <a:ext uri="{FF2B5EF4-FFF2-40B4-BE49-F238E27FC236}">
                <a16:creationId xmlns:a16="http://schemas.microsoft.com/office/drawing/2014/main" id="{F83F0FDF-117D-45AB-A230-EAB33E1D68D1}"/>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369" name="Gerade Verbindung mit Pfeil 368">
            <a:extLst>
              <a:ext uri="{FF2B5EF4-FFF2-40B4-BE49-F238E27FC236}">
                <a16:creationId xmlns:a16="http://schemas.microsoft.com/office/drawing/2014/main" id="{10806619-CAFA-4C4A-AB75-FD06C0D992A8}"/>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96" name="Gruppieren 395">
            <a:extLst>
              <a:ext uri="{FF2B5EF4-FFF2-40B4-BE49-F238E27FC236}">
                <a16:creationId xmlns:a16="http://schemas.microsoft.com/office/drawing/2014/main" id="{E08013B7-5FC3-4E1C-9402-5877FFDF283C}"/>
              </a:ext>
            </a:extLst>
          </p:cNvPr>
          <p:cNvGrpSpPr/>
          <p:nvPr/>
        </p:nvGrpSpPr>
        <p:grpSpPr>
          <a:xfrm>
            <a:off x="431540" y="4653136"/>
            <a:ext cx="1548172" cy="864096"/>
            <a:chOff x="539552" y="3068960"/>
            <a:chExt cx="1548172" cy="864096"/>
          </a:xfrm>
        </p:grpSpPr>
        <p:sp>
          <p:nvSpPr>
            <p:cNvPr id="397" name="Rechteck: abgerundete Ecken 396">
              <a:extLst>
                <a:ext uri="{FF2B5EF4-FFF2-40B4-BE49-F238E27FC236}">
                  <a16:creationId xmlns:a16="http://schemas.microsoft.com/office/drawing/2014/main" id="{610063ED-07C4-4796-A539-681E6A4ED383}"/>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98" name="Rechteck 397">
              <a:extLst>
                <a:ext uri="{FF2B5EF4-FFF2-40B4-BE49-F238E27FC236}">
                  <a16:creationId xmlns:a16="http://schemas.microsoft.com/office/drawing/2014/main" id="{215A25CF-B440-4BEF-B332-9FEB053022D7}"/>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a:extLst>
                <a:ext uri="{FF2B5EF4-FFF2-40B4-BE49-F238E27FC236}">
                  <a16:creationId xmlns:a16="http://schemas.microsoft.com/office/drawing/2014/main" id="{808DAFBF-679C-4F1A-890A-DE0B1517FFF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a:extLst>
                <a:ext uri="{FF2B5EF4-FFF2-40B4-BE49-F238E27FC236}">
                  <a16:creationId xmlns:a16="http://schemas.microsoft.com/office/drawing/2014/main" id="{BDDA131A-4AF2-44C8-8554-5E65BE79D5E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a:extLst>
                <a:ext uri="{FF2B5EF4-FFF2-40B4-BE49-F238E27FC236}">
                  <a16:creationId xmlns:a16="http://schemas.microsoft.com/office/drawing/2014/main" id="{1290CF62-6D1B-436E-BFCD-EB1C9627086A}"/>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2" name="Rechteck 401">
              <a:extLst>
                <a:ext uri="{FF2B5EF4-FFF2-40B4-BE49-F238E27FC236}">
                  <a16:creationId xmlns:a16="http://schemas.microsoft.com/office/drawing/2014/main" id="{0319D849-2D9F-4901-B540-969976C15EDA}"/>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Flussdiagramm: Zusammenführung 402">
              <a:extLst>
                <a:ext uri="{FF2B5EF4-FFF2-40B4-BE49-F238E27FC236}">
                  <a16:creationId xmlns:a16="http://schemas.microsoft.com/office/drawing/2014/main" id="{000FD94E-CEC2-4E57-B8AB-D1B8579033C6}"/>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8F0EC30B-28CE-4E7C-AFF2-CCDAFCB65A81}"/>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05" name="Gerade Verbindung mit Pfeil 404">
              <a:extLst>
                <a:ext uri="{FF2B5EF4-FFF2-40B4-BE49-F238E27FC236}">
                  <a16:creationId xmlns:a16="http://schemas.microsoft.com/office/drawing/2014/main" id="{6BD4516D-EE1B-47C5-8B28-CFE9FCE81B59}"/>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6" name="Gerade Verbindung mit Pfeil 405">
              <a:extLst>
                <a:ext uri="{FF2B5EF4-FFF2-40B4-BE49-F238E27FC236}">
                  <a16:creationId xmlns:a16="http://schemas.microsoft.com/office/drawing/2014/main" id="{68D1C9B5-FB64-4B40-A483-9CA371E0771E}"/>
                </a:ext>
              </a:extLst>
            </p:cNvPr>
            <p:cNvCxnSpPr>
              <a:cxnSpLocks/>
              <a:stCxn id="40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7" name="Gerade Verbindung mit Pfeil 406">
              <a:extLst>
                <a:ext uri="{FF2B5EF4-FFF2-40B4-BE49-F238E27FC236}">
                  <a16:creationId xmlns:a16="http://schemas.microsoft.com/office/drawing/2014/main" id="{289DAA59-8BF4-4DB3-9807-22F8367A3B73}"/>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8" name="Gerade Verbindung mit Pfeil 407">
              <a:extLst>
                <a:ext uri="{FF2B5EF4-FFF2-40B4-BE49-F238E27FC236}">
                  <a16:creationId xmlns:a16="http://schemas.microsoft.com/office/drawing/2014/main" id="{FC535EC0-4E1D-4BB5-99D3-34EA63456F92}"/>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9" name="Gruppieren 408">
            <a:extLst>
              <a:ext uri="{FF2B5EF4-FFF2-40B4-BE49-F238E27FC236}">
                <a16:creationId xmlns:a16="http://schemas.microsoft.com/office/drawing/2014/main" id="{22E41E0F-B920-474E-BD82-A917A10B6007}"/>
              </a:ext>
            </a:extLst>
          </p:cNvPr>
          <p:cNvGrpSpPr/>
          <p:nvPr/>
        </p:nvGrpSpPr>
        <p:grpSpPr>
          <a:xfrm>
            <a:off x="431540" y="1736812"/>
            <a:ext cx="1692188" cy="864096"/>
            <a:chOff x="539552" y="3068960"/>
            <a:chExt cx="1692188" cy="864096"/>
          </a:xfrm>
        </p:grpSpPr>
        <p:sp>
          <p:nvSpPr>
            <p:cNvPr id="410" name="Rechteck: abgerundete Ecken 409">
              <a:extLst>
                <a:ext uri="{FF2B5EF4-FFF2-40B4-BE49-F238E27FC236}">
                  <a16:creationId xmlns:a16="http://schemas.microsoft.com/office/drawing/2014/main" id="{1EDBF1E6-DCB3-4032-A697-9A3FFF7636AF}"/>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11" name="Rechteck 410">
              <a:extLst>
                <a:ext uri="{FF2B5EF4-FFF2-40B4-BE49-F238E27FC236}">
                  <a16:creationId xmlns:a16="http://schemas.microsoft.com/office/drawing/2014/main" id="{B63906EF-1E3D-492B-855B-2B78DDF7D23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a:extLst>
                <a:ext uri="{FF2B5EF4-FFF2-40B4-BE49-F238E27FC236}">
                  <a16:creationId xmlns:a16="http://schemas.microsoft.com/office/drawing/2014/main" id="{E56BFEDF-1AFD-4CDF-B973-6C8D1DC9A309}"/>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a:extLst>
                <a:ext uri="{FF2B5EF4-FFF2-40B4-BE49-F238E27FC236}">
                  <a16:creationId xmlns:a16="http://schemas.microsoft.com/office/drawing/2014/main" id="{FC79A3D8-F264-4EEE-A205-34E4A0C71EBA}"/>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a:extLst>
                <a:ext uri="{FF2B5EF4-FFF2-40B4-BE49-F238E27FC236}">
                  <a16:creationId xmlns:a16="http://schemas.microsoft.com/office/drawing/2014/main" id="{C997FCC9-45CF-4413-A677-BC35F7CFDB07}"/>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a:extLst>
                <a:ext uri="{FF2B5EF4-FFF2-40B4-BE49-F238E27FC236}">
                  <a16:creationId xmlns:a16="http://schemas.microsoft.com/office/drawing/2014/main" id="{7A863EA9-8AB7-4AA3-90BB-39B99F746F14}"/>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Flussdiagramm: Zusammenführung 415">
              <a:extLst>
                <a:ext uri="{FF2B5EF4-FFF2-40B4-BE49-F238E27FC236}">
                  <a16:creationId xmlns:a16="http://schemas.microsoft.com/office/drawing/2014/main" id="{FCF002BA-B9BA-49BD-922A-98091FCDAC4A}"/>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a:extLst>
                <a:ext uri="{FF2B5EF4-FFF2-40B4-BE49-F238E27FC236}">
                  <a16:creationId xmlns:a16="http://schemas.microsoft.com/office/drawing/2014/main" id="{6D73A851-84EB-4119-A686-60765BE164C9}"/>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18" name="Gerade Verbindung mit Pfeil 417">
              <a:extLst>
                <a:ext uri="{FF2B5EF4-FFF2-40B4-BE49-F238E27FC236}">
                  <a16:creationId xmlns:a16="http://schemas.microsoft.com/office/drawing/2014/main" id="{3E9A39E3-3F31-41EB-87CD-329EA422DCC0}"/>
                </a:ext>
              </a:extLst>
            </p:cNvPr>
            <p:cNvCxnSpPr>
              <a:cxnSpLocks/>
              <a:endCxn id="302" idx="1"/>
            </p:cNvCxnSpPr>
            <p:nvPr/>
          </p:nvCxnSpPr>
          <p:spPr>
            <a:xfrm>
              <a:off x="1619640" y="3573000"/>
              <a:ext cx="612100" cy="15"/>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9" name="Gerade Verbindung mit Pfeil 418">
              <a:extLst>
                <a:ext uri="{FF2B5EF4-FFF2-40B4-BE49-F238E27FC236}">
                  <a16:creationId xmlns:a16="http://schemas.microsoft.com/office/drawing/2014/main" id="{279061A5-E9CC-4663-B7B8-787BA36906F0}"/>
                </a:ext>
              </a:extLst>
            </p:cNvPr>
            <p:cNvCxnSpPr>
              <a:cxnSpLocks/>
              <a:stCxn id="416"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0" name="Gerade Verbindung mit Pfeil 419">
              <a:extLst>
                <a:ext uri="{FF2B5EF4-FFF2-40B4-BE49-F238E27FC236}">
                  <a16:creationId xmlns:a16="http://schemas.microsoft.com/office/drawing/2014/main" id="{81BEF911-630E-4D4E-8C08-501AB5A0F6CA}"/>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1" name="Gerade Verbindung mit Pfeil 420">
              <a:extLst>
                <a:ext uri="{FF2B5EF4-FFF2-40B4-BE49-F238E27FC236}">
                  <a16:creationId xmlns:a16="http://schemas.microsoft.com/office/drawing/2014/main" id="{DD4A5CB3-4759-463D-A254-B2E05F11D60A}"/>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162728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fast, table integrate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 name="Gruppieren 18">
            <a:extLst>
              <a:ext uri="{FF2B5EF4-FFF2-40B4-BE49-F238E27FC236}">
                <a16:creationId xmlns:a16="http://schemas.microsoft.com/office/drawing/2014/main" id="{5B07F2D8-5EDA-4517-B857-5880514D303E}"/>
              </a:ext>
            </a:extLst>
          </p:cNvPr>
          <p:cNvGrpSpPr/>
          <p:nvPr/>
        </p:nvGrpSpPr>
        <p:grpSpPr>
          <a:xfrm>
            <a:off x="467544" y="2420888"/>
            <a:ext cx="1548172" cy="864096"/>
            <a:chOff x="539552" y="3068960"/>
            <a:chExt cx="1548172" cy="864096"/>
          </a:xfrm>
        </p:grpSpPr>
        <p:sp>
          <p:nvSpPr>
            <p:cNvPr id="3" name="Rechteck: abgerundete Ecken 2">
              <a:extLst>
                <a:ext uri="{FF2B5EF4-FFF2-40B4-BE49-F238E27FC236}">
                  <a16:creationId xmlns:a16="http://schemas.microsoft.com/office/drawing/2014/main" id="{46D36EF9-F892-4252-B3C7-EA73D2617169}"/>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BF18E36D-F3E9-4D6F-96A7-CB7DA5EE601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E35A65D7-5EAD-400F-8A23-B2E840342B28}"/>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1989B749-FA96-45AD-A6AA-1B77FF30EE59}"/>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a:extLst>
                <a:ext uri="{FF2B5EF4-FFF2-40B4-BE49-F238E27FC236}">
                  <a16:creationId xmlns:a16="http://schemas.microsoft.com/office/drawing/2014/main" id="{902DBF1A-C853-40C5-9A94-F38CC357C6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DB26BD31-1982-4902-8A5A-9B60660059FD}"/>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 name="Flussdiagramm: Zusammenführung 4">
              <a:extLst>
                <a:ext uri="{FF2B5EF4-FFF2-40B4-BE49-F238E27FC236}">
                  <a16:creationId xmlns:a16="http://schemas.microsoft.com/office/drawing/2014/main" id="{3E86C251-9F27-447B-AA1A-C9CCDC8D3567}"/>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 name="Rechteck 5">
              <a:extLst>
                <a:ext uri="{FF2B5EF4-FFF2-40B4-BE49-F238E27FC236}">
                  <a16:creationId xmlns:a16="http://schemas.microsoft.com/office/drawing/2014/main" id="{D57AF08B-11CC-4A86-BB95-C32CA2025AAF}"/>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137" name="Gerade Verbindung mit Pfeil 136">
              <a:extLst>
                <a:ext uri="{FF2B5EF4-FFF2-40B4-BE49-F238E27FC236}">
                  <a16:creationId xmlns:a16="http://schemas.microsoft.com/office/drawing/2014/main" id="{8BDAE687-395A-48E1-9E55-588F2A453244}"/>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 Verbindung mit Pfeil 137">
              <a:extLst>
                <a:ext uri="{FF2B5EF4-FFF2-40B4-BE49-F238E27FC236}">
                  <a16:creationId xmlns:a16="http://schemas.microsoft.com/office/drawing/2014/main" id="{E8CB8C52-C899-4EB9-861F-D413F8FBAC3A}"/>
                </a:ext>
              </a:extLst>
            </p:cNvPr>
            <p:cNvCxnSpPr>
              <a:cxnSpLocks/>
              <a:stCxn id="5"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Gerade Verbindung mit Pfeil 139">
              <a:extLst>
                <a:ext uri="{FF2B5EF4-FFF2-40B4-BE49-F238E27FC236}">
                  <a16:creationId xmlns:a16="http://schemas.microsoft.com/office/drawing/2014/main" id="{3BDF4048-3A9D-4DFF-A8F8-DEC2B8D0C82F}"/>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Gerade Verbindung mit Pfeil 140">
              <a:extLst>
                <a:ext uri="{FF2B5EF4-FFF2-40B4-BE49-F238E27FC236}">
                  <a16:creationId xmlns:a16="http://schemas.microsoft.com/office/drawing/2014/main" id="{2F5EC2F3-4DBE-417D-BBFE-E3E9E9F26C8B}"/>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691480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Dige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digest,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797000"/>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ll matching rows will be </a:t>
            </a:r>
            <a:r>
              <a:rPr lang="en-US" sz="1000" i="1" dirty="0">
                <a:solidFill>
                  <a:schemeClr val="tx1"/>
                </a:solidFill>
              </a:rPr>
              <a:t>digested</a:t>
            </a:r>
            <a:r>
              <a:rPr lang="en-US" sz="1000" dirty="0">
                <a:solidFill>
                  <a:schemeClr val="tx1"/>
                </a:solidFill>
              </a:rPr>
              <a:t> into the target table</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723856"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
        <p:nvSpPr>
          <p:cNvPr id="265" name="Rechteck 264">
            <a:extLst>
              <a:ext uri="{FF2B5EF4-FFF2-40B4-BE49-F238E27FC236}">
                <a16:creationId xmlns:a16="http://schemas.microsoft.com/office/drawing/2014/main" id="{FA91F31E-8DD2-4E83-941D-5DF4BBC09D00}"/>
              </a:ext>
            </a:extLst>
          </p:cNvPr>
          <p:cNvSpPr/>
          <p:nvPr/>
        </p:nvSpPr>
        <p:spPr>
          <a:xfrm>
            <a:off x="5220130" y="119700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a:extLst>
              <a:ext uri="{FF2B5EF4-FFF2-40B4-BE49-F238E27FC236}">
                <a16:creationId xmlns:a16="http://schemas.microsoft.com/office/drawing/2014/main" id="{A6F0C1C9-2C21-4E4C-B0B7-5ED1E99F7FBE}"/>
              </a:ext>
            </a:extLst>
          </p:cNvPr>
          <p:cNvSpPr/>
          <p:nvPr/>
        </p:nvSpPr>
        <p:spPr>
          <a:xfrm>
            <a:off x="4788070" y="119700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a:extLst>
              <a:ext uri="{FF2B5EF4-FFF2-40B4-BE49-F238E27FC236}">
                <a16:creationId xmlns:a16="http://schemas.microsoft.com/office/drawing/2014/main" id="{DBE0BEB9-FFEB-4712-B27F-5D4DAB9DB3BC}"/>
              </a:ext>
            </a:extLst>
          </p:cNvPr>
          <p:cNvSpPr/>
          <p:nvPr/>
        </p:nvSpPr>
        <p:spPr>
          <a:xfrm>
            <a:off x="4284000" y="112499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a:extLst>
              <a:ext uri="{FF2B5EF4-FFF2-40B4-BE49-F238E27FC236}">
                <a16:creationId xmlns:a16="http://schemas.microsoft.com/office/drawing/2014/main" id="{0CE68F2D-686A-4D6A-98DE-E239E17D6A54}"/>
              </a:ext>
            </a:extLst>
          </p:cNvPr>
          <p:cNvSpPr/>
          <p:nvPr/>
        </p:nvSpPr>
        <p:spPr>
          <a:xfrm>
            <a:off x="4284000" y="119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9" name="Rechteck 268">
            <a:extLst>
              <a:ext uri="{FF2B5EF4-FFF2-40B4-BE49-F238E27FC236}">
                <a16:creationId xmlns:a16="http://schemas.microsoft.com/office/drawing/2014/main" id="{58FB65FF-0729-4F61-98A3-1D2E4F0A8A52}"/>
              </a:ext>
            </a:extLst>
          </p:cNvPr>
          <p:cNvSpPr/>
          <p:nvPr/>
        </p:nvSpPr>
        <p:spPr>
          <a:xfrm>
            <a:off x="4500030" y="119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0" name="Gerade Verbindung 374">
            <a:extLst>
              <a:ext uri="{FF2B5EF4-FFF2-40B4-BE49-F238E27FC236}">
                <a16:creationId xmlns:a16="http://schemas.microsoft.com/office/drawing/2014/main" id="{29A092CD-B3FA-48A9-91BD-BA4475F5FF84}"/>
              </a:ext>
            </a:extLst>
          </p:cNvPr>
          <p:cNvCxnSpPr/>
          <p:nvPr/>
        </p:nvCxnSpPr>
        <p:spPr>
          <a:xfrm>
            <a:off x="4284000" y="119700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71" name="Rechteck 270">
            <a:extLst>
              <a:ext uri="{FF2B5EF4-FFF2-40B4-BE49-F238E27FC236}">
                <a16:creationId xmlns:a16="http://schemas.microsoft.com/office/drawing/2014/main" id="{5885318F-5CAA-4DC5-95E9-340D21815692}"/>
              </a:ext>
            </a:extLst>
          </p:cNvPr>
          <p:cNvSpPr/>
          <p:nvPr/>
        </p:nvSpPr>
        <p:spPr>
          <a:xfrm>
            <a:off x="4284000" y="14850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ABFF834D-48BB-4A31-AC31-503513F38384}"/>
              </a:ext>
            </a:extLst>
          </p:cNvPr>
          <p:cNvSpPr/>
          <p:nvPr/>
        </p:nvSpPr>
        <p:spPr>
          <a:xfrm>
            <a:off x="478807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A4011EA9-4C6E-4397-8596-1A4FEFB1B6AF}"/>
              </a:ext>
            </a:extLst>
          </p:cNvPr>
          <p:cNvSpPr/>
          <p:nvPr/>
        </p:nvSpPr>
        <p:spPr>
          <a:xfrm>
            <a:off x="493209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CBD742C8-913E-49EA-B0FE-33D9E6EA7E9C}"/>
              </a:ext>
            </a:extLst>
          </p:cNvPr>
          <p:cNvSpPr/>
          <p:nvPr/>
        </p:nvSpPr>
        <p:spPr>
          <a:xfrm>
            <a:off x="522013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a:extLst>
              <a:ext uri="{FF2B5EF4-FFF2-40B4-BE49-F238E27FC236}">
                <a16:creationId xmlns:a16="http://schemas.microsoft.com/office/drawing/2014/main" id="{4815767A-2F47-4412-849F-54AB7CD290D2}"/>
              </a:ext>
            </a:extLst>
          </p:cNvPr>
          <p:cNvSpPr/>
          <p:nvPr/>
        </p:nvSpPr>
        <p:spPr>
          <a:xfrm>
            <a:off x="4500030" y="148502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a:extLst>
              <a:ext uri="{FF2B5EF4-FFF2-40B4-BE49-F238E27FC236}">
                <a16:creationId xmlns:a16="http://schemas.microsoft.com/office/drawing/2014/main" id="{BB7308C7-2608-491A-B9F1-4EBA3C6D7497}"/>
              </a:ext>
            </a:extLst>
          </p:cNvPr>
          <p:cNvSpPr/>
          <p:nvPr/>
        </p:nvSpPr>
        <p:spPr>
          <a:xfrm>
            <a:off x="4284000" y="18450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a:extLst>
              <a:ext uri="{FF2B5EF4-FFF2-40B4-BE49-F238E27FC236}">
                <a16:creationId xmlns:a16="http://schemas.microsoft.com/office/drawing/2014/main" id="{AF32D689-E58A-4BAF-B30B-698FDCDCD741}"/>
              </a:ext>
            </a:extLst>
          </p:cNvPr>
          <p:cNvSpPr/>
          <p:nvPr/>
        </p:nvSpPr>
        <p:spPr>
          <a:xfrm>
            <a:off x="478807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a:extLst>
              <a:ext uri="{FF2B5EF4-FFF2-40B4-BE49-F238E27FC236}">
                <a16:creationId xmlns:a16="http://schemas.microsoft.com/office/drawing/2014/main" id="{A4BA50DF-0D3C-48E4-9DD4-27A16384F288}"/>
              </a:ext>
            </a:extLst>
          </p:cNvPr>
          <p:cNvSpPr/>
          <p:nvPr/>
        </p:nvSpPr>
        <p:spPr>
          <a:xfrm>
            <a:off x="493209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A77D56C8-AAD1-4C3F-932D-32682F183994}"/>
              </a:ext>
            </a:extLst>
          </p:cNvPr>
          <p:cNvSpPr/>
          <p:nvPr/>
        </p:nvSpPr>
        <p:spPr>
          <a:xfrm>
            <a:off x="522013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2F1A50D6-E93B-4220-8532-DAE17819BC91}"/>
              </a:ext>
            </a:extLst>
          </p:cNvPr>
          <p:cNvSpPr/>
          <p:nvPr/>
        </p:nvSpPr>
        <p:spPr>
          <a:xfrm>
            <a:off x="4500030" y="18450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6080518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206084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206084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68" y="1556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803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205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9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98" y="1556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4002" y="16288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7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9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13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500032" y="16288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4036" y="170080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10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12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16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500066" y="170080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68" y="213285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803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205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9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98" y="213285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4002" y="220486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7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9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13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500032" y="220486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4036"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10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12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16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500066"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544108"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Tree>
    <p:extLst>
      <p:ext uri="{BB962C8B-B14F-4D97-AF65-F5344CB8AC3E}">
        <p14:creationId xmlns:p14="http://schemas.microsoft.com/office/powerpoint/2010/main" val="24132015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EF1E25C-D400-47B7-8D16-E799804253F8}"/>
              </a:ext>
            </a:extLst>
          </p:cNvPr>
          <p:cNvSpPr/>
          <p:nvPr/>
        </p:nvSpPr>
        <p:spPr>
          <a:xfrm>
            <a:off x="7740000" y="1485000"/>
            <a:ext cx="432000" cy="259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Variable Model</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49" name="Rechteck 48">
            <a:extLst>
              <a:ext uri="{FF2B5EF4-FFF2-40B4-BE49-F238E27FC236}">
                <a16:creationId xmlns:a16="http://schemas.microsoft.com/office/drawing/2014/main" id="{1959789C-3AA8-4621-870C-C4186A695475}"/>
              </a:ext>
            </a:extLst>
          </p:cNvPr>
          <p:cNvSpPr/>
          <p:nvPr/>
        </p:nvSpPr>
        <p:spPr>
          <a:xfrm>
            <a:off x="10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Import</a:t>
            </a:r>
          </a:p>
        </p:txBody>
      </p:sp>
      <p:sp>
        <p:nvSpPr>
          <p:cNvPr id="50" name="Rechteck 49">
            <a:extLst>
              <a:ext uri="{FF2B5EF4-FFF2-40B4-BE49-F238E27FC236}">
                <a16:creationId xmlns:a16="http://schemas.microsoft.com/office/drawing/2014/main" id="{65508B22-62D4-4E93-A7D5-ACC220B288BD}"/>
              </a:ext>
            </a:extLst>
          </p:cNvPr>
          <p:cNvSpPr/>
          <p:nvPr/>
        </p:nvSpPr>
        <p:spPr>
          <a:xfrm>
            <a:off x="241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Validate</a:t>
            </a:r>
          </a:p>
        </p:txBody>
      </p:sp>
      <p:sp>
        <p:nvSpPr>
          <p:cNvPr id="51" name="Rechteck 50">
            <a:extLst>
              <a:ext uri="{FF2B5EF4-FFF2-40B4-BE49-F238E27FC236}">
                <a16:creationId xmlns:a16="http://schemas.microsoft.com/office/drawing/2014/main" id="{41BE7FC3-4D78-4A8E-AC86-835F899C0317}"/>
              </a:ext>
            </a:extLst>
          </p:cNvPr>
          <p:cNvSpPr/>
          <p:nvPr/>
        </p:nvSpPr>
        <p:spPr>
          <a:xfrm>
            <a:off x="586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nalyze</a:t>
            </a:r>
          </a:p>
        </p:txBody>
      </p:sp>
      <p:sp>
        <p:nvSpPr>
          <p:cNvPr id="52" name="Rechteck 51">
            <a:extLst>
              <a:ext uri="{FF2B5EF4-FFF2-40B4-BE49-F238E27FC236}">
                <a16:creationId xmlns:a16="http://schemas.microsoft.com/office/drawing/2014/main" id="{A37036A2-33A2-4FCC-A165-353B80536C8E}"/>
              </a:ext>
            </a:extLst>
          </p:cNvPr>
          <p:cNvSpPr/>
          <p:nvPr/>
        </p:nvSpPr>
        <p:spPr>
          <a:xfrm>
            <a:off x="817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Export</a:t>
            </a:r>
          </a:p>
        </p:txBody>
      </p:sp>
      <p:sp>
        <p:nvSpPr>
          <p:cNvPr id="53" name="Gleichschenkliges Dreieck 52">
            <a:extLst>
              <a:ext uri="{FF2B5EF4-FFF2-40B4-BE49-F238E27FC236}">
                <a16:creationId xmlns:a16="http://schemas.microsoft.com/office/drawing/2014/main" id="{A31F3178-FEA1-4F70-8EAA-D2607B88C63F}"/>
              </a:ext>
            </a:extLst>
          </p:cNvPr>
          <p:cNvSpPr/>
          <p:nvPr/>
        </p:nvSpPr>
        <p:spPr>
          <a:xfrm rot="5400000">
            <a:off x="1044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4" name="Gleichschenkliges Dreieck 53">
            <a:extLst>
              <a:ext uri="{FF2B5EF4-FFF2-40B4-BE49-F238E27FC236}">
                <a16:creationId xmlns:a16="http://schemas.microsoft.com/office/drawing/2014/main" id="{C8FE2F6E-FD59-40AE-B004-459C9F069D17}"/>
              </a:ext>
            </a:extLst>
          </p:cNvPr>
          <p:cNvSpPr/>
          <p:nvPr/>
        </p:nvSpPr>
        <p:spPr>
          <a:xfrm rot="5400000">
            <a:off x="5626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5" name="Gleichschenkliges Dreieck 54">
            <a:extLst>
              <a:ext uri="{FF2B5EF4-FFF2-40B4-BE49-F238E27FC236}">
                <a16:creationId xmlns:a16="http://schemas.microsoft.com/office/drawing/2014/main" id="{6252B87B-96D1-4142-B049-93659EC52377}"/>
              </a:ext>
            </a:extLst>
          </p:cNvPr>
          <p:cNvSpPr/>
          <p:nvPr/>
        </p:nvSpPr>
        <p:spPr>
          <a:xfrm rot="5400000">
            <a:off x="795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6" name="Gerade Verbindung mit Pfeil 55">
            <a:extLst>
              <a:ext uri="{FF2B5EF4-FFF2-40B4-BE49-F238E27FC236}">
                <a16:creationId xmlns:a16="http://schemas.microsoft.com/office/drawing/2014/main" id="{70ED3584-9528-4C9C-ABA1-C487305D631F}"/>
              </a:ext>
            </a:extLst>
          </p:cNvPr>
          <p:cNvCxnSpPr>
            <a:cxnSpLocks/>
          </p:cNvCxnSpPr>
          <p:nvPr/>
        </p:nvCxnSpPr>
        <p:spPr>
          <a:xfrm>
            <a:off x="108000" y="2133000"/>
            <a:ext cx="8928000" cy="0"/>
          </a:xfrm>
          <a:prstGeom prst="straightConnector1">
            <a:avLst/>
          </a:prstGeom>
          <a:ln w="28575">
            <a:solidFill>
              <a:srgbClr val="3366FF"/>
            </a:solidFill>
            <a:tailEnd type="triangle" w="lg" len="lg"/>
          </a:ln>
        </p:spPr>
        <p:style>
          <a:lnRef idx="1">
            <a:schemeClr val="accent1"/>
          </a:lnRef>
          <a:fillRef idx="0">
            <a:schemeClr val="accent1"/>
          </a:fillRef>
          <a:effectRef idx="0">
            <a:schemeClr val="accent1"/>
          </a:effectRef>
          <a:fontRef idx="minor">
            <a:schemeClr val="tx1"/>
          </a:fontRef>
        </p:style>
      </p:cxnSp>
      <p:sp>
        <p:nvSpPr>
          <p:cNvPr id="59" name="Rechteck 58">
            <a:extLst>
              <a:ext uri="{FF2B5EF4-FFF2-40B4-BE49-F238E27FC236}">
                <a16:creationId xmlns:a16="http://schemas.microsoft.com/office/drawing/2014/main" id="{91A89384-0D8F-4548-A592-8D9BE7D76F75}"/>
              </a:ext>
            </a:extLst>
          </p:cNvPr>
          <p:cNvSpPr/>
          <p:nvPr/>
        </p:nvSpPr>
        <p:spPr>
          <a:xfrm>
            <a:off x="126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lean</a:t>
            </a:r>
          </a:p>
        </p:txBody>
      </p:sp>
      <p:sp>
        <p:nvSpPr>
          <p:cNvPr id="60" name="Gleichschenkliges Dreieck 59">
            <a:extLst>
              <a:ext uri="{FF2B5EF4-FFF2-40B4-BE49-F238E27FC236}">
                <a16:creationId xmlns:a16="http://schemas.microsoft.com/office/drawing/2014/main" id="{5E1FEF67-ABC5-4373-BA4A-475B216AEB5E}"/>
              </a:ext>
            </a:extLst>
          </p:cNvPr>
          <p:cNvSpPr/>
          <p:nvPr/>
        </p:nvSpPr>
        <p:spPr>
          <a:xfrm rot="5400000">
            <a:off x="219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436B3845-45B6-4226-BE7D-5E304EF34972}"/>
              </a:ext>
            </a:extLst>
          </p:cNvPr>
          <p:cNvSpPr/>
          <p:nvPr/>
        </p:nvSpPr>
        <p:spPr>
          <a:xfrm>
            <a:off x="4716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ugment</a:t>
            </a:r>
          </a:p>
        </p:txBody>
      </p:sp>
      <p:sp>
        <p:nvSpPr>
          <p:cNvPr id="67" name="Gleichschenkliges Dreieck 66">
            <a:extLst>
              <a:ext uri="{FF2B5EF4-FFF2-40B4-BE49-F238E27FC236}">
                <a16:creationId xmlns:a16="http://schemas.microsoft.com/office/drawing/2014/main" id="{F3EC9EF4-6CB5-4C11-AFB0-452BDEDD18F6}"/>
              </a:ext>
            </a:extLst>
          </p:cNvPr>
          <p:cNvSpPr/>
          <p:nvPr/>
        </p:nvSpPr>
        <p:spPr>
          <a:xfrm rot="5400000">
            <a:off x="3348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3" name="Gleichschenkliges Dreieck 72">
            <a:extLst>
              <a:ext uri="{FF2B5EF4-FFF2-40B4-BE49-F238E27FC236}">
                <a16:creationId xmlns:a16="http://schemas.microsoft.com/office/drawing/2014/main" id="{4FE538E4-2B59-4685-8B61-0302D91138DD}"/>
              </a:ext>
            </a:extLst>
          </p:cNvPr>
          <p:cNvSpPr/>
          <p:nvPr/>
        </p:nvSpPr>
        <p:spPr>
          <a:xfrm rot="5400000">
            <a:off x="4500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3470660-8E3F-4972-A23E-69FFDCA836E0}"/>
              </a:ext>
            </a:extLst>
          </p:cNvPr>
          <p:cNvSpPr/>
          <p:nvPr/>
        </p:nvSpPr>
        <p:spPr>
          <a:xfrm>
            <a:off x="3564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Merge</a:t>
            </a:r>
          </a:p>
        </p:txBody>
      </p:sp>
      <p:sp>
        <p:nvSpPr>
          <p:cNvPr id="75" name="Rechteck 74">
            <a:extLst>
              <a:ext uri="{FF2B5EF4-FFF2-40B4-BE49-F238E27FC236}">
                <a16:creationId xmlns:a16="http://schemas.microsoft.com/office/drawing/2014/main" id="{8A1259D6-7AD0-4AE4-BB23-5E2197EBB878}"/>
              </a:ext>
            </a:extLst>
          </p:cNvPr>
          <p:cNvSpPr/>
          <p:nvPr/>
        </p:nvSpPr>
        <p:spPr>
          <a:xfrm>
            <a:off x="702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Format</a:t>
            </a:r>
          </a:p>
        </p:txBody>
      </p:sp>
      <p:sp>
        <p:nvSpPr>
          <p:cNvPr id="76" name="Gleichschenkliges Dreieck 75">
            <a:extLst>
              <a:ext uri="{FF2B5EF4-FFF2-40B4-BE49-F238E27FC236}">
                <a16:creationId xmlns:a16="http://schemas.microsoft.com/office/drawing/2014/main" id="{A8DB7720-CE66-4AE5-B6C0-B2EBAA908473}"/>
              </a:ext>
            </a:extLst>
          </p:cNvPr>
          <p:cNvSpPr/>
          <p:nvPr/>
        </p:nvSpPr>
        <p:spPr>
          <a:xfrm rot="5400000">
            <a:off x="6778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 name="Rechteck 4">
            <a:extLst>
              <a:ext uri="{FF2B5EF4-FFF2-40B4-BE49-F238E27FC236}">
                <a16:creationId xmlns:a16="http://schemas.microsoft.com/office/drawing/2014/main" id="{DBCA76AD-70CA-40EE-8E7A-5316D0243104}"/>
              </a:ext>
            </a:extLst>
          </p:cNvPr>
          <p:cNvSpPr/>
          <p:nvPr/>
        </p:nvSpPr>
        <p:spPr>
          <a:xfrm>
            <a:off x="10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earch and Identify</a:t>
            </a:r>
            <a:br>
              <a:rPr lang="en-US" sz="800" dirty="0">
                <a:solidFill>
                  <a:schemeClr val="tx1"/>
                </a:solidFill>
              </a:rPr>
            </a:br>
            <a:r>
              <a:rPr lang="en-US" sz="800" dirty="0">
                <a:solidFill>
                  <a:schemeClr val="tx1"/>
                </a:solidFill>
              </a:rPr>
              <a:t>files to impor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wnload contents</a:t>
            </a:r>
            <a:br>
              <a:rPr lang="en-US" sz="800" dirty="0">
                <a:solidFill>
                  <a:schemeClr val="tx1"/>
                </a:solidFill>
              </a:rPr>
            </a:br>
            <a:r>
              <a:rPr lang="en-US" sz="800" dirty="0">
                <a:solidFill>
                  <a:schemeClr val="tx1"/>
                </a:solidFill>
              </a:rPr>
              <a:t>from 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Load data from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p:txBody>
      </p:sp>
      <p:sp>
        <p:nvSpPr>
          <p:cNvPr id="78" name="Rechteck 77">
            <a:extLst>
              <a:ext uri="{FF2B5EF4-FFF2-40B4-BE49-F238E27FC236}">
                <a16:creationId xmlns:a16="http://schemas.microsoft.com/office/drawing/2014/main" id="{06074B2B-89F4-4DAA-A8F9-0AE1ECDBE1B4}"/>
              </a:ext>
            </a:extLst>
          </p:cNvPr>
          <p:cNvSpPr/>
          <p:nvPr/>
        </p:nvSpPr>
        <p:spPr>
          <a:xfrm>
            <a:off x="241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relevant</a:t>
            </a:r>
            <a:br>
              <a:rPr lang="en-US" sz="800" dirty="0">
                <a:solidFill>
                  <a:schemeClr val="tx1"/>
                </a:solidFill>
              </a:rPr>
            </a:br>
            <a:r>
              <a:rPr lang="en-US" sz="800" dirty="0">
                <a:solidFill>
                  <a:schemeClr val="tx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Harmonize</a:t>
            </a:r>
            <a:br>
              <a:rPr lang="en-US" sz="800" dirty="0">
                <a:solidFill>
                  <a:schemeClr val="tx1"/>
                </a:solidFill>
              </a:rPr>
            </a:br>
            <a:r>
              <a:rPr lang="en-US" sz="800" dirty="0">
                <a:solidFill>
                  <a:schemeClr val="tx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solve</a:t>
            </a:r>
            <a:br>
              <a:rPr lang="en-US" sz="800" dirty="0">
                <a:solidFill>
                  <a:schemeClr val="tx1"/>
                </a:solidFill>
              </a:rPr>
            </a:br>
            <a:r>
              <a:rPr lang="en-US" sz="800" dirty="0">
                <a:solidFill>
                  <a:schemeClr val="tx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a:t>
            </a:r>
            <a:br>
              <a:rPr lang="en-US" sz="800" dirty="0">
                <a:solidFill>
                  <a:schemeClr val="tx1"/>
                </a:solidFill>
              </a:rPr>
            </a:br>
            <a:r>
              <a:rPr lang="en-US" sz="800" dirty="0">
                <a:solidFill>
                  <a:schemeClr val="tx1"/>
                </a:solidFill>
              </a:rPr>
              <a:t>duplications</a:t>
            </a:r>
          </a:p>
        </p:txBody>
      </p:sp>
      <p:sp>
        <p:nvSpPr>
          <p:cNvPr id="79" name="Rechteck 78">
            <a:extLst>
              <a:ext uri="{FF2B5EF4-FFF2-40B4-BE49-F238E27FC236}">
                <a16:creationId xmlns:a16="http://schemas.microsoft.com/office/drawing/2014/main" id="{4C0A20BC-BD5B-4160-A549-9EF41C86469D}"/>
              </a:ext>
            </a:extLst>
          </p:cNvPr>
          <p:cNvSpPr/>
          <p:nvPr/>
        </p:nvSpPr>
        <p:spPr>
          <a:xfrm>
            <a:off x="126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heck and </a:t>
            </a:r>
            <a:br>
              <a:rPr lang="en-US" sz="800" dirty="0">
                <a:solidFill>
                  <a:schemeClr val="tx1"/>
                </a:solidFill>
              </a:rPr>
            </a:br>
            <a:r>
              <a:rPr lang="en-US" sz="800" dirty="0">
                <a:solidFill>
                  <a:schemeClr val="tx1"/>
                </a:solidFill>
              </a:rPr>
              <a:t>align headers</a:t>
            </a:r>
            <a:br>
              <a:rPr lang="en-US" sz="800" dirty="0">
                <a:solidFill>
                  <a:schemeClr val="tx1"/>
                </a:solidFill>
              </a:rPr>
            </a:br>
            <a:r>
              <a:rPr lang="en-US" sz="800" dirty="0">
                <a:solidFill>
                  <a:schemeClr val="tx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xplore and </a:t>
            </a:r>
            <a:br>
              <a:rPr lang="en-US" sz="800" dirty="0">
                <a:solidFill>
                  <a:schemeClr val="tx1"/>
                </a:solidFill>
              </a:rPr>
            </a:br>
            <a:r>
              <a:rPr lang="en-US" sz="800" dirty="0">
                <a:solidFill>
                  <a:schemeClr val="tx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ter out data</a:t>
            </a:r>
            <a:br>
              <a:rPr lang="en-US" sz="800" dirty="0">
                <a:solidFill>
                  <a:schemeClr val="tx1"/>
                </a:solidFill>
              </a:rPr>
            </a:br>
            <a:r>
              <a:rPr lang="en-US" sz="800" dirty="0">
                <a:solidFill>
                  <a:schemeClr val="tx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number</a:t>
            </a:r>
            <a:br>
              <a:rPr lang="en-US" sz="800" dirty="0">
                <a:solidFill>
                  <a:schemeClr val="tx1"/>
                </a:solidFill>
              </a:rPr>
            </a:br>
            <a:r>
              <a:rPr lang="en-US" sz="800" dirty="0">
                <a:solidFill>
                  <a:schemeClr val="tx1"/>
                </a:solidFill>
              </a:rPr>
              <a:t>formats</a:t>
            </a:r>
          </a:p>
        </p:txBody>
      </p:sp>
      <p:sp>
        <p:nvSpPr>
          <p:cNvPr id="80" name="Rechteck 79">
            <a:extLst>
              <a:ext uri="{FF2B5EF4-FFF2-40B4-BE49-F238E27FC236}">
                <a16:creationId xmlns:a16="http://schemas.microsoft.com/office/drawing/2014/main" id="{995570BA-35A2-432E-9996-2A3554605267}"/>
              </a:ext>
            </a:extLst>
          </p:cNvPr>
          <p:cNvSpPr/>
          <p:nvPr/>
        </p:nvSpPr>
        <p:spPr>
          <a:xfrm>
            <a:off x="3564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Merge </a:t>
            </a:r>
            <a:br>
              <a:rPr lang="en-US" sz="800" dirty="0">
                <a:solidFill>
                  <a:schemeClr val="tx1"/>
                </a:solidFill>
              </a:rPr>
            </a:br>
            <a:r>
              <a:rPr lang="en-US" sz="800" dirty="0">
                <a:solidFill>
                  <a:schemeClr val="tx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nsolidate</a:t>
            </a:r>
            <a:br>
              <a:rPr lang="en-US" sz="800" dirty="0">
                <a:solidFill>
                  <a:schemeClr val="tx1"/>
                </a:solidFill>
              </a:rPr>
            </a:br>
            <a:r>
              <a:rPr lang="en-US" sz="800" dirty="0">
                <a:solidFill>
                  <a:schemeClr val="tx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commonalities </a:t>
            </a:r>
            <a:br>
              <a:rPr lang="en-US" sz="800" dirty="0">
                <a:solidFill>
                  <a:schemeClr val="tx1"/>
                </a:solidFill>
              </a:rPr>
            </a:br>
            <a:r>
              <a:rPr lang="en-US" sz="800" dirty="0">
                <a:solidFill>
                  <a:schemeClr val="tx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 redundancies</a:t>
            </a:r>
          </a:p>
        </p:txBody>
      </p:sp>
      <p:sp>
        <p:nvSpPr>
          <p:cNvPr id="81" name="Rechteck 80">
            <a:extLst>
              <a:ext uri="{FF2B5EF4-FFF2-40B4-BE49-F238E27FC236}">
                <a16:creationId xmlns:a16="http://schemas.microsoft.com/office/drawing/2014/main" id="{D0FCDBB6-9C96-4B00-BC61-5843BDBD06B3}"/>
              </a:ext>
            </a:extLst>
          </p:cNvPr>
          <p:cNvSpPr/>
          <p:nvPr/>
        </p:nvSpPr>
        <p:spPr>
          <a:xfrm>
            <a:off x="4737634"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trieve data</a:t>
            </a:r>
            <a:br>
              <a:rPr lang="en-US" sz="800" dirty="0">
                <a:solidFill>
                  <a:schemeClr val="tx1"/>
                </a:solidFill>
              </a:rPr>
            </a:br>
            <a:r>
              <a:rPr lang="en-US" sz="800" dirty="0">
                <a:solidFill>
                  <a:schemeClr val="tx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new calculated</a:t>
            </a:r>
            <a:br>
              <a:rPr lang="en-US" sz="800" dirty="0">
                <a:solidFill>
                  <a:schemeClr val="tx1"/>
                </a:solidFill>
              </a:rPr>
            </a:br>
            <a:r>
              <a:rPr lang="en-US" sz="800" dirty="0">
                <a:solidFill>
                  <a:schemeClr val="tx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nrich the</a:t>
            </a:r>
            <a:br>
              <a:rPr lang="en-US" sz="800" dirty="0">
                <a:solidFill>
                  <a:schemeClr val="tx1"/>
                </a:solidFill>
              </a:rPr>
            </a:br>
            <a:r>
              <a:rPr lang="en-US" sz="800" dirty="0">
                <a:solidFill>
                  <a:schemeClr val="tx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tx1"/>
              </a:solidFill>
            </a:endParaRPr>
          </a:p>
        </p:txBody>
      </p:sp>
      <p:sp>
        <p:nvSpPr>
          <p:cNvPr id="87" name="Rechteck 86">
            <a:extLst>
              <a:ext uri="{FF2B5EF4-FFF2-40B4-BE49-F238E27FC236}">
                <a16:creationId xmlns:a16="http://schemas.microsoft.com/office/drawing/2014/main" id="{98D2A44D-3F76-4FCB-8100-D6E3BC3257C7}"/>
              </a:ext>
            </a:extLst>
          </p:cNvPr>
          <p:cNvSpPr/>
          <p:nvPr/>
        </p:nvSpPr>
        <p:spPr>
          <a:xfrm>
            <a:off x="586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evelop time</a:t>
            </a:r>
            <a:br>
              <a:rPr lang="en-US" sz="800" dirty="0">
                <a:solidFill>
                  <a:schemeClr val="tx1"/>
                </a:solidFill>
              </a:rPr>
            </a:br>
            <a:r>
              <a:rPr lang="en-US" sz="800" dirty="0">
                <a:solidFill>
                  <a:schemeClr val="tx1"/>
                </a:solidFill>
              </a:rPr>
              <a:t>schedu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 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results</a:t>
            </a:r>
          </a:p>
        </p:txBody>
      </p:sp>
      <p:sp>
        <p:nvSpPr>
          <p:cNvPr id="89" name="Rechteck 88">
            <a:extLst>
              <a:ext uri="{FF2B5EF4-FFF2-40B4-BE49-F238E27FC236}">
                <a16:creationId xmlns:a16="http://schemas.microsoft.com/office/drawing/2014/main" id="{EF199C2A-5543-45D5-A443-D813479DD658}"/>
              </a:ext>
            </a:extLst>
          </p:cNvPr>
          <p:cNvSpPr/>
          <p:nvPr/>
        </p:nvSpPr>
        <p:spPr>
          <a:xfrm>
            <a:off x="702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and arrange</a:t>
            </a:r>
            <a:br>
              <a:rPr lang="en-US" sz="800" dirty="0">
                <a:solidFill>
                  <a:schemeClr val="tx1"/>
                </a:solidFill>
              </a:rPr>
            </a:br>
            <a:r>
              <a:rPr lang="en-US" sz="800" dirty="0">
                <a:solidFill>
                  <a:schemeClr val="tx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style,</a:t>
            </a:r>
            <a:br>
              <a:rPr lang="en-US" sz="800" dirty="0">
                <a:solidFill>
                  <a:schemeClr val="tx1"/>
                </a:solidFill>
              </a:rPr>
            </a:br>
            <a:r>
              <a:rPr lang="en-US" sz="800" dirty="0">
                <a:solidFill>
                  <a:schemeClr val="tx1"/>
                </a:solidFill>
              </a:rPr>
              <a:t>formats and</a:t>
            </a:r>
            <a:br>
              <a:rPr lang="en-US" sz="800" dirty="0">
                <a:solidFill>
                  <a:schemeClr val="tx1"/>
                </a:solidFill>
              </a:rPr>
            </a:br>
            <a:r>
              <a:rPr lang="en-US" sz="800" dirty="0">
                <a:solidFill>
                  <a:schemeClr val="tx1"/>
                </a:solidFill>
              </a:rPr>
              <a:t>colors</a:t>
            </a:r>
          </a:p>
        </p:txBody>
      </p:sp>
      <p:sp>
        <p:nvSpPr>
          <p:cNvPr id="90" name="Rechteck 89">
            <a:extLst>
              <a:ext uri="{FF2B5EF4-FFF2-40B4-BE49-F238E27FC236}">
                <a16:creationId xmlns:a16="http://schemas.microsoft.com/office/drawing/2014/main" id="{351C833B-3397-43A3-84F1-3571C4FBD7D2}"/>
              </a:ext>
            </a:extLst>
          </p:cNvPr>
          <p:cNvSpPr/>
          <p:nvPr/>
        </p:nvSpPr>
        <p:spPr>
          <a:xfrm>
            <a:off x="817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ave data to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im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Trigger other</a:t>
            </a:r>
            <a:br>
              <a:rPr lang="en-US" sz="800" dirty="0">
                <a:solidFill>
                  <a:schemeClr val="tx1"/>
                </a:solidFill>
              </a:rPr>
            </a:br>
            <a:r>
              <a:rPr lang="en-US" sz="800" dirty="0">
                <a:solidFill>
                  <a:schemeClr val="tx1"/>
                </a:solidFill>
              </a:rPr>
              <a:t>SW that data is</a:t>
            </a:r>
            <a:br>
              <a:rPr lang="en-US" sz="800" dirty="0">
                <a:solidFill>
                  <a:schemeClr val="tx1"/>
                </a:solidFill>
              </a:rPr>
            </a:br>
            <a:r>
              <a:rPr lang="en-US" sz="800" dirty="0">
                <a:solidFill>
                  <a:schemeClr val="tx1"/>
                </a:solidFill>
              </a:rPr>
              <a:t>available</a:t>
            </a:r>
          </a:p>
        </p:txBody>
      </p:sp>
      <p:grpSp>
        <p:nvGrpSpPr>
          <p:cNvPr id="11" name="Gruppieren 10">
            <a:extLst>
              <a:ext uri="{FF2B5EF4-FFF2-40B4-BE49-F238E27FC236}">
                <a16:creationId xmlns:a16="http://schemas.microsoft.com/office/drawing/2014/main" id="{FF9C4564-CDFB-4920-8794-8A0194E904D1}"/>
              </a:ext>
            </a:extLst>
          </p:cNvPr>
          <p:cNvGrpSpPr/>
          <p:nvPr/>
        </p:nvGrpSpPr>
        <p:grpSpPr>
          <a:xfrm>
            <a:off x="7740000" y="1644240"/>
            <a:ext cx="431444" cy="576000"/>
            <a:chOff x="7789696" y="1644240"/>
            <a:chExt cx="431444" cy="576000"/>
          </a:xfrm>
        </p:grpSpPr>
        <p:sp>
          <p:nvSpPr>
            <p:cNvPr id="10" name="Ellipse 9">
              <a:extLst>
                <a:ext uri="{FF2B5EF4-FFF2-40B4-BE49-F238E27FC236}">
                  <a16:creationId xmlns:a16="http://schemas.microsoft.com/office/drawing/2014/main" id="{29DEBF4C-CC28-40BA-A33C-901310A9C95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58" name="Grafik 57">
              <a:extLst>
                <a:ext uri="{FF2B5EF4-FFF2-40B4-BE49-F238E27FC236}">
                  <a16:creationId xmlns:a16="http://schemas.microsoft.com/office/drawing/2014/main" id="{B16338E6-73EE-471D-8497-7214B814044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789696" y="1644240"/>
              <a:ext cx="431444" cy="576000"/>
            </a:xfrm>
            <a:prstGeom prst="rect">
              <a:avLst/>
            </a:prstGeom>
          </p:spPr>
        </p:pic>
      </p:grpSp>
      <p:sp>
        <p:nvSpPr>
          <p:cNvPr id="31" name="Rechteck 30">
            <a:extLst>
              <a:ext uri="{FF2B5EF4-FFF2-40B4-BE49-F238E27FC236}">
                <a16:creationId xmlns:a16="http://schemas.microsoft.com/office/drawing/2014/main" id="{30F74EE0-149B-4BA3-B080-27885A883204}"/>
              </a:ext>
            </a:extLst>
          </p:cNvPr>
          <p:cNvSpPr/>
          <p:nvPr/>
        </p:nvSpPr>
        <p:spPr>
          <a:xfrm>
            <a:off x="10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1</a:t>
            </a:r>
          </a:p>
        </p:txBody>
      </p:sp>
      <p:sp>
        <p:nvSpPr>
          <p:cNvPr id="33" name="Rechteck 32">
            <a:extLst>
              <a:ext uri="{FF2B5EF4-FFF2-40B4-BE49-F238E27FC236}">
                <a16:creationId xmlns:a16="http://schemas.microsoft.com/office/drawing/2014/main" id="{61CDD45E-4FE8-4066-91D0-2C183A905726}"/>
              </a:ext>
            </a:extLst>
          </p:cNvPr>
          <p:cNvSpPr/>
          <p:nvPr/>
        </p:nvSpPr>
        <p:spPr>
          <a:xfrm>
            <a:off x="126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2</a:t>
            </a:r>
          </a:p>
        </p:txBody>
      </p:sp>
      <p:sp>
        <p:nvSpPr>
          <p:cNvPr id="34" name="Rechteck 33">
            <a:extLst>
              <a:ext uri="{FF2B5EF4-FFF2-40B4-BE49-F238E27FC236}">
                <a16:creationId xmlns:a16="http://schemas.microsoft.com/office/drawing/2014/main" id="{681EA0B9-CEB8-4F07-9B28-2252FE4DBAE2}"/>
              </a:ext>
            </a:extLst>
          </p:cNvPr>
          <p:cNvSpPr/>
          <p:nvPr/>
        </p:nvSpPr>
        <p:spPr>
          <a:xfrm>
            <a:off x="241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3</a:t>
            </a:r>
          </a:p>
        </p:txBody>
      </p:sp>
      <p:sp>
        <p:nvSpPr>
          <p:cNvPr id="35" name="Rechteck 34">
            <a:extLst>
              <a:ext uri="{FF2B5EF4-FFF2-40B4-BE49-F238E27FC236}">
                <a16:creationId xmlns:a16="http://schemas.microsoft.com/office/drawing/2014/main" id="{5D0B4DBB-7692-4801-9109-B66F435C0896}"/>
              </a:ext>
            </a:extLst>
          </p:cNvPr>
          <p:cNvSpPr/>
          <p:nvPr/>
        </p:nvSpPr>
        <p:spPr>
          <a:xfrm>
            <a:off x="3564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4</a:t>
            </a:r>
          </a:p>
        </p:txBody>
      </p:sp>
      <p:sp>
        <p:nvSpPr>
          <p:cNvPr id="36" name="Rechteck 35">
            <a:extLst>
              <a:ext uri="{FF2B5EF4-FFF2-40B4-BE49-F238E27FC236}">
                <a16:creationId xmlns:a16="http://schemas.microsoft.com/office/drawing/2014/main" id="{F9DF5D53-B42B-4F76-8FB9-BC99DB111291}"/>
              </a:ext>
            </a:extLst>
          </p:cNvPr>
          <p:cNvSpPr/>
          <p:nvPr/>
        </p:nvSpPr>
        <p:spPr>
          <a:xfrm>
            <a:off x="4716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5</a:t>
            </a:r>
          </a:p>
        </p:txBody>
      </p:sp>
      <p:sp>
        <p:nvSpPr>
          <p:cNvPr id="37" name="Rechteck 36">
            <a:extLst>
              <a:ext uri="{FF2B5EF4-FFF2-40B4-BE49-F238E27FC236}">
                <a16:creationId xmlns:a16="http://schemas.microsoft.com/office/drawing/2014/main" id="{64B18FC4-0886-4DC5-844F-F1263FF7FCED}"/>
              </a:ext>
            </a:extLst>
          </p:cNvPr>
          <p:cNvSpPr/>
          <p:nvPr/>
        </p:nvSpPr>
        <p:spPr>
          <a:xfrm>
            <a:off x="586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6</a:t>
            </a:r>
          </a:p>
        </p:txBody>
      </p:sp>
      <p:sp>
        <p:nvSpPr>
          <p:cNvPr id="38" name="Rechteck 37">
            <a:extLst>
              <a:ext uri="{FF2B5EF4-FFF2-40B4-BE49-F238E27FC236}">
                <a16:creationId xmlns:a16="http://schemas.microsoft.com/office/drawing/2014/main" id="{2BFD6B6D-B577-4D1B-9021-B5FE5143B9EB}"/>
              </a:ext>
            </a:extLst>
          </p:cNvPr>
          <p:cNvSpPr/>
          <p:nvPr/>
        </p:nvSpPr>
        <p:spPr>
          <a:xfrm>
            <a:off x="702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7</a:t>
            </a:r>
          </a:p>
        </p:txBody>
      </p:sp>
      <p:sp>
        <p:nvSpPr>
          <p:cNvPr id="39" name="Rechteck 38">
            <a:extLst>
              <a:ext uri="{FF2B5EF4-FFF2-40B4-BE49-F238E27FC236}">
                <a16:creationId xmlns:a16="http://schemas.microsoft.com/office/drawing/2014/main" id="{20ACDF6D-68F2-4BFB-8896-C0E5E12ED295}"/>
              </a:ext>
            </a:extLst>
          </p:cNvPr>
          <p:cNvSpPr/>
          <p:nvPr/>
        </p:nvSpPr>
        <p:spPr>
          <a:xfrm>
            <a:off x="817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8</a:t>
            </a:r>
          </a:p>
        </p:txBody>
      </p:sp>
    </p:spTree>
    <p:extLst>
      <p:ext uri="{BB962C8B-B14F-4D97-AF65-F5344CB8AC3E}">
        <p14:creationId xmlns:p14="http://schemas.microsoft.com/office/powerpoint/2010/main" val="30738012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 Fa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fast, table expand fast ignore case:</a:t>
            </a: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00" y="292494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797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199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3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30" y="292494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3934" y="299695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0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2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06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499964" y="299695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3968" y="30689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03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05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09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499998" y="30689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00" y="270892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797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199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3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30" y="27089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3934" y="278092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0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2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06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499964" y="278092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3968" y="285293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03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05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09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499998" y="285293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36" name="Rechteck 135">
            <a:extLst>
              <a:ext uri="{FF2B5EF4-FFF2-40B4-BE49-F238E27FC236}">
                <a16:creationId xmlns:a16="http://schemas.microsoft.com/office/drawing/2014/main" id="{6712F909-D4FC-4081-B810-F28A85A75A81}"/>
              </a:ext>
            </a:extLst>
          </p:cNvPr>
          <p:cNvSpPr/>
          <p:nvPr/>
        </p:nvSpPr>
        <p:spPr>
          <a:xfrm>
            <a:off x="5544108" y="2708920"/>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appended at the end of</a:t>
            </a:r>
          </a:p>
          <a:p>
            <a:r>
              <a:rPr lang="en-US" sz="800" dirty="0">
                <a:solidFill>
                  <a:schemeClr val="tx1"/>
                </a:solidFill>
              </a:rPr>
              <a:t>the table</a:t>
            </a:r>
          </a:p>
        </p:txBody>
      </p:sp>
      <p:sp>
        <p:nvSpPr>
          <p:cNvPr id="139" name="Rechteck 138">
            <a:extLst>
              <a:ext uri="{FF2B5EF4-FFF2-40B4-BE49-F238E27FC236}">
                <a16:creationId xmlns:a16="http://schemas.microsoft.com/office/drawing/2014/main" id="{0730C0E3-FD14-4DDC-910D-1DAAFA39733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8CE05DD-AD38-4869-9BB0-0F9B3887B750}"/>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05FF52EE-D68C-4CF6-95E5-320BB75CDB0A}"/>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3" name="Rechteck 142">
            <a:extLst>
              <a:ext uri="{FF2B5EF4-FFF2-40B4-BE49-F238E27FC236}">
                <a16:creationId xmlns:a16="http://schemas.microsoft.com/office/drawing/2014/main" id="{2D5CBF3C-9D38-497C-9A2C-3660A6F16D4D}"/>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24D60EF1-1E32-43CE-A2D1-18C493F916C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5" name="Gerade Verbindung 374">
            <a:extLst>
              <a:ext uri="{FF2B5EF4-FFF2-40B4-BE49-F238E27FC236}">
                <a16:creationId xmlns:a16="http://schemas.microsoft.com/office/drawing/2014/main" id="{DC9893E5-E8D9-4885-B15C-C0CAE9501131}"/>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a:extLst>
              <a:ext uri="{FF2B5EF4-FFF2-40B4-BE49-F238E27FC236}">
                <a16:creationId xmlns:a16="http://schemas.microsoft.com/office/drawing/2014/main" id="{9F4681F5-0573-41A3-9E7A-942F5336D8B4}"/>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C3EB40E9-5287-492C-9CB6-95AF9F6A1031}"/>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09B7A387-BA5A-427A-A724-E354DBAB346B}"/>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58D12133-A163-4953-9F6A-BA37647D5768}"/>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25DE6F7-F2DC-40DC-84AA-9104FF08542D}"/>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3B94FCBF-FADB-4501-AAED-7F5CA7607B5A}"/>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2423DF77-3399-4462-AECC-54F1AAFE44E3}"/>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a:extLst>
              <a:ext uri="{FF2B5EF4-FFF2-40B4-BE49-F238E27FC236}">
                <a16:creationId xmlns:a16="http://schemas.microsoft.com/office/drawing/2014/main" id="{7994C769-0031-413E-BA89-00898A4F3BA2}"/>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a:extLst>
              <a:ext uri="{FF2B5EF4-FFF2-40B4-BE49-F238E27FC236}">
                <a16:creationId xmlns:a16="http://schemas.microsoft.com/office/drawing/2014/main" id="{27B9E5E9-1D5E-4686-9758-F1E6E02A2D65}"/>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0D11A916-568B-46BD-907F-17528E4D631B}"/>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nvGrpSpPr>
          <p:cNvPr id="160" name="Gruppieren 159">
            <a:extLst>
              <a:ext uri="{FF2B5EF4-FFF2-40B4-BE49-F238E27FC236}">
                <a16:creationId xmlns:a16="http://schemas.microsoft.com/office/drawing/2014/main" id="{ADC8060F-F4EA-4D8A-8E0D-F15B3805F2D4}"/>
              </a:ext>
            </a:extLst>
          </p:cNvPr>
          <p:cNvGrpSpPr/>
          <p:nvPr/>
        </p:nvGrpSpPr>
        <p:grpSpPr>
          <a:xfrm>
            <a:off x="2051720" y="1556792"/>
            <a:ext cx="1404156" cy="1584176"/>
            <a:chOff x="539552" y="3068960"/>
            <a:chExt cx="1404156" cy="1584176"/>
          </a:xfrm>
        </p:grpSpPr>
        <p:sp>
          <p:nvSpPr>
            <p:cNvPr id="190" name="Rechteck: abgerundete Ecken 189">
              <a:extLst>
                <a:ext uri="{FF2B5EF4-FFF2-40B4-BE49-F238E27FC236}">
                  <a16:creationId xmlns:a16="http://schemas.microsoft.com/office/drawing/2014/main" id="{848106E3-A735-4305-B270-2DBB451F664B}"/>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1" name="Rechteck 190">
              <a:extLst>
                <a:ext uri="{FF2B5EF4-FFF2-40B4-BE49-F238E27FC236}">
                  <a16:creationId xmlns:a16="http://schemas.microsoft.com/office/drawing/2014/main" id="{F7210F70-550B-4505-B804-992129800B48}"/>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1AF14084-BAE4-4ED3-8755-A92C57C52DD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B7C9708C-F466-4B92-83B5-57DC7FB56F1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96A45CF6-AB6D-4D6C-ADB2-B3AC969ED4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a:extLst>
                <a:ext uri="{FF2B5EF4-FFF2-40B4-BE49-F238E27FC236}">
                  <a16:creationId xmlns:a16="http://schemas.microsoft.com/office/drawing/2014/main" id="{E1D7DB84-884D-4D17-BB58-078EC47F0F60}"/>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Flussdiagramm: Zusammenführung 226">
              <a:extLst>
                <a:ext uri="{FF2B5EF4-FFF2-40B4-BE49-F238E27FC236}">
                  <a16:creationId xmlns:a16="http://schemas.microsoft.com/office/drawing/2014/main" id="{D4DF8F0D-DBFD-4F28-842B-54CC7FA8575F}"/>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a:extLst>
                <a:ext uri="{FF2B5EF4-FFF2-40B4-BE49-F238E27FC236}">
                  <a16:creationId xmlns:a16="http://schemas.microsoft.com/office/drawing/2014/main" id="{55A70DB9-F17F-473B-AC6E-3D80A4FCA61B}"/>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29" name="Gerade Verbindung mit Pfeil 228">
              <a:extLst>
                <a:ext uri="{FF2B5EF4-FFF2-40B4-BE49-F238E27FC236}">
                  <a16:creationId xmlns:a16="http://schemas.microsoft.com/office/drawing/2014/main" id="{ED919139-4F1E-4970-B397-11FBC3A4C38C}"/>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0" name="Gerade Verbindung mit Pfeil 229">
              <a:extLst>
                <a:ext uri="{FF2B5EF4-FFF2-40B4-BE49-F238E27FC236}">
                  <a16:creationId xmlns:a16="http://schemas.microsoft.com/office/drawing/2014/main" id="{7D1C54CF-A780-4332-A9AE-230058A6DD68}"/>
                </a:ext>
              </a:extLst>
            </p:cNvPr>
            <p:cNvCxnSpPr>
              <a:cxnSpLocks/>
              <a:stCxn id="227"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Gerade Verbindung mit Pfeil 259">
              <a:extLst>
                <a:ext uri="{FF2B5EF4-FFF2-40B4-BE49-F238E27FC236}">
                  <a16:creationId xmlns:a16="http://schemas.microsoft.com/office/drawing/2014/main" id="{7C8A135C-CEA8-4ACE-842B-161C73422536}"/>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Gerade Verbindung mit Pfeil 260">
              <a:extLst>
                <a:ext uri="{FF2B5EF4-FFF2-40B4-BE49-F238E27FC236}">
                  <a16:creationId xmlns:a16="http://schemas.microsoft.com/office/drawing/2014/main" id="{E7E7259B-3894-4C59-9234-E0174662CFA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2" name="Rechteck 261">
              <a:extLst>
                <a:ext uri="{FF2B5EF4-FFF2-40B4-BE49-F238E27FC236}">
                  <a16:creationId xmlns:a16="http://schemas.microsoft.com/office/drawing/2014/main" id="{D110A731-FC01-4A0B-9A47-7EB4142891DF}"/>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Tree>
    <p:extLst>
      <p:ext uri="{BB962C8B-B14F-4D97-AF65-F5344CB8AC3E}">
        <p14:creationId xmlns:p14="http://schemas.microsoft.com/office/powerpoint/2010/main" val="59890147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 name="Rechteck 429"/>
          <p:cNvSpPr/>
          <p:nvPr/>
        </p:nvSpPr>
        <p:spPr>
          <a:xfrm>
            <a:off x="133155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6" name="Rechteck 485"/>
          <p:cNvSpPr/>
          <p:nvPr/>
        </p:nvSpPr>
        <p:spPr>
          <a:xfrm>
            <a:off x="176361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219567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erialize</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ample: 3 categories over time sequence</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390" name="Rechteck 389"/>
          <p:cNvSpPr/>
          <p:nvPr/>
        </p:nvSpPr>
        <p:spPr>
          <a:xfrm>
            <a:off x="33479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erialized Table</a:t>
            </a:r>
          </a:p>
        </p:txBody>
      </p:sp>
      <p:sp>
        <p:nvSpPr>
          <p:cNvPr id="256" name="Rechteck 255"/>
          <p:cNvSpPr/>
          <p:nvPr/>
        </p:nvSpPr>
        <p:spPr>
          <a:xfrm>
            <a:off x="179390" y="1484730"/>
            <a:ext cx="244834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179390" y="1556740"/>
            <a:ext cx="24483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179390" y="1556740"/>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1331550" y="1556740"/>
            <a:ext cx="432060" cy="36005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1763610" y="1556740"/>
            <a:ext cx="432060" cy="360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2195670" y="1556740"/>
            <a:ext cx="432060" cy="3600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347810" y="1484730"/>
            <a:ext cx="1728240" cy="1008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50" y="15567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10" y="1556740"/>
            <a:ext cx="288040" cy="93613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1" name="Rechteck 370"/>
          <p:cNvSpPr/>
          <p:nvPr/>
        </p:nvSpPr>
        <p:spPr>
          <a:xfrm>
            <a:off x="4499970" y="1556740"/>
            <a:ext cx="144020" cy="93613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p:cNvSpPr/>
          <p:nvPr/>
        </p:nvSpPr>
        <p:spPr>
          <a:xfrm>
            <a:off x="4643990" y="1556740"/>
            <a:ext cx="144020" cy="93613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4788010" y="1556740"/>
            <a:ext cx="144020" cy="9361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4932030" y="1556740"/>
            <a:ext cx="144020" cy="936130"/>
          </a:xfrm>
          <a:prstGeom prst="rect">
            <a:avLst/>
          </a:prstGeom>
          <a:solidFill>
            <a:schemeClr val="tx2">
              <a:lumMod val="25000"/>
              <a:lumOff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4" name="Rechteck 423"/>
          <p:cNvSpPr/>
          <p:nvPr/>
        </p:nvSpPr>
        <p:spPr>
          <a:xfrm>
            <a:off x="3635850" y="177277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3635850" y="184478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6" name="Rechteck 425"/>
          <p:cNvSpPr/>
          <p:nvPr/>
        </p:nvSpPr>
        <p:spPr>
          <a:xfrm>
            <a:off x="3635850" y="206081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8" name="Rechteck 427"/>
          <p:cNvSpPr/>
          <p:nvPr/>
        </p:nvSpPr>
        <p:spPr>
          <a:xfrm>
            <a:off x="3635850" y="22768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76361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219567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3" name="Rechteck 432"/>
          <p:cNvSpPr/>
          <p:nvPr/>
        </p:nvSpPr>
        <p:spPr>
          <a:xfrm>
            <a:off x="133155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19076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233969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147557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248371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16195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19076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233969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147557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46439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3" name="Rechteck 452"/>
          <p:cNvSpPr/>
          <p:nvPr/>
        </p:nvSpPr>
        <p:spPr>
          <a:xfrm>
            <a:off x="464399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46439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5" name="Rechteck 454"/>
          <p:cNvSpPr/>
          <p:nvPr/>
        </p:nvSpPr>
        <p:spPr>
          <a:xfrm>
            <a:off x="47880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47880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47880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8" name="Rechteck 457"/>
          <p:cNvSpPr/>
          <p:nvPr/>
        </p:nvSpPr>
        <p:spPr>
          <a:xfrm>
            <a:off x="493203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493203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0" name="Rechteck 459"/>
          <p:cNvSpPr/>
          <p:nvPr/>
        </p:nvSpPr>
        <p:spPr>
          <a:xfrm>
            <a:off x="4932030" y="17007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4643990" y="17727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2" name="Rechteck 461"/>
          <p:cNvSpPr/>
          <p:nvPr/>
        </p:nvSpPr>
        <p:spPr>
          <a:xfrm>
            <a:off x="47880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3" name="Rechteck 462"/>
          <p:cNvSpPr/>
          <p:nvPr/>
        </p:nvSpPr>
        <p:spPr>
          <a:xfrm>
            <a:off x="4932030" y="17727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493203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4932050" y="19167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4932070" y="19888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9076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147557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16195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3" name="Rechteck 472"/>
          <p:cNvSpPr/>
          <p:nvPr/>
        </p:nvSpPr>
        <p:spPr>
          <a:xfrm>
            <a:off x="4643990" y="20608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4" name="Rechteck 473"/>
          <p:cNvSpPr/>
          <p:nvPr/>
        </p:nvSpPr>
        <p:spPr>
          <a:xfrm>
            <a:off x="47880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5" name="Rechteck 474"/>
          <p:cNvSpPr/>
          <p:nvPr/>
        </p:nvSpPr>
        <p:spPr>
          <a:xfrm>
            <a:off x="4643990" y="21328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6" name="Rechteck 475"/>
          <p:cNvSpPr/>
          <p:nvPr/>
        </p:nvSpPr>
        <p:spPr>
          <a:xfrm>
            <a:off x="47880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7" name="Rechteck 476"/>
          <p:cNvSpPr/>
          <p:nvPr/>
        </p:nvSpPr>
        <p:spPr>
          <a:xfrm>
            <a:off x="133155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8" name="Rechteck 477"/>
          <p:cNvSpPr/>
          <p:nvPr/>
        </p:nvSpPr>
        <p:spPr>
          <a:xfrm>
            <a:off x="147557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9" name="Rechteck 478"/>
          <p:cNvSpPr/>
          <p:nvPr/>
        </p:nvSpPr>
        <p:spPr>
          <a:xfrm>
            <a:off x="161959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0" name="Rechteck 479"/>
          <p:cNvSpPr/>
          <p:nvPr/>
        </p:nvSpPr>
        <p:spPr>
          <a:xfrm>
            <a:off x="4643990" y="22768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1" name="Rechteck 480"/>
          <p:cNvSpPr/>
          <p:nvPr/>
        </p:nvSpPr>
        <p:spPr>
          <a:xfrm>
            <a:off x="4644010" y="23488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4644030" y="24208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248371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4932030" y="24208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3635850" y="220483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5" name="Gerade Verbindung 264"/>
          <p:cNvCxnSpPr/>
          <p:nvPr/>
        </p:nvCxnSpPr>
        <p:spPr>
          <a:xfrm>
            <a:off x="179390" y="1556740"/>
            <a:ext cx="2448340" cy="0"/>
          </a:xfrm>
          <a:prstGeom prst="line">
            <a:avLst/>
          </a:prstGeom>
        </p:spPr>
        <p:style>
          <a:lnRef idx="1">
            <a:schemeClr val="accent1"/>
          </a:lnRef>
          <a:fillRef idx="0">
            <a:schemeClr val="accent1"/>
          </a:fillRef>
          <a:effectRef idx="0">
            <a:schemeClr val="accent1"/>
          </a:effectRef>
          <a:fontRef idx="minor">
            <a:schemeClr val="tx1"/>
          </a:fontRef>
        </p:style>
      </p:cxnSp>
      <p:sp>
        <p:nvSpPr>
          <p:cNvPr id="488" name="Rechteck 487"/>
          <p:cNvSpPr/>
          <p:nvPr/>
        </p:nvSpPr>
        <p:spPr>
          <a:xfrm>
            <a:off x="179390" y="2708902"/>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9" name="Rechteck 488"/>
          <p:cNvSpPr/>
          <p:nvPr/>
        </p:nvSpPr>
        <p:spPr>
          <a:xfrm>
            <a:off x="467430" y="2672924"/>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dentifier columns (will be repeated</a:t>
            </a:r>
            <a:br>
              <a:rPr lang="en-US" sz="1000" dirty="0">
                <a:solidFill>
                  <a:schemeClr val="tx1"/>
                </a:solidFill>
              </a:rPr>
            </a:br>
            <a:r>
              <a:rPr lang="en-US" sz="1000" dirty="0">
                <a:solidFill>
                  <a:schemeClr val="tx1"/>
                </a:solidFill>
              </a:rPr>
              <a:t>downward)</a:t>
            </a:r>
          </a:p>
          <a:p>
            <a:r>
              <a:rPr lang="en-US" sz="1000" dirty="0">
                <a:solidFill>
                  <a:schemeClr val="tx1"/>
                </a:solidFill>
              </a:rPr>
              <a:t>(Parameter 2)</a:t>
            </a:r>
          </a:p>
        </p:txBody>
      </p:sp>
      <p:sp>
        <p:nvSpPr>
          <p:cNvPr id="490" name="Rechteck 489"/>
          <p:cNvSpPr/>
          <p:nvPr/>
        </p:nvSpPr>
        <p:spPr>
          <a:xfrm>
            <a:off x="179390" y="3284980"/>
            <a:ext cx="2880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1" name="Rechteck 490"/>
          <p:cNvSpPr/>
          <p:nvPr/>
        </p:nvSpPr>
        <p:spPr>
          <a:xfrm>
            <a:off x="46743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ining table columns:</a:t>
            </a:r>
            <a:br>
              <a:rPr lang="en-US" sz="1000" dirty="0">
                <a:solidFill>
                  <a:schemeClr val="tx1"/>
                </a:solidFill>
              </a:rPr>
            </a:br>
            <a:r>
              <a:rPr lang="en-US" sz="1000" dirty="0">
                <a:solidFill>
                  <a:schemeClr val="tx1"/>
                </a:solidFill>
              </a:rPr>
              <a:t>Contents will not be repeated</a:t>
            </a:r>
          </a:p>
          <a:p>
            <a:r>
              <a:rPr lang="en-US" sz="1000" dirty="0">
                <a:solidFill>
                  <a:schemeClr val="tx1"/>
                </a:solidFill>
              </a:rPr>
              <a:t>downward if rows are added.</a:t>
            </a:r>
          </a:p>
        </p:txBody>
      </p:sp>
      <p:sp>
        <p:nvSpPr>
          <p:cNvPr id="493" name="Rechteck 492"/>
          <p:cNvSpPr/>
          <p:nvPr/>
        </p:nvSpPr>
        <p:spPr>
          <a:xfrm>
            <a:off x="2699740" y="2708902"/>
            <a:ext cx="288040" cy="3600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4" name="Rechteck 493"/>
          <p:cNvSpPr/>
          <p:nvPr/>
        </p:nvSpPr>
        <p:spPr>
          <a:xfrm>
            <a:off x="2987780" y="2672916"/>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quence name, specified in Parameter 3,</a:t>
            </a:r>
          </a:p>
          <a:p>
            <a:r>
              <a:rPr lang="en-US" sz="1000" dirty="0">
                <a:solidFill>
                  <a:schemeClr val="tx1"/>
                </a:solidFill>
              </a:rPr>
              <a:t>containing values defined in Parameter 4</a:t>
            </a:r>
          </a:p>
        </p:txBody>
      </p:sp>
      <p:sp>
        <p:nvSpPr>
          <p:cNvPr id="495" name="Rechteck 494"/>
          <p:cNvSpPr/>
          <p:nvPr/>
        </p:nvSpPr>
        <p:spPr>
          <a:xfrm>
            <a:off x="298778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being serialized.  Different colors</a:t>
            </a:r>
            <a:br>
              <a:rPr lang="en-US" sz="1000" dirty="0">
                <a:solidFill>
                  <a:schemeClr val="tx1"/>
                </a:solidFill>
              </a:rPr>
            </a:br>
            <a:r>
              <a:rPr lang="en-US" sz="1000" dirty="0">
                <a:solidFill>
                  <a:schemeClr val="tx1"/>
                </a:solidFill>
              </a:rPr>
              <a:t>refer to different categories, dark field</a:t>
            </a:r>
            <a:br>
              <a:rPr lang="en-US" sz="1000" dirty="0">
                <a:solidFill>
                  <a:schemeClr val="tx1"/>
                </a:solidFill>
              </a:rPr>
            </a:br>
            <a:r>
              <a:rPr lang="en-US" sz="1000" dirty="0">
                <a:solidFill>
                  <a:schemeClr val="tx1"/>
                </a:solidFill>
              </a:rPr>
              <a:t>show containing value as example)</a:t>
            </a:r>
          </a:p>
          <a:p>
            <a:r>
              <a:rPr lang="en-US" sz="1000" dirty="0">
                <a:solidFill>
                  <a:schemeClr val="tx1"/>
                </a:solidFill>
              </a:rPr>
              <a:t>The category headers are defined in Parameter 5.</a:t>
            </a:r>
          </a:p>
        </p:txBody>
      </p:sp>
      <p:sp>
        <p:nvSpPr>
          <p:cNvPr id="496" name="Rechteck 495"/>
          <p:cNvSpPr/>
          <p:nvPr/>
        </p:nvSpPr>
        <p:spPr>
          <a:xfrm>
            <a:off x="2699740" y="3284980"/>
            <a:ext cx="288040" cy="14402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2699740" y="3429000"/>
            <a:ext cx="288040" cy="14402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2699740" y="3573020"/>
            <a:ext cx="28804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2843760" y="3284980"/>
            <a:ext cx="144020" cy="14402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2843760" y="3429000"/>
            <a:ext cx="144020" cy="14402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2843760" y="3573020"/>
            <a:ext cx="14402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2" name="Rechteck 501"/>
          <p:cNvSpPr/>
          <p:nvPr/>
        </p:nvSpPr>
        <p:spPr>
          <a:xfrm>
            <a:off x="2843760" y="2708902"/>
            <a:ext cx="144020" cy="36005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4499970" y="2276840"/>
            <a:ext cx="144020" cy="21603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4" name="Rechteck 503"/>
          <p:cNvSpPr/>
          <p:nvPr/>
        </p:nvSpPr>
        <p:spPr>
          <a:xfrm>
            <a:off x="4499970" y="1556740"/>
            <a:ext cx="144020" cy="64809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67" name="Gerade Verbindung 366"/>
          <p:cNvCxnSpPr/>
          <p:nvPr/>
        </p:nvCxnSpPr>
        <p:spPr>
          <a:xfrm>
            <a:off x="3347810" y="1556740"/>
            <a:ext cx="1728240" cy="0"/>
          </a:xfrm>
          <a:prstGeom prst="line">
            <a:avLst/>
          </a:prstGeom>
        </p:spPr>
        <p:style>
          <a:lnRef idx="1">
            <a:schemeClr val="accent1"/>
          </a:lnRef>
          <a:fillRef idx="0">
            <a:schemeClr val="accent1"/>
          </a:fillRef>
          <a:effectRef idx="0">
            <a:schemeClr val="accent1"/>
          </a:effectRef>
          <a:fontRef idx="minor">
            <a:schemeClr val="tx1"/>
          </a:fontRef>
        </p:style>
      </p:cxnSp>
      <p:sp>
        <p:nvSpPr>
          <p:cNvPr id="506" name="Gleichschenkliges Dreieck 505"/>
          <p:cNvSpPr/>
          <p:nvPr/>
        </p:nvSpPr>
        <p:spPr>
          <a:xfrm rot="5400000">
            <a:off x="2519715" y="166475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93228665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hteck 78"/>
          <p:cNvSpPr/>
          <p:nvPr/>
        </p:nvSpPr>
        <p:spPr>
          <a:xfrm>
            <a:off x="3491872" y="3429560"/>
            <a:ext cx="1224000" cy="144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1907704"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540000" y="1485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6" name="Rechteck 295"/>
          <p:cNvSpPr/>
          <p:nvPr/>
        </p:nvSpPr>
        <p:spPr>
          <a:xfrm>
            <a:off x="540610" y="1485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Fi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540000" y="1341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riginal Table</a:t>
            </a:r>
          </a:p>
        </p:txBody>
      </p:sp>
      <p:sp>
        <p:nvSpPr>
          <p:cNvPr id="373" name="Rechteck 372"/>
          <p:cNvSpPr/>
          <p:nvPr/>
        </p:nvSpPr>
        <p:spPr>
          <a:xfrm>
            <a:off x="540610" y="177329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2" name="Rechteck 391"/>
          <p:cNvSpPr/>
          <p:nvPr/>
        </p:nvSpPr>
        <p:spPr>
          <a:xfrm>
            <a:off x="5725268" y="1485830"/>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2484314" y="2277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Fewer columns</a:t>
            </a:r>
          </a:p>
          <a:p>
            <a:r>
              <a:rPr lang="en-US" sz="1000" dirty="0">
                <a:solidFill>
                  <a:schemeClr val="tx1"/>
                </a:solidFill>
              </a:rPr>
              <a:t>than number of headers</a:t>
            </a:r>
          </a:p>
        </p:txBody>
      </p:sp>
      <p:cxnSp>
        <p:nvCxnSpPr>
          <p:cNvPr id="375" name="Gerade Verbindung 374"/>
          <p:cNvCxnSpPr/>
          <p:nvPr/>
        </p:nvCxnSpPr>
        <p:spPr>
          <a:xfrm>
            <a:off x="540000" y="155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5869288" y="148583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ntents</a:t>
            </a:r>
          </a:p>
        </p:txBody>
      </p:sp>
      <p:sp>
        <p:nvSpPr>
          <p:cNvPr id="108" name="Rechteck 107"/>
          <p:cNvSpPr/>
          <p:nvPr/>
        </p:nvSpPr>
        <p:spPr>
          <a:xfrm>
            <a:off x="3997092" y="1485560"/>
            <a:ext cx="144020" cy="5040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4141112" y="1485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s</a:t>
            </a:r>
          </a:p>
        </p:txBody>
      </p:sp>
      <p:sp>
        <p:nvSpPr>
          <p:cNvPr id="17" name="Pfeil nach rechts 16"/>
          <p:cNvSpPr/>
          <p:nvPr/>
        </p:nvSpPr>
        <p:spPr>
          <a:xfrm flipH="1">
            <a:off x="2052314" y="2349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997092" y="227756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4141112"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Blank contents</a:t>
            </a:r>
          </a:p>
        </p:txBody>
      </p:sp>
      <p:sp>
        <p:nvSpPr>
          <p:cNvPr id="45" name="Rechteck 44"/>
          <p:cNvSpPr/>
          <p:nvPr/>
        </p:nvSpPr>
        <p:spPr>
          <a:xfrm>
            <a:off x="540610" y="227729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 name="Rechteck 45"/>
          <p:cNvSpPr/>
          <p:nvPr/>
        </p:nvSpPr>
        <p:spPr>
          <a:xfrm>
            <a:off x="540610" y="2637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2484314" y="1845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More columns</a:t>
            </a:r>
          </a:p>
          <a:p>
            <a:r>
              <a:rPr lang="en-US" sz="1000" dirty="0">
                <a:solidFill>
                  <a:schemeClr val="tx1"/>
                </a:solidFill>
              </a:rPr>
              <a:t>than number of headers</a:t>
            </a:r>
          </a:p>
        </p:txBody>
      </p:sp>
      <p:sp>
        <p:nvSpPr>
          <p:cNvPr id="48" name="Pfeil nach rechts 47"/>
          <p:cNvSpPr/>
          <p:nvPr/>
        </p:nvSpPr>
        <p:spPr>
          <a:xfrm flipH="1">
            <a:off x="2052314" y="1917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 name="Rechteck 48"/>
          <p:cNvSpPr/>
          <p:nvPr/>
        </p:nvSpPr>
        <p:spPr>
          <a:xfrm>
            <a:off x="1907704" y="306956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header width)</a:t>
            </a:r>
          </a:p>
        </p:txBody>
      </p:sp>
      <p:sp>
        <p:nvSpPr>
          <p:cNvPr id="50" name="Rechteck 49"/>
          <p:cNvSpPr/>
          <p:nvPr/>
        </p:nvSpPr>
        <p:spPr>
          <a:xfrm>
            <a:off x="1908314"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1908314" y="371756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 name="Gerade Verbindung 374"/>
          <p:cNvCxnSpPr/>
          <p:nvPr/>
        </p:nvCxnSpPr>
        <p:spPr>
          <a:xfrm>
            <a:off x="1907704"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54" name="Rechteck 53"/>
          <p:cNvSpPr/>
          <p:nvPr/>
        </p:nvSpPr>
        <p:spPr>
          <a:xfrm>
            <a:off x="1908314"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1907704"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p:cNvSpPr/>
          <p:nvPr/>
        </p:nvSpPr>
        <p:spPr>
          <a:xfrm>
            <a:off x="1044610" y="2637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332610" y="2133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2411704"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2699704" y="4077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2555704"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491262" y="342956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491872" y="342983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3491872" y="371810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1" name="Gerade Verbindung 374"/>
          <p:cNvCxnSpPr/>
          <p:nvPr/>
        </p:nvCxnSpPr>
        <p:spPr>
          <a:xfrm>
            <a:off x="3491262" y="350157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hteck 71"/>
          <p:cNvSpPr/>
          <p:nvPr/>
        </p:nvSpPr>
        <p:spPr>
          <a:xfrm>
            <a:off x="3491872" y="422183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491262" y="458183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95262" y="4582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4283262" y="4078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5076048"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5076658"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076658" y="3717560"/>
            <a:ext cx="93539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3" name="Gerade Verbindung 374"/>
          <p:cNvCxnSpPr/>
          <p:nvPr/>
        </p:nvCxnSpPr>
        <p:spPr>
          <a:xfrm>
            <a:off x="5076048"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5076658"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p:cNvSpPr/>
          <p:nvPr/>
        </p:nvSpPr>
        <p:spPr>
          <a:xfrm>
            <a:off x="5076048"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p:cNvSpPr/>
          <p:nvPr/>
        </p:nvSpPr>
        <p:spPr>
          <a:xfrm>
            <a:off x="5580048"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5868048" y="407756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8" name="Rechteck 87"/>
          <p:cNvSpPr/>
          <p:nvPr/>
        </p:nvSpPr>
        <p:spPr>
          <a:xfrm>
            <a:off x="5724048"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341987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 </a:t>
            </a:r>
          </a:p>
          <a:p>
            <a:pPr>
              <a:lnSpc>
                <a:spcPct val="90000"/>
              </a:lnSpc>
            </a:pPr>
            <a:r>
              <a:rPr lang="en-US" sz="1050" b="1" dirty="0">
                <a:solidFill>
                  <a:schemeClr val="tx1"/>
                </a:solidFill>
              </a:rPr>
              <a:t>(…, max table width)</a:t>
            </a:r>
          </a:p>
        </p:txBody>
      </p:sp>
      <p:sp>
        <p:nvSpPr>
          <p:cNvPr id="91" name="Rechteck 90"/>
          <p:cNvSpPr/>
          <p:nvPr/>
        </p:nvSpPr>
        <p:spPr>
          <a:xfrm>
            <a:off x="5004048"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equal header width)</a:t>
            </a:r>
          </a:p>
        </p:txBody>
      </p:sp>
      <p:sp>
        <p:nvSpPr>
          <p:cNvPr id="96" name="Rechteck 95"/>
          <p:cNvSpPr/>
          <p:nvPr/>
        </p:nvSpPr>
        <p:spPr>
          <a:xfrm>
            <a:off x="6660232" y="342904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7" name="Rechteck 96"/>
          <p:cNvSpPr/>
          <p:nvPr/>
        </p:nvSpPr>
        <p:spPr>
          <a:xfrm>
            <a:off x="666023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trim)</a:t>
            </a:r>
          </a:p>
        </p:txBody>
      </p:sp>
      <p:sp>
        <p:nvSpPr>
          <p:cNvPr id="98" name="Rechteck 97"/>
          <p:cNvSpPr/>
          <p:nvPr/>
        </p:nvSpPr>
        <p:spPr>
          <a:xfrm>
            <a:off x="6660232" y="342931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6660232" y="3717580"/>
            <a:ext cx="1224000" cy="35998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00" name="Gerade Verbindung 374"/>
          <p:cNvCxnSpPr/>
          <p:nvPr/>
        </p:nvCxnSpPr>
        <p:spPr>
          <a:xfrm>
            <a:off x="6660232" y="350105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660232" y="422158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Rechteck 101"/>
          <p:cNvSpPr/>
          <p:nvPr/>
        </p:nvSpPr>
        <p:spPr>
          <a:xfrm>
            <a:off x="6660232" y="4725560"/>
            <a:ext cx="93661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6660232" y="4077560"/>
            <a:ext cx="792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p:cNvSpPr/>
          <p:nvPr/>
        </p:nvSpPr>
        <p:spPr>
          <a:xfrm>
            <a:off x="6660232" y="4581560"/>
            <a:ext cx="50400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p:cNvSpPr/>
          <p:nvPr/>
        </p:nvSpPr>
        <p:spPr>
          <a:xfrm>
            <a:off x="5076048"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aligned to header row.</a:t>
            </a:r>
          </a:p>
          <a:p>
            <a:r>
              <a:rPr lang="en-US" sz="1000" dirty="0">
                <a:solidFill>
                  <a:schemeClr val="tx1"/>
                </a:solidFill>
              </a:rPr>
              <a:t>Excess data in longer</a:t>
            </a:r>
          </a:p>
          <a:p>
            <a:r>
              <a:rPr lang="en-US" sz="1000" dirty="0">
                <a:solidFill>
                  <a:schemeClr val="tx1"/>
                </a:solidFill>
              </a:rPr>
              <a:t>rows will be discarded</a:t>
            </a:r>
          </a:p>
        </p:txBody>
      </p:sp>
      <p:sp>
        <p:nvSpPr>
          <p:cNvPr id="113" name="Rechteck 112"/>
          <p:cNvSpPr/>
          <p:nvPr/>
        </p:nvSpPr>
        <p:spPr>
          <a:xfrm>
            <a:off x="3491872"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shorter than longest row</a:t>
            </a:r>
          </a:p>
          <a:p>
            <a:r>
              <a:rPr lang="en-US" sz="1000" dirty="0">
                <a:solidFill>
                  <a:schemeClr val="tx1"/>
                </a:solidFill>
              </a:rPr>
              <a:t>will be padded.</a:t>
            </a:r>
          </a:p>
        </p:txBody>
      </p:sp>
      <p:sp>
        <p:nvSpPr>
          <p:cNvPr id="118" name="Rechteck 117"/>
          <p:cNvSpPr/>
          <p:nvPr/>
        </p:nvSpPr>
        <p:spPr>
          <a:xfrm>
            <a:off x="1907704"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ows shorter than</a:t>
            </a:r>
          </a:p>
          <a:p>
            <a:r>
              <a:rPr lang="en-US" sz="1000" dirty="0">
                <a:solidFill>
                  <a:schemeClr val="tx1"/>
                </a:solidFill>
              </a:rPr>
              <a:t>header row will be</a:t>
            </a:r>
          </a:p>
          <a:p>
            <a:r>
              <a:rPr lang="en-US" sz="1000" dirty="0">
                <a:solidFill>
                  <a:schemeClr val="tx1"/>
                </a:solidFill>
              </a:rPr>
              <a:t>padded.</a:t>
            </a:r>
          </a:p>
        </p:txBody>
      </p:sp>
      <p:sp>
        <p:nvSpPr>
          <p:cNvPr id="119" name="Rechteck 118"/>
          <p:cNvSpPr/>
          <p:nvPr/>
        </p:nvSpPr>
        <p:spPr>
          <a:xfrm>
            <a:off x="6660232" y="4941560"/>
            <a:ext cx="140503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rom right to left, all</a:t>
            </a:r>
          </a:p>
          <a:p>
            <a:r>
              <a:rPr lang="en-US" sz="1000" dirty="0">
                <a:solidFill>
                  <a:schemeClr val="tx1"/>
                </a:solidFill>
              </a:rPr>
              <a:t>blank columns will be</a:t>
            </a:r>
          </a:p>
          <a:p>
            <a:r>
              <a:rPr lang="en-US" sz="1000" dirty="0">
                <a:solidFill>
                  <a:schemeClr val="tx1"/>
                </a:solidFill>
              </a:rPr>
              <a:t>discarded and the rows</a:t>
            </a:r>
          </a:p>
          <a:p>
            <a:r>
              <a:rPr lang="en-US" sz="1000" dirty="0">
                <a:solidFill>
                  <a:schemeClr val="tx1"/>
                </a:solidFill>
              </a:rPr>
              <a:t>shortened.</a:t>
            </a:r>
          </a:p>
        </p:txBody>
      </p:sp>
      <p:sp>
        <p:nvSpPr>
          <p:cNvPr id="68" name="Rechteck 67"/>
          <p:cNvSpPr/>
          <p:nvPr/>
        </p:nvSpPr>
        <p:spPr>
          <a:xfrm>
            <a:off x="2484314" y="1341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Header columns</a:t>
            </a:r>
          </a:p>
        </p:txBody>
      </p:sp>
      <p:sp>
        <p:nvSpPr>
          <p:cNvPr id="69" name="Pfeil nach rechts 68"/>
          <p:cNvSpPr/>
          <p:nvPr/>
        </p:nvSpPr>
        <p:spPr>
          <a:xfrm flipH="1">
            <a:off x="2052314" y="1413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0" name="Rechteck 69"/>
          <p:cNvSpPr/>
          <p:nvPr/>
        </p:nvSpPr>
        <p:spPr>
          <a:xfrm>
            <a:off x="5725498" y="2277560"/>
            <a:ext cx="144020" cy="50407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5869518"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Padded</a:t>
            </a:r>
          </a:p>
          <a:p>
            <a:r>
              <a:rPr lang="en-US" sz="1000" dirty="0">
                <a:solidFill>
                  <a:schemeClr val="tx1"/>
                </a:solidFill>
              </a:rPr>
              <a:t>contents</a:t>
            </a:r>
          </a:p>
        </p:txBody>
      </p:sp>
      <p:sp>
        <p:nvSpPr>
          <p:cNvPr id="77" name="Rechteck 76"/>
          <p:cNvSpPr/>
          <p:nvPr/>
        </p:nvSpPr>
        <p:spPr>
          <a:xfrm>
            <a:off x="540610" y="342846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p:cNvSpPr/>
          <p:nvPr/>
        </p:nvSpPr>
        <p:spPr>
          <a:xfrm>
            <a:off x="540610" y="306900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table width)</a:t>
            </a:r>
          </a:p>
        </p:txBody>
      </p:sp>
      <p:sp>
        <p:nvSpPr>
          <p:cNvPr id="89" name="Rechteck 88"/>
          <p:cNvSpPr/>
          <p:nvPr/>
        </p:nvSpPr>
        <p:spPr>
          <a:xfrm>
            <a:off x="541220" y="3428730"/>
            <a:ext cx="646780" cy="722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541220" y="3717000"/>
            <a:ext cx="64678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3" name="Gerade Verbindung 374"/>
          <p:cNvCxnSpPr/>
          <p:nvPr/>
        </p:nvCxnSpPr>
        <p:spPr>
          <a:xfrm>
            <a:off x="540610" y="3500470"/>
            <a:ext cx="648000" cy="530"/>
          </a:xfrm>
          <a:prstGeom prst="line">
            <a:avLst/>
          </a:prstGeom>
        </p:spPr>
        <p:style>
          <a:lnRef idx="1">
            <a:schemeClr val="accent1"/>
          </a:lnRef>
          <a:fillRef idx="0">
            <a:schemeClr val="accent1"/>
          </a:fillRef>
          <a:effectRef idx="0">
            <a:schemeClr val="accent1"/>
          </a:effectRef>
          <a:fontRef idx="minor">
            <a:schemeClr val="tx1"/>
          </a:fontRef>
        </p:style>
      </p:cxnSp>
      <p:sp>
        <p:nvSpPr>
          <p:cNvPr id="94" name="Rechteck 93"/>
          <p:cNvSpPr/>
          <p:nvPr/>
        </p:nvSpPr>
        <p:spPr>
          <a:xfrm>
            <a:off x="541220" y="422100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p:cNvSpPr/>
          <p:nvPr/>
        </p:nvSpPr>
        <p:spPr>
          <a:xfrm>
            <a:off x="540611" y="458073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p:cNvSpPr/>
          <p:nvPr/>
        </p:nvSpPr>
        <p:spPr>
          <a:xfrm>
            <a:off x="1044610" y="4581000"/>
            <a:ext cx="14339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540610" y="4941000"/>
            <a:ext cx="1439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able width aligned</a:t>
            </a:r>
          </a:p>
          <a:p>
            <a:r>
              <a:rPr lang="en-US" sz="1000" dirty="0">
                <a:solidFill>
                  <a:schemeClr val="tx1"/>
                </a:solidFill>
              </a:rPr>
              <a:t>to shortest row</a:t>
            </a:r>
          </a:p>
        </p:txBody>
      </p:sp>
    </p:spTree>
    <p:extLst>
      <p:ext uri="{BB962C8B-B14F-4D97-AF65-F5344CB8AC3E}">
        <p14:creationId xmlns:p14="http://schemas.microsoft.com/office/powerpoint/2010/main" val="285565265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Arrange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Parameter 1)</a:t>
            </a:r>
          </a:p>
        </p:txBody>
      </p:sp>
      <p:sp>
        <p:nvSpPr>
          <p:cNvPr id="372" name="Rechteck 371"/>
          <p:cNvSpPr/>
          <p:nvPr/>
        </p:nvSpPr>
        <p:spPr>
          <a:xfrm>
            <a:off x="179390" y="1484730"/>
            <a:ext cx="1224170" cy="93615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chteck 44"/>
          <p:cNvSpPr/>
          <p:nvPr/>
        </p:nvSpPr>
        <p:spPr>
          <a:xfrm>
            <a:off x="179490" y="25289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s to add (Para. 2,3,4…)</a:t>
            </a:r>
          </a:p>
        </p:txBody>
      </p:sp>
      <p:sp>
        <p:nvSpPr>
          <p:cNvPr id="46" name="Rechteck 45"/>
          <p:cNvSpPr/>
          <p:nvPr/>
        </p:nvSpPr>
        <p:spPr>
          <a:xfrm>
            <a:off x="179490" y="2708918"/>
            <a:ext cx="648090" cy="75608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179490" y="2780928"/>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 name="Gerade Verbindung 47"/>
          <p:cNvCxnSpPr/>
          <p:nvPr/>
        </p:nvCxnSpPr>
        <p:spPr>
          <a:xfrm>
            <a:off x="179490" y="2780928"/>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Rechteck 52"/>
          <p:cNvSpPr/>
          <p:nvPr/>
        </p:nvSpPr>
        <p:spPr>
          <a:xfrm>
            <a:off x="971601" y="2708918"/>
            <a:ext cx="684076" cy="108012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p:cNvSpPr/>
          <p:nvPr/>
        </p:nvSpPr>
        <p:spPr>
          <a:xfrm>
            <a:off x="971600" y="2780928"/>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 name="Gerade Verbindung 54"/>
          <p:cNvCxnSpPr>
            <a:cxnSpLocks/>
          </p:cNvCxnSpPr>
          <p:nvPr/>
        </p:nvCxnSpPr>
        <p:spPr>
          <a:xfrm>
            <a:off x="971600" y="2780928"/>
            <a:ext cx="684076"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Pfeil nach rechts 56"/>
          <p:cNvSpPr/>
          <p:nvPr/>
        </p:nvSpPr>
        <p:spPr>
          <a:xfrm>
            <a:off x="3347858" y="191683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851928" y="1484730"/>
            <a:ext cx="3384368"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7" name="Gerade Verbindung 66"/>
          <p:cNvCxnSpPr/>
          <p:nvPr/>
        </p:nvCxnSpPr>
        <p:spPr>
          <a:xfrm>
            <a:off x="3851928" y="1556740"/>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3311868"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a:t>
            </a:r>
            <a:r>
              <a:rPr lang="en-US" sz="1000" dirty="0">
                <a:solidFill>
                  <a:schemeClr val="tx1"/>
                </a:solidFill>
              </a:rPr>
              <a:t>– Destination table after function call</a:t>
            </a:r>
          </a:p>
        </p:txBody>
      </p:sp>
      <p:sp>
        <p:nvSpPr>
          <p:cNvPr id="25" name="Rechteck 24">
            <a:extLst>
              <a:ext uri="{FF2B5EF4-FFF2-40B4-BE49-F238E27FC236}">
                <a16:creationId xmlns:a16="http://schemas.microsoft.com/office/drawing/2014/main" id="{8F60F0C3-0398-4A00-AA7D-B0BEA5603888}"/>
              </a:ext>
            </a:extLst>
          </p:cNvPr>
          <p:cNvSpPr/>
          <p:nvPr/>
        </p:nvSpPr>
        <p:spPr>
          <a:xfrm>
            <a:off x="1799692" y="2708918"/>
            <a:ext cx="828092" cy="57606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 name="Rechteck 25">
            <a:extLst>
              <a:ext uri="{FF2B5EF4-FFF2-40B4-BE49-F238E27FC236}">
                <a16:creationId xmlns:a16="http://schemas.microsoft.com/office/drawing/2014/main" id="{99485AFC-63CD-4636-8C1F-E686301DA420}"/>
              </a:ext>
            </a:extLst>
          </p:cNvPr>
          <p:cNvSpPr/>
          <p:nvPr/>
        </p:nvSpPr>
        <p:spPr>
          <a:xfrm>
            <a:off x="1799692" y="2780928"/>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 name="Gerade Verbindung 47">
            <a:extLst>
              <a:ext uri="{FF2B5EF4-FFF2-40B4-BE49-F238E27FC236}">
                <a16:creationId xmlns:a16="http://schemas.microsoft.com/office/drawing/2014/main" id="{0AA4FBE2-D32E-4B0C-9614-E6D012140AB1}"/>
              </a:ext>
            </a:extLst>
          </p:cNvPr>
          <p:cNvCxnSpPr>
            <a:cxnSpLocks/>
          </p:cNvCxnSpPr>
          <p:nvPr/>
        </p:nvCxnSpPr>
        <p:spPr>
          <a:xfrm>
            <a:off x="1799692" y="2780928"/>
            <a:ext cx="828092"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B47FC231-B574-4E40-A64D-670F1DB7022E}"/>
              </a:ext>
            </a:extLst>
          </p:cNvPr>
          <p:cNvSpPr/>
          <p:nvPr/>
        </p:nvSpPr>
        <p:spPr>
          <a:xfrm>
            <a:off x="3851920" y="1556792"/>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 name="Rechteck 31">
            <a:extLst>
              <a:ext uri="{FF2B5EF4-FFF2-40B4-BE49-F238E27FC236}">
                <a16:creationId xmlns:a16="http://schemas.microsoft.com/office/drawing/2014/main" id="{B2208284-30A5-4B01-95EC-ABE8DBE065BA}"/>
              </a:ext>
            </a:extLst>
          </p:cNvPr>
          <p:cNvSpPr/>
          <p:nvPr/>
        </p:nvSpPr>
        <p:spPr>
          <a:xfrm>
            <a:off x="5076056" y="1556792"/>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 name="Rechteck 33">
            <a:extLst>
              <a:ext uri="{FF2B5EF4-FFF2-40B4-BE49-F238E27FC236}">
                <a16:creationId xmlns:a16="http://schemas.microsoft.com/office/drawing/2014/main" id="{5C22EC79-5230-47F0-97E2-342B6513EB63}"/>
              </a:ext>
            </a:extLst>
          </p:cNvPr>
          <p:cNvSpPr/>
          <p:nvPr/>
        </p:nvSpPr>
        <p:spPr>
          <a:xfrm>
            <a:off x="6408204" y="1556792"/>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 name="Rechteck 34">
            <a:extLst>
              <a:ext uri="{FF2B5EF4-FFF2-40B4-BE49-F238E27FC236}">
                <a16:creationId xmlns:a16="http://schemas.microsoft.com/office/drawing/2014/main" id="{3A1F385F-B929-4684-89ED-15D4CB20F931}"/>
              </a:ext>
            </a:extLst>
          </p:cNvPr>
          <p:cNvSpPr/>
          <p:nvPr/>
        </p:nvSpPr>
        <p:spPr>
          <a:xfrm>
            <a:off x="5724128" y="1556792"/>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 name="Pfeil nach rechts 56">
            <a:extLst>
              <a:ext uri="{FF2B5EF4-FFF2-40B4-BE49-F238E27FC236}">
                <a16:creationId xmlns:a16="http://schemas.microsoft.com/office/drawing/2014/main" id="{4427484B-6C04-4FB9-907B-73939E4A0C83}"/>
              </a:ext>
            </a:extLst>
          </p:cNvPr>
          <p:cNvSpPr/>
          <p:nvPr/>
        </p:nvSpPr>
        <p:spPr>
          <a:xfrm>
            <a:off x="3311846" y="3285038"/>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 name="Rechteck 36">
            <a:extLst>
              <a:ext uri="{FF2B5EF4-FFF2-40B4-BE49-F238E27FC236}">
                <a16:creationId xmlns:a16="http://schemas.microsoft.com/office/drawing/2014/main" id="{6817A87C-617E-4B68-920B-75888B63A8E0}"/>
              </a:ext>
            </a:extLst>
          </p:cNvPr>
          <p:cNvSpPr/>
          <p:nvPr/>
        </p:nvSpPr>
        <p:spPr>
          <a:xfrm>
            <a:off x="3815916" y="2852936"/>
            <a:ext cx="3708412"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8" name="Gerade Verbindung 66">
            <a:extLst>
              <a:ext uri="{FF2B5EF4-FFF2-40B4-BE49-F238E27FC236}">
                <a16:creationId xmlns:a16="http://schemas.microsoft.com/office/drawing/2014/main" id="{E8886372-BBCC-4898-93DC-A86BB7EE13BE}"/>
              </a:ext>
            </a:extLst>
          </p:cNvPr>
          <p:cNvCxnSpPr/>
          <p:nvPr/>
        </p:nvCxnSpPr>
        <p:spPr>
          <a:xfrm>
            <a:off x="3815916" y="2924946"/>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308DBA93-7620-467E-9038-343D2A14A107}"/>
              </a:ext>
            </a:extLst>
          </p:cNvPr>
          <p:cNvSpPr/>
          <p:nvPr/>
        </p:nvSpPr>
        <p:spPr>
          <a:xfrm>
            <a:off x="3275856" y="2672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with spaces()</a:t>
            </a:r>
            <a:r>
              <a:rPr lang="en-US" sz="1000" dirty="0">
                <a:solidFill>
                  <a:schemeClr val="tx1"/>
                </a:solidFill>
              </a:rPr>
              <a:t> – Destination table after function call</a:t>
            </a:r>
          </a:p>
        </p:txBody>
      </p:sp>
      <p:sp>
        <p:nvSpPr>
          <p:cNvPr id="40" name="Rechteck 39">
            <a:extLst>
              <a:ext uri="{FF2B5EF4-FFF2-40B4-BE49-F238E27FC236}">
                <a16:creationId xmlns:a16="http://schemas.microsoft.com/office/drawing/2014/main" id="{1D367359-16CE-4544-9FDF-E53EA13DCBC4}"/>
              </a:ext>
            </a:extLst>
          </p:cNvPr>
          <p:cNvSpPr/>
          <p:nvPr/>
        </p:nvSpPr>
        <p:spPr>
          <a:xfrm>
            <a:off x="3815908" y="2924998"/>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 name="Rechteck 40">
            <a:extLst>
              <a:ext uri="{FF2B5EF4-FFF2-40B4-BE49-F238E27FC236}">
                <a16:creationId xmlns:a16="http://schemas.microsoft.com/office/drawing/2014/main" id="{1DBE188B-31F8-4B4A-880F-D650472CBD70}"/>
              </a:ext>
            </a:extLst>
          </p:cNvPr>
          <p:cNvSpPr/>
          <p:nvPr/>
        </p:nvSpPr>
        <p:spPr>
          <a:xfrm>
            <a:off x="5148064" y="2924944"/>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 name="Rechteck 41">
            <a:extLst>
              <a:ext uri="{FF2B5EF4-FFF2-40B4-BE49-F238E27FC236}">
                <a16:creationId xmlns:a16="http://schemas.microsoft.com/office/drawing/2014/main" id="{5FED6553-3EFC-48C9-838C-8A46AE429E03}"/>
              </a:ext>
            </a:extLst>
          </p:cNvPr>
          <p:cNvSpPr/>
          <p:nvPr/>
        </p:nvSpPr>
        <p:spPr>
          <a:xfrm>
            <a:off x="6696236" y="2924944"/>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 name="Rechteck 42">
            <a:extLst>
              <a:ext uri="{FF2B5EF4-FFF2-40B4-BE49-F238E27FC236}">
                <a16:creationId xmlns:a16="http://schemas.microsoft.com/office/drawing/2014/main" id="{3A4E11D4-80DB-407E-938C-B5186A11447D}"/>
              </a:ext>
            </a:extLst>
          </p:cNvPr>
          <p:cNvSpPr/>
          <p:nvPr/>
        </p:nvSpPr>
        <p:spPr>
          <a:xfrm>
            <a:off x="5904148" y="2924944"/>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16385310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hteck 149">
            <a:extLst>
              <a:ext uri="{FF2B5EF4-FFF2-40B4-BE49-F238E27FC236}">
                <a16:creationId xmlns:a16="http://schemas.microsoft.com/office/drawing/2014/main" id="{E5389336-D5CE-4447-8A96-33880D868BDE}"/>
              </a:ext>
            </a:extLst>
          </p:cNvPr>
          <p:cNvSpPr/>
          <p:nvPr/>
        </p:nvSpPr>
        <p:spPr>
          <a:xfrm>
            <a:off x="7992380" y="1916832"/>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9" name="Rechteck 148">
            <a:extLst>
              <a:ext uri="{FF2B5EF4-FFF2-40B4-BE49-F238E27FC236}">
                <a16:creationId xmlns:a16="http://schemas.microsoft.com/office/drawing/2014/main" id="{226AD378-247D-4623-937E-A5B50906B7BE}"/>
              </a:ext>
            </a:extLst>
          </p:cNvPr>
          <p:cNvSpPr/>
          <p:nvPr/>
        </p:nvSpPr>
        <p:spPr>
          <a:xfrm>
            <a:off x="7992380" y="2132856"/>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8" name="Rechteck 147">
            <a:extLst>
              <a:ext uri="{FF2B5EF4-FFF2-40B4-BE49-F238E27FC236}">
                <a16:creationId xmlns:a16="http://schemas.microsoft.com/office/drawing/2014/main" id="{E395AE03-8F8A-4E8B-ABAF-C44855D6A577}"/>
              </a:ext>
            </a:extLst>
          </p:cNvPr>
          <p:cNvSpPr/>
          <p:nvPr/>
        </p:nvSpPr>
        <p:spPr>
          <a:xfrm>
            <a:off x="7992380" y="2060848"/>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7" name="Rechteck 146">
            <a:extLst>
              <a:ext uri="{FF2B5EF4-FFF2-40B4-BE49-F238E27FC236}">
                <a16:creationId xmlns:a16="http://schemas.microsoft.com/office/drawing/2014/main" id="{E2BDEA56-5047-4198-B8F3-1E64821F34E6}"/>
              </a:ext>
            </a:extLst>
          </p:cNvPr>
          <p:cNvSpPr/>
          <p:nvPr/>
        </p:nvSpPr>
        <p:spPr>
          <a:xfrm>
            <a:off x="7992380" y="1844824"/>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lore, table filter, 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explore ( source table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411760" y="1556792"/>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   { x start sub table 4, y start sub table 4, x end sub table 4, x end sub table 4}</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41" name="Rechteck 40">
            <a:extLst>
              <a:ext uri="{FF2B5EF4-FFF2-40B4-BE49-F238E27FC236}">
                <a16:creationId xmlns:a16="http://schemas.microsoft.com/office/drawing/2014/main" id="{7AC4DBC5-DB0E-4267-A653-EC56701267C7}"/>
              </a:ext>
            </a:extLst>
          </p:cNvPr>
          <p:cNvSpPr/>
          <p:nvPr/>
        </p:nvSpPr>
        <p:spPr>
          <a:xfrm>
            <a:off x="2411760" y="281693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oordinates 2 [ ] = table filter ( source table, coordinates[ ], ... )</a:t>
            </a:r>
          </a:p>
        </p:txBody>
      </p:sp>
      <p:sp>
        <p:nvSpPr>
          <p:cNvPr id="11" name="Pfeil: nach unten 10">
            <a:extLst>
              <a:ext uri="{FF2B5EF4-FFF2-40B4-BE49-F238E27FC236}">
                <a16:creationId xmlns:a16="http://schemas.microsoft.com/office/drawing/2014/main" id="{4ADDDF63-2FC2-4FA7-9F8C-CEF046A4FB90}"/>
              </a:ext>
            </a:extLst>
          </p:cNvPr>
          <p:cNvSpPr/>
          <p:nvPr/>
        </p:nvSpPr>
        <p:spPr>
          <a:xfrm>
            <a:off x="3779912" y="249289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3" name="Pfeil: nach unten 42">
            <a:extLst>
              <a:ext uri="{FF2B5EF4-FFF2-40B4-BE49-F238E27FC236}">
                <a16:creationId xmlns:a16="http://schemas.microsoft.com/office/drawing/2014/main" id="{C54C5FF5-07F5-4DA9-B84B-8A614344F168}"/>
              </a:ext>
            </a:extLst>
          </p:cNvPr>
          <p:cNvSpPr/>
          <p:nvPr/>
        </p:nvSpPr>
        <p:spPr>
          <a:xfrm>
            <a:off x="3779912" y="2996952"/>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4" name="Rechteck 43">
            <a:extLst>
              <a:ext uri="{FF2B5EF4-FFF2-40B4-BE49-F238E27FC236}">
                <a16:creationId xmlns:a16="http://schemas.microsoft.com/office/drawing/2014/main" id="{28043B3C-BBA4-44D4-B8BF-21C4E4F64BB8}"/>
              </a:ext>
            </a:extLst>
          </p:cNvPr>
          <p:cNvSpPr/>
          <p:nvPr/>
        </p:nvSpPr>
        <p:spPr>
          <a:xfrm>
            <a:off x="2015716" y="33569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extract ( destination table, source table, coordinates 2 [ ], 0 ... )</a:t>
            </a:r>
          </a:p>
        </p:txBody>
      </p:sp>
      <p:sp>
        <p:nvSpPr>
          <p:cNvPr id="49" name="Rechteck 48">
            <a:extLst>
              <a:ext uri="{FF2B5EF4-FFF2-40B4-BE49-F238E27FC236}">
                <a16:creationId xmlns:a16="http://schemas.microsoft.com/office/drawing/2014/main" id="{37CBD2DB-549D-4559-9C65-260FC4659374}"/>
              </a:ext>
            </a:extLst>
          </p:cNvPr>
          <p:cNvSpPr/>
          <p:nvPr/>
        </p:nvSpPr>
        <p:spPr>
          <a:xfrm>
            <a:off x="2447764" y="357301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50" name="Rechteck 49">
            <a:extLst>
              <a:ext uri="{FF2B5EF4-FFF2-40B4-BE49-F238E27FC236}">
                <a16:creationId xmlns:a16="http://schemas.microsoft.com/office/drawing/2014/main" id="{04663458-6A23-468F-A4A4-514C7974A423}"/>
              </a:ext>
            </a:extLst>
          </p:cNvPr>
          <p:cNvSpPr/>
          <p:nvPr/>
        </p:nvSpPr>
        <p:spPr>
          <a:xfrm>
            <a:off x="2447764" y="364502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CFCE7D68-BBAC-4274-A502-FAF2D258164F}"/>
              </a:ext>
            </a:extLst>
          </p:cNvPr>
          <p:cNvSpPr/>
          <p:nvPr/>
        </p:nvSpPr>
        <p:spPr>
          <a:xfrm>
            <a:off x="3203848" y="357301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52" name="Rechteck 51">
            <a:extLst>
              <a:ext uri="{FF2B5EF4-FFF2-40B4-BE49-F238E27FC236}">
                <a16:creationId xmlns:a16="http://schemas.microsoft.com/office/drawing/2014/main" id="{25B72AD5-D281-4076-8768-0FD49DD8D0B0}"/>
              </a:ext>
            </a:extLst>
          </p:cNvPr>
          <p:cNvSpPr/>
          <p:nvPr/>
        </p:nvSpPr>
        <p:spPr>
          <a:xfrm>
            <a:off x="3203848" y="364502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3635896" y="357301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8" name="Rechteck 57">
            <a:extLst>
              <a:ext uri="{FF2B5EF4-FFF2-40B4-BE49-F238E27FC236}">
                <a16:creationId xmlns:a16="http://schemas.microsoft.com/office/drawing/2014/main" id="{92BAA696-BACB-4AB2-B70A-47DF064D5FDA}"/>
              </a:ext>
            </a:extLst>
          </p:cNvPr>
          <p:cNvSpPr/>
          <p:nvPr/>
        </p:nvSpPr>
        <p:spPr>
          <a:xfrm>
            <a:off x="3635896" y="364502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06B7991E-56EA-411A-8C1A-69F236105E84}"/>
              </a:ext>
            </a:extLst>
          </p:cNvPr>
          <p:cNvSpPr/>
          <p:nvPr/>
        </p:nvSpPr>
        <p:spPr>
          <a:xfrm>
            <a:off x="4355976" y="35730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60" name="Rechteck 59">
            <a:extLst>
              <a:ext uri="{FF2B5EF4-FFF2-40B4-BE49-F238E27FC236}">
                <a16:creationId xmlns:a16="http://schemas.microsoft.com/office/drawing/2014/main" id="{EE2477B3-F108-4712-A8C9-2198677F6CEF}"/>
              </a:ext>
            </a:extLst>
          </p:cNvPr>
          <p:cNvSpPr/>
          <p:nvPr/>
        </p:nvSpPr>
        <p:spPr>
          <a:xfrm>
            <a:off x="4355976" y="36450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8DACC0A6-5BC6-414B-95F9-B869FFD4343F}"/>
              </a:ext>
            </a:extLst>
          </p:cNvPr>
          <p:cNvSpPr/>
          <p:nvPr/>
        </p:nvSpPr>
        <p:spPr>
          <a:xfrm>
            <a:off x="6624228" y="11607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and end start recognition</a:t>
            </a:r>
          </a:p>
        </p:txBody>
      </p:sp>
      <p:sp>
        <p:nvSpPr>
          <p:cNvPr id="62" name="Rechteck 61">
            <a:extLst>
              <a:ext uri="{FF2B5EF4-FFF2-40B4-BE49-F238E27FC236}">
                <a16:creationId xmlns:a16="http://schemas.microsoft.com/office/drawing/2014/main" id="{927F37B4-D1D7-4E18-86D8-79C7A2C14CFD}"/>
              </a:ext>
            </a:extLst>
          </p:cNvPr>
          <p:cNvSpPr/>
          <p:nvPr/>
        </p:nvSpPr>
        <p:spPr>
          <a:xfrm>
            <a:off x="6660232" y="1484784"/>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E4A186-2A8C-404A-850C-1962C009927D}"/>
              </a:ext>
            </a:extLst>
          </p:cNvPr>
          <p:cNvSpPr/>
          <p:nvPr/>
        </p:nvSpPr>
        <p:spPr>
          <a:xfrm>
            <a:off x="7056276" y="184482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047D40D0-11CA-48D0-BE71-E841F75FAAA5}"/>
              </a:ext>
            </a:extLst>
          </p:cNvPr>
          <p:cNvSpPr/>
          <p:nvPr/>
        </p:nvSpPr>
        <p:spPr>
          <a:xfrm>
            <a:off x="6876256" y="177281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9" name="Rechteck 78">
            <a:extLst>
              <a:ext uri="{FF2B5EF4-FFF2-40B4-BE49-F238E27FC236}">
                <a16:creationId xmlns:a16="http://schemas.microsoft.com/office/drawing/2014/main" id="{D1FDA536-B29A-4677-BEC0-467AE9F7E51D}"/>
              </a:ext>
            </a:extLst>
          </p:cNvPr>
          <p:cNvSpPr/>
          <p:nvPr/>
        </p:nvSpPr>
        <p:spPr>
          <a:xfrm>
            <a:off x="6876256" y="191683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1" name="Rechteck 80">
            <a:extLst>
              <a:ext uri="{FF2B5EF4-FFF2-40B4-BE49-F238E27FC236}">
                <a16:creationId xmlns:a16="http://schemas.microsoft.com/office/drawing/2014/main" id="{7BE6E7A6-65CA-4ED4-A052-D4A15F557C2F}"/>
              </a:ext>
            </a:extLst>
          </p:cNvPr>
          <p:cNvSpPr/>
          <p:nvPr/>
        </p:nvSpPr>
        <p:spPr>
          <a:xfrm>
            <a:off x="6876256" y="198884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2" name="Rechteck 81">
            <a:extLst>
              <a:ext uri="{FF2B5EF4-FFF2-40B4-BE49-F238E27FC236}">
                <a16:creationId xmlns:a16="http://schemas.microsoft.com/office/drawing/2014/main" id="{FC8FE23B-2F3A-44E3-8A6F-902863BA31F4}"/>
              </a:ext>
            </a:extLst>
          </p:cNvPr>
          <p:cNvSpPr/>
          <p:nvPr/>
        </p:nvSpPr>
        <p:spPr>
          <a:xfrm>
            <a:off x="7056276" y="2060848"/>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3" name="Rechteck 82">
            <a:extLst>
              <a:ext uri="{FF2B5EF4-FFF2-40B4-BE49-F238E27FC236}">
                <a16:creationId xmlns:a16="http://schemas.microsoft.com/office/drawing/2014/main" id="{559935B9-7C4F-4152-84C8-A13BD8D76100}"/>
              </a:ext>
            </a:extLst>
          </p:cNvPr>
          <p:cNvSpPr/>
          <p:nvPr/>
        </p:nvSpPr>
        <p:spPr>
          <a:xfrm>
            <a:off x="6876256" y="213285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4" name="Rechteck 83">
            <a:extLst>
              <a:ext uri="{FF2B5EF4-FFF2-40B4-BE49-F238E27FC236}">
                <a16:creationId xmlns:a16="http://schemas.microsoft.com/office/drawing/2014/main" id="{62B28F2F-B190-40B3-8C56-F45F6E701201}"/>
              </a:ext>
            </a:extLst>
          </p:cNvPr>
          <p:cNvSpPr/>
          <p:nvPr/>
        </p:nvSpPr>
        <p:spPr>
          <a:xfrm>
            <a:off x="723629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5" name="Rechteck 84">
            <a:extLst>
              <a:ext uri="{FF2B5EF4-FFF2-40B4-BE49-F238E27FC236}">
                <a16:creationId xmlns:a16="http://schemas.microsoft.com/office/drawing/2014/main" id="{29741F05-001A-41CB-8333-0E07C6637558}"/>
              </a:ext>
            </a:extLst>
          </p:cNvPr>
          <p:cNvSpPr/>
          <p:nvPr/>
        </p:nvSpPr>
        <p:spPr>
          <a:xfrm>
            <a:off x="687625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 Verbindung 374">
            <a:extLst>
              <a:ext uri="{FF2B5EF4-FFF2-40B4-BE49-F238E27FC236}">
                <a16:creationId xmlns:a16="http://schemas.microsoft.com/office/drawing/2014/main" id="{2FEA76B2-A26D-4359-BFEA-0AC25D76EF2D}"/>
              </a:ext>
            </a:extLst>
          </p:cNvPr>
          <p:cNvCxnSpPr>
            <a:cxnSpLocks/>
          </p:cNvCxnSpPr>
          <p:nvPr/>
        </p:nvCxnSpPr>
        <p:spPr>
          <a:xfrm>
            <a:off x="6876256" y="1844824"/>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Rechteck 89">
            <a:extLst>
              <a:ext uri="{FF2B5EF4-FFF2-40B4-BE49-F238E27FC236}">
                <a16:creationId xmlns:a16="http://schemas.microsoft.com/office/drawing/2014/main" id="{A9F0A2E0-3622-479D-B20F-04C04C543DC2}"/>
              </a:ext>
            </a:extLst>
          </p:cNvPr>
          <p:cNvSpPr/>
          <p:nvPr/>
        </p:nvSpPr>
        <p:spPr>
          <a:xfrm>
            <a:off x="7632340" y="177281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1" name="Rechteck 90">
            <a:extLst>
              <a:ext uri="{FF2B5EF4-FFF2-40B4-BE49-F238E27FC236}">
                <a16:creationId xmlns:a16="http://schemas.microsoft.com/office/drawing/2014/main" id="{7BC610EA-DFD0-435F-91F2-919790C903DE}"/>
              </a:ext>
            </a:extLst>
          </p:cNvPr>
          <p:cNvSpPr/>
          <p:nvPr/>
        </p:nvSpPr>
        <p:spPr>
          <a:xfrm>
            <a:off x="7812360" y="1844824"/>
            <a:ext cx="178855"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3" name="Rechteck 92">
            <a:extLst>
              <a:ext uri="{FF2B5EF4-FFF2-40B4-BE49-F238E27FC236}">
                <a16:creationId xmlns:a16="http://schemas.microsoft.com/office/drawing/2014/main" id="{D1437308-EC4A-4178-80B7-8ADCE75415BA}"/>
              </a:ext>
            </a:extLst>
          </p:cNvPr>
          <p:cNvSpPr/>
          <p:nvPr/>
        </p:nvSpPr>
        <p:spPr>
          <a:xfrm>
            <a:off x="7632340" y="1916832"/>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4" name="Rechteck 93">
            <a:extLst>
              <a:ext uri="{FF2B5EF4-FFF2-40B4-BE49-F238E27FC236}">
                <a16:creationId xmlns:a16="http://schemas.microsoft.com/office/drawing/2014/main" id="{19EEACDC-8DEB-4C50-97E6-9B90964D7D7A}"/>
              </a:ext>
            </a:extLst>
          </p:cNvPr>
          <p:cNvSpPr/>
          <p:nvPr/>
        </p:nvSpPr>
        <p:spPr>
          <a:xfrm>
            <a:off x="7632340" y="1988840"/>
            <a:ext cx="357709"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5" name="Rechteck 94">
            <a:extLst>
              <a:ext uri="{FF2B5EF4-FFF2-40B4-BE49-F238E27FC236}">
                <a16:creationId xmlns:a16="http://schemas.microsoft.com/office/drawing/2014/main" id="{8EDEB7A5-4A5E-4D51-A1FB-622E3EE58CF7}"/>
              </a:ext>
            </a:extLst>
          </p:cNvPr>
          <p:cNvSpPr/>
          <p:nvPr/>
        </p:nvSpPr>
        <p:spPr>
          <a:xfrm>
            <a:off x="7812361" y="2060848"/>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a:extLst>
              <a:ext uri="{FF2B5EF4-FFF2-40B4-BE49-F238E27FC236}">
                <a16:creationId xmlns:a16="http://schemas.microsoft.com/office/drawing/2014/main" id="{E45CFB92-5913-42A8-8E44-CBE0D5FFEF4E}"/>
              </a:ext>
            </a:extLst>
          </p:cNvPr>
          <p:cNvSpPr/>
          <p:nvPr/>
        </p:nvSpPr>
        <p:spPr>
          <a:xfrm>
            <a:off x="7632340" y="213285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785F4F80-5430-4087-A127-4EC7EE647A5C}"/>
              </a:ext>
            </a:extLst>
          </p:cNvPr>
          <p:cNvSpPr/>
          <p:nvPr/>
        </p:nvSpPr>
        <p:spPr>
          <a:xfrm>
            <a:off x="7992380" y="2204864"/>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8" name="Rechteck 97">
            <a:extLst>
              <a:ext uri="{FF2B5EF4-FFF2-40B4-BE49-F238E27FC236}">
                <a16:creationId xmlns:a16="http://schemas.microsoft.com/office/drawing/2014/main" id="{6E079A9F-4967-4799-BD6F-0E77FB08121A}"/>
              </a:ext>
            </a:extLst>
          </p:cNvPr>
          <p:cNvSpPr/>
          <p:nvPr/>
        </p:nvSpPr>
        <p:spPr>
          <a:xfrm>
            <a:off x="7632340" y="2204864"/>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9" name="Rechteck 98">
            <a:extLst>
              <a:ext uri="{FF2B5EF4-FFF2-40B4-BE49-F238E27FC236}">
                <a16:creationId xmlns:a16="http://schemas.microsoft.com/office/drawing/2014/main" id="{52360D61-8435-4CFD-A321-9B6D94B3905D}"/>
              </a:ext>
            </a:extLst>
          </p:cNvPr>
          <p:cNvSpPr/>
          <p:nvPr/>
        </p:nvSpPr>
        <p:spPr>
          <a:xfrm>
            <a:off x="7632340" y="1772816"/>
            <a:ext cx="36004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1" name="Rechteck 100">
            <a:extLst>
              <a:ext uri="{FF2B5EF4-FFF2-40B4-BE49-F238E27FC236}">
                <a16:creationId xmlns:a16="http://schemas.microsoft.com/office/drawing/2014/main" id="{3DF3B9A5-48A2-46E6-97AF-D2831FD4F511}"/>
              </a:ext>
            </a:extLst>
          </p:cNvPr>
          <p:cNvSpPr/>
          <p:nvPr/>
        </p:nvSpPr>
        <p:spPr>
          <a:xfrm>
            <a:off x="7812360" y="2348880"/>
            <a:ext cx="180020" cy="72008"/>
          </a:xfrm>
          <a:prstGeom prst="rect">
            <a:avLst/>
          </a:prstGeom>
          <a:solidFill>
            <a:srgbClr val="E8D1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5" name="Rechteck 104">
            <a:extLst>
              <a:ext uri="{FF2B5EF4-FFF2-40B4-BE49-F238E27FC236}">
                <a16:creationId xmlns:a16="http://schemas.microsoft.com/office/drawing/2014/main" id="{9692ED81-F5A8-4C57-A2C5-2BCC4883995A}"/>
              </a:ext>
            </a:extLst>
          </p:cNvPr>
          <p:cNvSpPr/>
          <p:nvPr/>
        </p:nvSpPr>
        <p:spPr>
          <a:xfrm>
            <a:off x="6660232" y="3140972"/>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06EEC43E-DCEF-4AB6-8CE2-B9CF9C0F73D0}"/>
              </a:ext>
            </a:extLst>
          </p:cNvPr>
          <p:cNvSpPr/>
          <p:nvPr/>
        </p:nvSpPr>
        <p:spPr>
          <a:xfrm>
            <a:off x="7056276" y="350101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8" name="Rechteck 107">
            <a:extLst>
              <a:ext uri="{FF2B5EF4-FFF2-40B4-BE49-F238E27FC236}">
                <a16:creationId xmlns:a16="http://schemas.microsoft.com/office/drawing/2014/main" id="{A45F3690-5469-4368-907B-83D10438A95C}"/>
              </a:ext>
            </a:extLst>
          </p:cNvPr>
          <p:cNvSpPr/>
          <p:nvPr/>
        </p:nvSpPr>
        <p:spPr>
          <a:xfrm>
            <a:off x="6876256" y="342900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9" name="Rechteck 108">
            <a:extLst>
              <a:ext uri="{FF2B5EF4-FFF2-40B4-BE49-F238E27FC236}">
                <a16:creationId xmlns:a16="http://schemas.microsoft.com/office/drawing/2014/main" id="{64C26B1E-6B09-4C18-B767-E1923523578B}"/>
              </a:ext>
            </a:extLst>
          </p:cNvPr>
          <p:cNvSpPr/>
          <p:nvPr/>
        </p:nvSpPr>
        <p:spPr>
          <a:xfrm>
            <a:off x="6876256" y="3573018"/>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0" name="Rechteck 109">
            <a:extLst>
              <a:ext uri="{FF2B5EF4-FFF2-40B4-BE49-F238E27FC236}">
                <a16:creationId xmlns:a16="http://schemas.microsoft.com/office/drawing/2014/main" id="{4080AEB6-0DD8-41C7-B7CD-69C6EEEFD5F4}"/>
              </a:ext>
            </a:extLst>
          </p:cNvPr>
          <p:cNvSpPr/>
          <p:nvPr/>
        </p:nvSpPr>
        <p:spPr>
          <a:xfrm>
            <a:off x="6876256" y="3645026"/>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FE86EC29-C7D9-459F-AAF4-23746E5A42E7}"/>
              </a:ext>
            </a:extLst>
          </p:cNvPr>
          <p:cNvSpPr/>
          <p:nvPr/>
        </p:nvSpPr>
        <p:spPr>
          <a:xfrm>
            <a:off x="7056276" y="3717034"/>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2" name="Rechteck 111">
            <a:extLst>
              <a:ext uri="{FF2B5EF4-FFF2-40B4-BE49-F238E27FC236}">
                <a16:creationId xmlns:a16="http://schemas.microsoft.com/office/drawing/2014/main" id="{19477CF2-2127-4F70-9AAB-D187A12D7B85}"/>
              </a:ext>
            </a:extLst>
          </p:cNvPr>
          <p:cNvSpPr/>
          <p:nvPr/>
        </p:nvSpPr>
        <p:spPr>
          <a:xfrm>
            <a:off x="6876256" y="378904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3" name="Rechteck 112">
            <a:extLst>
              <a:ext uri="{FF2B5EF4-FFF2-40B4-BE49-F238E27FC236}">
                <a16:creationId xmlns:a16="http://schemas.microsoft.com/office/drawing/2014/main" id="{FF8FF346-7E20-4171-82D1-43EDFD0A3CF4}"/>
              </a:ext>
            </a:extLst>
          </p:cNvPr>
          <p:cNvSpPr/>
          <p:nvPr/>
        </p:nvSpPr>
        <p:spPr>
          <a:xfrm>
            <a:off x="723629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4" name="Rechteck 113">
            <a:extLst>
              <a:ext uri="{FF2B5EF4-FFF2-40B4-BE49-F238E27FC236}">
                <a16:creationId xmlns:a16="http://schemas.microsoft.com/office/drawing/2014/main" id="{C28523F3-D3FC-4CFC-A556-A6364768FCDE}"/>
              </a:ext>
            </a:extLst>
          </p:cNvPr>
          <p:cNvSpPr/>
          <p:nvPr/>
        </p:nvSpPr>
        <p:spPr>
          <a:xfrm>
            <a:off x="687625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7" name="Rechteck 116">
            <a:extLst>
              <a:ext uri="{FF2B5EF4-FFF2-40B4-BE49-F238E27FC236}">
                <a16:creationId xmlns:a16="http://schemas.microsoft.com/office/drawing/2014/main" id="{2BB22FE3-0009-41E9-A1FD-2CDE76672DC7}"/>
              </a:ext>
            </a:extLst>
          </p:cNvPr>
          <p:cNvSpPr/>
          <p:nvPr/>
        </p:nvSpPr>
        <p:spPr>
          <a:xfrm>
            <a:off x="763234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8" name="Rechteck 117">
            <a:extLst>
              <a:ext uri="{FF2B5EF4-FFF2-40B4-BE49-F238E27FC236}">
                <a16:creationId xmlns:a16="http://schemas.microsoft.com/office/drawing/2014/main" id="{EF5D5A8B-4A55-4EC4-8E46-A8A51C973030}"/>
              </a:ext>
            </a:extLst>
          </p:cNvPr>
          <p:cNvSpPr/>
          <p:nvPr/>
        </p:nvSpPr>
        <p:spPr>
          <a:xfrm>
            <a:off x="7812360" y="350101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8F035962-84A7-4BE7-8C62-CBB6103C26A8}"/>
              </a:ext>
            </a:extLst>
          </p:cNvPr>
          <p:cNvSpPr/>
          <p:nvPr/>
        </p:nvSpPr>
        <p:spPr>
          <a:xfrm>
            <a:off x="781236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0" name="Rechteck 119">
            <a:extLst>
              <a:ext uri="{FF2B5EF4-FFF2-40B4-BE49-F238E27FC236}">
                <a16:creationId xmlns:a16="http://schemas.microsoft.com/office/drawing/2014/main" id="{277A8E9C-3441-495F-8454-618A3A861C4B}"/>
              </a:ext>
            </a:extLst>
          </p:cNvPr>
          <p:cNvSpPr/>
          <p:nvPr/>
        </p:nvSpPr>
        <p:spPr>
          <a:xfrm>
            <a:off x="7632340" y="3573018"/>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1" name="Rechteck 120">
            <a:extLst>
              <a:ext uri="{FF2B5EF4-FFF2-40B4-BE49-F238E27FC236}">
                <a16:creationId xmlns:a16="http://schemas.microsoft.com/office/drawing/2014/main" id="{5E8894FD-8ADD-41F8-828A-8D1CB1CD14DC}"/>
              </a:ext>
            </a:extLst>
          </p:cNvPr>
          <p:cNvSpPr/>
          <p:nvPr/>
        </p:nvSpPr>
        <p:spPr>
          <a:xfrm>
            <a:off x="7632340" y="3645026"/>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2" name="Rechteck 121">
            <a:extLst>
              <a:ext uri="{FF2B5EF4-FFF2-40B4-BE49-F238E27FC236}">
                <a16:creationId xmlns:a16="http://schemas.microsoft.com/office/drawing/2014/main" id="{545D302D-BB53-4B6F-BD73-54FC9A7A517C}"/>
              </a:ext>
            </a:extLst>
          </p:cNvPr>
          <p:cNvSpPr/>
          <p:nvPr/>
        </p:nvSpPr>
        <p:spPr>
          <a:xfrm>
            <a:off x="7812360" y="3717034"/>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98F12DE2-736D-4D1B-AC66-CEE0C8E051D2}"/>
              </a:ext>
            </a:extLst>
          </p:cNvPr>
          <p:cNvSpPr/>
          <p:nvPr/>
        </p:nvSpPr>
        <p:spPr>
          <a:xfrm>
            <a:off x="7632340" y="378904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4" name="Rechteck 123">
            <a:extLst>
              <a:ext uri="{FF2B5EF4-FFF2-40B4-BE49-F238E27FC236}">
                <a16:creationId xmlns:a16="http://schemas.microsoft.com/office/drawing/2014/main" id="{9541A51E-F0FB-4907-BC79-92E9E97B402D}"/>
              </a:ext>
            </a:extLst>
          </p:cNvPr>
          <p:cNvSpPr/>
          <p:nvPr/>
        </p:nvSpPr>
        <p:spPr>
          <a:xfrm>
            <a:off x="799238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5" name="Rechteck 124">
            <a:extLst>
              <a:ext uri="{FF2B5EF4-FFF2-40B4-BE49-F238E27FC236}">
                <a16:creationId xmlns:a16="http://schemas.microsoft.com/office/drawing/2014/main" id="{6C5F2FEA-A2B7-4205-9A1D-2CAFC63DC15D}"/>
              </a:ext>
            </a:extLst>
          </p:cNvPr>
          <p:cNvSpPr/>
          <p:nvPr/>
        </p:nvSpPr>
        <p:spPr>
          <a:xfrm>
            <a:off x="763234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6" name="Rechteck 125">
            <a:extLst>
              <a:ext uri="{FF2B5EF4-FFF2-40B4-BE49-F238E27FC236}">
                <a16:creationId xmlns:a16="http://schemas.microsoft.com/office/drawing/2014/main" id="{7E6BC365-543C-4D31-BFA5-1F5D3F063F87}"/>
              </a:ext>
            </a:extLst>
          </p:cNvPr>
          <p:cNvSpPr/>
          <p:nvPr/>
        </p:nvSpPr>
        <p:spPr>
          <a:xfrm>
            <a:off x="7632340" y="3429002"/>
            <a:ext cx="540060" cy="64807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602173F3-23C7-4053-9988-C13BB5391FBF}"/>
              </a:ext>
            </a:extLst>
          </p:cNvPr>
          <p:cNvSpPr/>
          <p:nvPr/>
        </p:nvSpPr>
        <p:spPr>
          <a:xfrm>
            <a:off x="7812360" y="4005066"/>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00" name="Gerade Verbindung 374">
            <a:extLst>
              <a:ext uri="{FF2B5EF4-FFF2-40B4-BE49-F238E27FC236}">
                <a16:creationId xmlns:a16="http://schemas.microsoft.com/office/drawing/2014/main" id="{F26FFC6B-80B3-4A5D-971B-0511E24BA789}"/>
              </a:ext>
            </a:extLst>
          </p:cNvPr>
          <p:cNvCxnSpPr>
            <a:cxnSpLocks/>
          </p:cNvCxnSpPr>
          <p:nvPr/>
        </p:nvCxnSpPr>
        <p:spPr>
          <a:xfrm>
            <a:off x="7632340" y="1844824"/>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374">
            <a:extLst>
              <a:ext uri="{FF2B5EF4-FFF2-40B4-BE49-F238E27FC236}">
                <a16:creationId xmlns:a16="http://schemas.microsoft.com/office/drawing/2014/main" id="{7F4B663C-198E-4333-9CB2-487758C81E49}"/>
              </a:ext>
            </a:extLst>
          </p:cNvPr>
          <p:cNvCxnSpPr>
            <a:cxnSpLocks/>
          </p:cNvCxnSpPr>
          <p:nvPr/>
        </p:nvCxnSpPr>
        <p:spPr>
          <a:xfrm>
            <a:off x="7992380" y="1916832"/>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Rechteck 129">
            <a:extLst>
              <a:ext uri="{FF2B5EF4-FFF2-40B4-BE49-F238E27FC236}">
                <a16:creationId xmlns:a16="http://schemas.microsoft.com/office/drawing/2014/main" id="{BFFA7774-7FD2-4DCC-8F0A-A230A206A963}"/>
              </a:ext>
            </a:extLst>
          </p:cNvPr>
          <p:cNvSpPr/>
          <p:nvPr/>
        </p:nvSpPr>
        <p:spPr>
          <a:xfrm>
            <a:off x="7992380" y="1844824"/>
            <a:ext cx="18002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1" name="Gerade Verbindung 374">
            <a:extLst>
              <a:ext uri="{FF2B5EF4-FFF2-40B4-BE49-F238E27FC236}">
                <a16:creationId xmlns:a16="http://schemas.microsoft.com/office/drawing/2014/main" id="{89DD4BB0-95B8-4FE8-8BFC-EEB8AEDF79F4}"/>
              </a:ext>
            </a:extLst>
          </p:cNvPr>
          <p:cNvCxnSpPr>
            <a:cxnSpLocks/>
          </p:cNvCxnSpPr>
          <p:nvPr/>
        </p:nvCxnSpPr>
        <p:spPr>
          <a:xfrm>
            <a:off x="7992380" y="2132856"/>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Rechteck 131">
            <a:extLst>
              <a:ext uri="{FF2B5EF4-FFF2-40B4-BE49-F238E27FC236}">
                <a16:creationId xmlns:a16="http://schemas.microsoft.com/office/drawing/2014/main" id="{FEB49574-7BCD-44D6-BEA8-BC2ED882E2CB}"/>
              </a:ext>
            </a:extLst>
          </p:cNvPr>
          <p:cNvSpPr/>
          <p:nvPr/>
        </p:nvSpPr>
        <p:spPr>
          <a:xfrm>
            <a:off x="7992380" y="2060848"/>
            <a:ext cx="180020"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a:extLst>
              <a:ext uri="{FF2B5EF4-FFF2-40B4-BE49-F238E27FC236}">
                <a16:creationId xmlns:a16="http://schemas.microsoft.com/office/drawing/2014/main" id="{025DD51C-69E1-49CF-8DF1-C460F4E76682}"/>
              </a:ext>
            </a:extLst>
          </p:cNvPr>
          <p:cNvSpPr/>
          <p:nvPr/>
        </p:nvSpPr>
        <p:spPr>
          <a:xfrm>
            <a:off x="7812360" y="2348880"/>
            <a:ext cx="180020" cy="720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5" name="Rechteck 134">
            <a:extLst>
              <a:ext uri="{FF2B5EF4-FFF2-40B4-BE49-F238E27FC236}">
                <a16:creationId xmlns:a16="http://schemas.microsoft.com/office/drawing/2014/main" id="{6EB6B212-FCDF-49BB-8E18-B3AF61B3B979}"/>
              </a:ext>
            </a:extLst>
          </p:cNvPr>
          <p:cNvSpPr/>
          <p:nvPr/>
        </p:nvSpPr>
        <p:spPr>
          <a:xfrm>
            <a:off x="6660232" y="134076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1, ending row = 1</a:t>
            </a:r>
          </a:p>
        </p:txBody>
      </p:sp>
      <p:sp>
        <p:nvSpPr>
          <p:cNvPr id="136" name="Rechteck 135">
            <a:extLst>
              <a:ext uri="{FF2B5EF4-FFF2-40B4-BE49-F238E27FC236}">
                <a16:creationId xmlns:a16="http://schemas.microsoft.com/office/drawing/2014/main" id="{65B8B994-F01B-46F5-88D2-A539B47F94F9}"/>
              </a:ext>
            </a:extLst>
          </p:cNvPr>
          <p:cNvSpPr/>
          <p:nvPr/>
        </p:nvSpPr>
        <p:spPr>
          <a:xfrm>
            <a:off x="7056276" y="2348880"/>
            <a:ext cx="360040" cy="144016"/>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7" name="Rechteck 136">
            <a:extLst>
              <a:ext uri="{FF2B5EF4-FFF2-40B4-BE49-F238E27FC236}">
                <a16:creationId xmlns:a16="http://schemas.microsoft.com/office/drawing/2014/main" id="{45B2E3BA-3EF2-4AEE-9252-17898B225969}"/>
              </a:ext>
            </a:extLst>
          </p:cNvPr>
          <p:cNvSpPr/>
          <p:nvPr/>
        </p:nvSpPr>
        <p:spPr>
          <a:xfrm>
            <a:off x="7056276" y="2348880"/>
            <a:ext cx="36004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8" name="Gerade Verbindung 374">
            <a:extLst>
              <a:ext uri="{FF2B5EF4-FFF2-40B4-BE49-F238E27FC236}">
                <a16:creationId xmlns:a16="http://schemas.microsoft.com/office/drawing/2014/main" id="{81E74DA1-6E6D-4C55-B05C-7EA3AF5CEEC4}"/>
              </a:ext>
            </a:extLst>
          </p:cNvPr>
          <p:cNvCxnSpPr>
            <a:cxnSpLocks/>
          </p:cNvCxnSpPr>
          <p:nvPr/>
        </p:nvCxnSpPr>
        <p:spPr>
          <a:xfrm>
            <a:off x="7056276" y="2420888"/>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AE5A43EE-EBDE-4E0F-B35D-C291D2FEFED3}"/>
              </a:ext>
            </a:extLst>
          </p:cNvPr>
          <p:cNvSpPr/>
          <p:nvPr/>
        </p:nvSpPr>
        <p:spPr>
          <a:xfrm>
            <a:off x="7056276" y="4005066"/>
            <a:ext cx="360040" cy="144016"/>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369BD4CF-7AC1-45BE-966B-7FEFA192479F}"/>
              </a:ext>
            </a:extLst>
          </p:cNvPr>
          <p:cNvSpPr/>
          <p:nvPr/>
        </p:nvSpPr>
        <p:spPr>
          <a:xfrm>
            <a:off x="6660232" y="29969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2, ending row = 2</a:t>
            </a:r>
          </a:p>
        </p:txBody>
      </p:sp>
      <p:cxnSp>
        <p:nvCxnSpPr>
          <p:cNvPr id="116" name="Gerade Verbindung 374">
            <a:extLst>
              <a:ext uri="{FF2B5EF4-FFF2-40B4-BE49-F238E27FC236}">
                <a16:creationId xmlns:a16="http://schemas.microsoft.com/office/drawing/2014/main" id="{B714C228-BD38-406F-90EE-4CE0E5BCBC6E}"/>
              </a:ext>
            </a:extLst>
          </p:cNvPr>
          <p:cNvCxnSpPr>
            <a:cxnSpLocks/>
          </p:cNvCxnSpPr>
          <p:nvPr/>
        </p:nvCxnSpPr>
        <p:spPr>
          <a:xfrm>
            <a:off x="6876256"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374">
            <a:extLst>
              <a:ext uri="{FF2B5EF4-FFF2-40B4-BE49-F238E27FC236}">
                <a16:creationId xmlns:a16="http://schemas.microsoft.com/office/drawing/2014/main" id="{FF424D1B-5ABB-4194-9B85-12A9F412908E}"/>
              </a:ext>
            </a:extLst>
          </p:cNvPr>
          <p:cNvCxnSpPr>
            <a:cxnSpLocks/>
          </p:cNvCxnSpPr>
          <p:nvPr/>
        </p:nvCxnSpPr>
        <p:spPr>
          <a:xfrm>
            <a:off x="7632340"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Rechteck 143">
            <a:extLst>
              <a:ext uri="{FF2B5EF4-FFF2-40B4-BE49-F238E27FC236}">
                <a16:creationId xmlns:a16="http://schemas.microsoft.com/office/drawing/2014/main" id="{1759BEFD-8972-49E2-90B8-4B17B4CF3070}"/>
              </a:ext>
            </a:extLst>
          </p:cNvPr>
          <p:cNvSpPr/>
          <p:nvPr/>
        </p:nvSpPr>
        <p:spPr>
          <a:xfrm>
            <a:off x="6876256" y="1556792"/>
            <a:ext cx="1296144" cy="7200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6B9E9599-3C08-42F1-ADFE-A9747748695D}"/>
              </a:ext>
            </a:extLst>
          </p:cNvPr>
          <p:cNvSpPr/>
          <p:nvPr/>
        </p:nvSpPr>
        <p:spPr>
          <a:xfrm>
            <a:off x="6876256" y="3212980"/>
            <a:ext cx="1296144" cy="72008"/>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4B485337-9336-47DF-AACA-6D442082D200}"/>
              </a:ext>
            </a:extLst>
          </p:cNvPr>
          <p:cNvSpPr/>
          <p:nvPr/>
        </p:nvSpPr>
        <p:spPr>
          <a:xfrm>
            <a:off x="6660232" y="267291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7 sub-tables are identified (7 colors).</a:t>
            </a:r>
          </a:p>
          <a:p>
            <a:r>
              <a:rPr lang="en-US" sz="700" dirty="0">
                <a:solidFill>
                  <a:schemeClr val="tx1"/>
                </a:solidFill>
              </a:rPr>
              <a:t>You can still filter the coordinates to remove</a:t>
            </a:r>
          </a:p>
          <a:p>
            <a:r>
              <a:rPr lang="en-US" sz="700" dirty="0">
                <a:solidFill>
                  <a:schemeClr val="tx1"/>
                </a:solidFill>
              </a:rPr>
              <a:t>small items like header rows.</a:t>
            </a:r>
          </a:p>
        </p:txBody>
      </p:sp>
      <p:sp>
        <p:nvSpPr>
          <p:cNvPr id="74" name="Rechteck 73">
            <a:extLst>
              <a:ext uri="{FF2B5EF4-FFF2-40B4-BE49-F238E27FC236}">
                <a16:creationId xmlns:a16="http://schemas.microsoft.com/office/drawing/2014/main" id="{A6DA4003-DA78-4CA3-BF52-8264EC52810F}"/>
              </a:ext>
            </a:extLst>
          </p:cNvPr>
          <p:cNvSpPr/>
          <p:nvPr/>
        </p:nvSpPr>
        <p:spPr>
          <a:xfrm>
            <a:off x="6876256" y="1772816"/>
            <a:ext cx="54006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973EE0D9-C835-49E8-B58D-11DA3A2DFA5A}"/>
              </a:ext>
            </a:extLst>
          </p:cNvPr>
          <p:cNvSpPr/>
          <p:nvPr/>
        </p:nvSpPr>
        <p:spPr>
          <a:xfrm>
            <a:off x="6876256" y="3429002"/>
            <a:ext cx="540060" cy="7200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11FDFB51-4941-49D9-9F42-D406763BD1C9}"/>
              </a:ext>
            </a:extLst>
          </p:cNvPr>
          <p:cNvSpPr/>
          <p:nvPr/>
        </p:nvSpPr>
        <p:spPr>
          <a:xfrm>
            <a:off x="6660232" y="4329100"/>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2 sub-tables identified (2 colors)</a:t>
            </a:r>
          </a:p>
          <a:p>
            <a:r>
              <a:rPr lang="en-US" sz="700" dirty="0">
                <a:solidFill>
                  <a:schemeClr val="tx1"/>
                </a:solidFill>
              </a:rPr>
              <a:t>The headline has been ignored (single row only).</a:t>
            </a:r>
          </a:p>
          <a:p>
            <a:r>
              <a:rPr lang="en-US" sz="700" dirty="0">
                <a:solidFill>
                  <a:schemeClr val="tx1"/>
                </a:solidFill>
              </a:rPr>
              <a:t>Note the vacant row included in the table.</a:t>
            </a:r>
          </a:p>
        </p:txBody>
      </p:sp>
    </p:spTree>
    <p:extLst>
      <p:ext uri="{BB962C8B-B14F-4D97-AF65-F5344CB8AC3E}">
        <p14:creationId xmlns:p14="http://schemas.microsoft.com/office/powerpoint/2010/main" val="152637863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hteck 210">
            <a:extLst>
              <a:ext uri="{FF2B5EF4-FFF2-40B4-BE49-F238E27FC236}">
                <a16:creationId xmlns:a16="http://schemas.microsoft.com/office/drawing/2014/main" id="{CFEFD849-710F-45AA-A57F-DD245E5B8D68}"/>
              </a:ext>
            </a:extLst>
          </p:cNvPr>
          <p:cNvSpPr/>
          <p:nvPr/>
        </p:nvSpPr>
        <p:spPr>
          <a:xfrm>
            <a:off x="7200372" y="1556920"/>
            <a:ext cx="792000" cy="648000"/>
          </a:xfrm>
          <a:prstGeom prst="rect">
            <a:avLst/>
          </a:prstGeom>
          <a:solidFill>
            <a:schemeClr val="bg1">
              <a:lumMod val="95000"/>
            </a:schemeClr>
          </a:solid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57" name="Rechteck 156">
            <a:extLst>
              <a:ext uri="{FF2B5EF4-FFF2-40B4-BE49-F238E27FC236}">
                <a16:creationId xmlns:a16="http://schemas.microsoft.com/office/drawing/2014/main" id="{8E72E50B-A001-4EBC-99C1-F8292DDF3AD9}"/>
              </a:ext>
            </a:extLst>
          </p:cNvPr>
          <p:cNvSpPr/>
          <p:nvPr/>
        </p:nvSpPr>
        <p:spPr>
          <a:xfrm>
            <a:off x="324130" y="1628870"/>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 name="Titel 1"/>
          <p:cNvSpPr>
            <a:spLocks noGrp="1"/>
          </p:cNvSpPr>
          <p:nvPr>
            <p:ph type="title"/>
          </p:nvPr>
        </p:nvSpPr>
        <p:spPr/>
        <p:txBody>
          <a:bodyPr/>
          <a:lstStyle/>
          <a:p>
            <a:r>
              <a:rPr lang="en-US" dirty="0"/>
              <a:t>table filter</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252000" y="137678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r>
              <a:rPr lang="en-US" sz="1000" baseline="30000" dirty="0">
                <a:solidFill>
                  <a:schemeClr val="tx1"/>
                </a:solidFill>
              </a:rPr>
              <a:t>th</a:t>
            </a:r>
            <a:r>
              <a:rPr lang="en-US" sz="1000" dirty="0">
                <a:solidFill>
                  <a:schemeClr val="tx1"/>
                </a:solidFill>
              </a:rPr>
              <a:t> Parameter "Inside Area" filter</a:t>
            </a:r>
          </a:p>
        </p:txBody>
      </p:sp>
      <p:sp>
        <p:nvSpPr>
          <p:cNvPr id="372" name="Rechteck 371"/>
          <p:cNvSpPr/>
          <p:nvPr/>
        </p:nvSpPr>
        <p:spPr>
          <a:xfrm>
            <a:off x="252000" y="1520804"/>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24130" y="195290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25164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filter ( source table, coordinates[ ], ... )</a:t>
            </a:r>
          </a:p>
        </p:txBody>
      </p:sp>
      <p:sp>
        <p:nvSpPr>
          <p:cNvPr id="47" name="Rechteck 46"/>
          <p:cNvSpPr/>
          <p:nvPr/>
        </p:nvSpPr>
        <p:spPr>
          <a:xfrm>
            <a:off x="1116218" y="213292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764290" y="1988910"/>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116218" y="220493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764290" y="2060918"/>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324130" y="202491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324130" y="2708990"/>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324130" y="2781056"/>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a:extLst>
              <a:ext uri="{FF2B5EF4-FFF2-40B4-BE49-F238E27FC236}">
                <a16:creationId xmlns:a16="http://schemas.microsoft.com/office/drawing/2014/main" id="{FCC0FD70-A2A7-4659-ABFF-03725E9055FD}"/>
              </a:ext>
            </a:extLst>
          </p:cNvPr>
          <p:cNvSpPr/>
          <p:nvPr/>
        </p:nvSpPr>
        <p:spPr>
          <a:xfrm>
            <a:off x="540154" y="170093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59" name="Gerade Verbindung mit Pfeil 158">
            <a:extLst>
              <a:ext uri="{FF2B5EF4-FFF2-40B4-BE49-F238E27FC236}">
                <a16:creationId xmlns:a16="http://schemas.microsoft.com/office/drawing/2014/main" id="{120419FD-3E78-46EC-8D99-54A03B2F26C7}"/>
              </a:ext>
            </a:extLst>
          </p:cNvPr>
          <p:cNvCxnSpPr>
            <a:cxnSpLocks/>
            <a:stCxn id="158" idx="1"/>
          </p:cNvCxnSpPr>
          <p:nvPr/>
        </p:nvCxnSpPr>
        <p:spPr>
          <a:xfrm flipH="1" flipV="1">
            <a:off x="324130" y="1628928"/>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5FBD7359-304E-4C3E-B74B-C1BF48FB5ED2}"/>
              </a:ext>
            </a:extLst>
          </p:cNvPr>
          <p:cNvCxnSpPr>
            <a:cxnSpLocks/>
          </p:cNvCxnSpPr>
          <p:nvPr/>
        </p:nvCxnSpPr>
        <p:spPr>
          <a:xfrm flipH="1" flipV="1">
            <a:off x="1764290" y="2997080"/>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61" name="Rechteck 160">
            <a:extLst>
              <a:ext uri="{FF2B5EF4-FFF2-40B4-BE49-F238E27FC236}">
                <a16:creationId xmlns:a16="http://schemas.microsoft.com/office/drawing/2014/main" id="{A1556F82-9C0F-4FCE-93E5-731710F51674}"/>
              </a:ext>
            </a:extLst>
          </p:cNvPr>
          <p:cNvSpPr/>
          <p:nvPr/>
        </p:nvSpPr>
        <p:spPr>
          <a:xfrm>
            <a:off x="1368246" y="314109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62" name="Rechteck 161">
            <a:extLst>
              <a:ext uri="{FF2B5EF4-FFF2-40B4-BE49-F238E27FC236}">
                <a16:creationId xmlns:a16="http://schemas.microsoft.com/office/drawing/2014/main" id="{D58968BA-ACE2-45D9-99A7-E25856235E39}"/>
              </a:ext>
            </a:extLst>
          </p:cNvPr>
          <p:cNvSpPr/>
          <p:nvPr/>
        </p:nvSpPr>
        <p:spPr>
          <a:xfrm>
            <a:off x="252122"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are entirely inside the gray</a:t>
            </a:r>
          </a:p>
          <a:p>
            <a:r>
              <a:rPr lang="en-US" sz="1000" dirty="0">
                <a:solidFill>
                  <a:schemeClr val="tx1"/>
                </a:solidFill>
              </a:rPr>
              <a:t>table will pass.</a:t>
            </a:r>
          </a:p>
        </p:txBody>
      </p:sp>
      <p:sp>
        <p:nvSpPr>
          <p:cNvPr id="164" name="Rechteck 163">
            <a:extLst>
              <a:ext uri="{FF2B5EF4-FFF2-40B4-BE49-F238E27FC236}">
                <a16:creationId xmlns:a16="http://schemas.microsoft.com/office/drawing/2014/main" id="{19A9589F-F471-48F0-8E94-F973153F4DDA}"/>
              </a:ext>
            </a:extLst>
          </p:cNvPr>
          <p:cNvSpPr/>
          <p:nvPr/>
        </p:nvSpPr>
        <p:spPr>
          <a:xfrm>
            <a:off x="2556098" y="1628986"/>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65" name="Rechteck 164">
            <a:extLst>
              <a:ext uri="{FF2B5EF4-FFF2-40B4-BE49-F238E27FC236}">
                <a16:creationId xmlns:a16="http://schemas.microsoft.com/office/drawing/2014/main" id="{7D5261A7-004E-4D8C-80B6-D727042F1B91}"/>
              </a:ext>
            </a:extLst>
          </p:cNvPr>
          <p:cNvSpPr/>
          <p:nvPr/>
        </p:nvSpPr>
        <p:spPr>
          <a:xfrm>
            <a:off x="2483968" y="13769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6</a:t>
            </a:r>
            <a:r>
              <a:rPr lang="en-US" sz="1000" baseline="30000" dirty="0">
                <a:solidFill>
                  <a:schemeClr val="tx1"/>
                </a:solidFill>
              </a:rPr>
              <a:t>th</a:t>
            </a:r>
            <a:r>
              <a:rPr lang="en-US" sz="1000" dirty="0">
                <a:solidFill>
                  <a:schemeClr val="tx1"/>
                </a:solidFill>
              </a:rPr>
              <a:t> Parameter "Overlay Area" filter</a:t>
            </a:r>
          </a:p>
        </p:txBody>
      </p:sp>
      <p:sp>
        <p:nvSpPr>
          <p:cNvPr id="166" name="Rechteck 165">
            <a:extLst>
              <a:ext uri="{FF2B5EF4-FFF2-40B4-BE49-F238E27FC236}">
                <a16:creationId xmlns:a16="http://schemas.microsoft.com/office/drawing/2014/main" id="{DF8E35BF-82A5-4B0F-AA91-76AC0BCBA3BF}"/>
              </a:ext>
            </a:extLst>
          </p:cNvPr>
          <p:cNvSpPr/>
          <p:nvPr/>
        </p:nvSpPr>
        <p:spPr>
          <a:xfrm>
            <a:off x="2483968" y="152092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8E5DB688-8228-464A-BF65-3070DF952D01}"/>
              </a:ext>
            </a:extLst>
          </p:cNvPr>
          <p:cNvSpPr/>
          <p:nvPr/>
        </p:nvSpPr>
        <p:spPr>
          <a:xfrm>
            <a:off x="2556098" y="195302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68" name="Rechteck 167">
            <a:extLst>
              <a:ext uri="{FF2B5EF4-FFF2-40B4-BE49-F238E27FC236}">
                <a16:creationId xmlns:a16="http://schemas.microsoft.com/office/drawing/2014/main" id="{AAC74941-F71E-40EB-AD3F-11D6012ED15B}"/>
              </a:ext>
            </a:extLst>
          </p:cNvPr>
          <p:cNvSpPr/>
          <p:nvPr/>
        </p:nvSpPr>
        <p:spPr>
          <a:xfrm>
            <a:off x="3348186" y="213304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169" name="Rechteck 168">
            <a:extLst>
              <a:ext uri="{FF2B5EF4-FFF2-40B4-BE49-F238E27FC236}">
                <a16:creationId xmlns:a16="http://schemas.microsoft.com/office/drawing/2014/main" id="{0F166318-0594-4C64-8473-2A93A1CCCA69}"/>
              </a:ext>
            </a:extLst>
          </p:cNvPr>
          <p:cNvSpPr/>
          <p:nvPr/>
        </p:nvSpPr>
        <p:spPr>
          <a:xfrm>
            <a:off x="3996258" y="198902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170" name="Rechteck 169">
            <a:extLst>
              <a:ext uri="{FF2B5EF4-FFF2-40B4-BE49-F238E27FC236}">
                <a16:creationId xmlns:a16="http://schemas.microsoft.com/office/drawing/2014/main" id="{8DE0683A-CCF8-4D61-95CC-0FE8DEBE68AC}"/>
              </a:ext>
            </a:extLst>
          </p:cNvPr>
          <p:cNvSpPr/>
          <p:nvPr/>
        </p:nvSpPr>
        <p:spPr>
          <a:xfrm>
            <a:off x="3348186" y="220505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702D65F6-13AB-48E5-A894-9FF405D77467}"/>
              </a:ext>
            </a:extLst>
          </p:cNvPr>
          <p:cNvSpPr/>
          <p:nvPr/>
        </p:nvSpPr>
        <p:spPr>
          <a:xfrm>
            <a:off x="3996258" y="206103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0345E048-BCE7-43D5-B713-0E8178EA6773}"/>
              </a:ext>
            </a:extLst>
          </p:cNvPr>
          <p:cNvSpPr/>
          <p:nvPr/>
        </p:nvSpPr>
        <p:spPr>
          <a:xfrm>
            <a:off x="2556098" y="202503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24B46C2E-53EA-407C-9EFB-777D46EF255E}"/>
              </a:ext>
            </a:extLst>
          </p:cNvPr>
          <p:cNvSpPr/>
          <p:nvPr/>
        </p:nvSpPr>
        <p:spPr>
          <a:xfrm>
            <a:off x="2556098" y="270910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174" name="Rechteck 173">
            <a:extLst>
              <a:ext uri="{FF2B5EF4-FFF2-40B4-BE49-F238E27FC236}">
                <a16:creationId xmlns:a16="http://schemas.microsoft.com/office/drawing/2014/main" id="{F96BFB8A-F51E-43F7-AB4C-C3924CF45C11}"/>
              </a:ext>
            </a:extLst>
          </p:cNvPr>
          <p:cNvSpPr/>
          <p:nvPr/>
        </p:nvSpPr>
        <p:spPr>
          <a:xfrm>
            <a:off x="2556098" y="2781172"/>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93508877-4445-49D2-A10D-94824EADAC7A}"/>
              </a:ext>
            </a:extLst>
          </p:cNvPr>
          <p:cNvSpPr/>
          <p:nvPr/>
        </p:nvSpPr>
        <p:spPr>
          <a:xfrm>
            <a:off x="2772122" y="17010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76" name="Gerade Verbindung mit Pfeil 175">
            <a:extLst>
              <a:ext uri="{FF2B5EF4-FFF2-40B4-BE49-F238E27FC236}">
                <a16:creationId xmlns:a16="http://schemas.microsoft.com/office/drawing/2014/main" id="{8D8E422C-E636-448B-8863-F20259F2B3F4}"/>
              </a:ext>
            </a:extLst>
          </p:cNvPr>
          <p:cNvCxnSpPr>
            <a:cxnSpLocks/>
            <a:stCxn id="175" idx="1"/>
          </p:cNvCxnSpPr>
          <p:nvPr/>
        </p:nvCxnSpPr>
        <p:spPr>
          <a:xfrm flipH="1" flipV="1">
            <a:off x="2556098" y="1629044"/>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65ABAC44-8971-4DB7-8C38-3CF5A0B9910B}"/>
              </a:ext>
            </a:extLst>
          </p:cNvPr>
          <p:cNvCxnSpPr>
            <a:cxnSpLocks/>
          </p:cNvCxnSpPr>
          <p:nvPr/>
        </p:nvCxnSpPr>
        <p:spPr>
          <a:xfrm flipH="1" flipV="1">
            <a:off x="3996258" y="2997196"/>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78" name="Rechteck 177">
            <a:extLst>
              <a:ext uri="{FF2B5EF4-FFF2-40B4-BE49-F238E27FC236}">
                <a16:creationId xmlns:a16="http://schemas.microsoft.com/office/drawing/2014/main" id="{107A8E4F-A899-48F5-96A9-5C9F09D9C996}"/>
              </a:ext>
            </a:extLst>
          </p:cNvPr>
          <p:cNvSpPr/>
          <p:nvPr/>
        </p:nvSpPr>
        <p:spPr>
          <a:xfrm>
            <a:off x="3600214" y="3141212"/>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79" name="Rechteck 178">
            <a:extLst>
              <a:ext uri="{FF2B5EF4-FFF2-40B4-BE49-F238E27FC236}">
                <a16:creationId xmlns:a16="http://schemas.microsoft.com/office/drawing/2014/main" id="{89FE5407-E96D-4392-948A-842F7A57A0DC}"/>
              </a:ext>
            </a:extLst>
          </p:cNvPr>
          <p:cNvSpPr/>
          <p:nvPr/>
        </p:nvSpPr>
        <p:spPr>
          <a:xfrm>
            <a:off x="2483768"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do at least partially overlay the</a:t>
            </a:r>
            <a:br>
              <a:rPr lang="en-US" sz="1000" dirty="0">
                <a:solidFill>
                  <a:schemeClr val="tx1"/>
                </a:solidFill>
              </a:rPr>
            </a:br>
            <a:r>
              <a:rPr lang="en-US" sz="1000" dirty="0">
                <a:solidFill>
                  <a:schemeClr val="tx1"/>
                </a:solidFill>
              </a:rPr>
              <a:t>specified range will pass.</a:t>
            </a:r>
          </a:p>
        </p:txBody>
      </p:sp>
      <p:sp>
        <p:nvSpPr>
          <p:cNvPr id="196" name="Rechteck 195">
            <a:extLst>
              <a:ext uri="{FF2B5EF4-FFF2-40B4-BE49-F238E27FC236}">
                <a16:creationId xmlns:a16="http://schemas.microsoft.com/office/drawing/2014/main" id="{13D417A4-42A6-4CA5-88FA-9C0FE429A6CD}"/>
              </a:ext>
            </a:extLst>
          </p:cNvPr>
          <p:cNvSpPr/>
          <p:nvPr/>
        </p:nvSpPr>
        <p:spPr>
          <a:xfrm>
            <a:off x="4716016" y="13767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7</a:t>
            </a:r>
            <a:r>
              <a:rPr lang="en-US" sz="1000" baseline="30000" dirty="0">
                <a:solidFill>
                  <a:schemeClr val="tx1"/>
                </a:solidFill>
              </a:rPr>
              <a:t>th</a:t>
            </a:r>
            <a:r>
              <a:rPr lang="en-US" sz="1000" dirty="0">
                <a:solidFill>
                  <a:schemeClr val="tx1"/>
                </a:solidFill>
              </a:rPr>
              <a:t> Parameter "Size" filter</a:t>
            </a:r>
          </a:p>
        </p:txBody>
      </p:sp>
      <p:sp>
        <p:nvSpPr>
          <p:cNvPr id="197" name="Rechteck 196">
            <a:extLst>
              <a:ext uri="{FF2B5EF4-FFF2-40B4-BE49-F238E27FC236}">
                <a16:creationId xmlns:a16="http://schemas.microsoft.com/office/drawing/2014/main" id="{4E28D2DF-644E-40FA-9670-A03E25268D02}"/>
              </a:ext>
            </a:extLst>
          </p:cNvPr>
          <p:cNvSpPr/>
          <p:nvPr/>
        </p:nvSpPr>
        <p:spPr>
          <a:xfrm>
            <a:off x="4716016" y="1520792"/>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a:extLst>
              <a:ext uri="{FF2B5EF4-FFF2-40B4-BE49-F238E27FC236}">
                <a16:creationId xmlns:a16="http://schemas.microsoft.com/office/drawing/2014/main" id="{D40106D6-CC60-4E3C-AA84-937DC1875658}"/>
              </a:ext>
            </a:extLst>
          </p:cNvPr>
          <p:cNvSpPr/>
          <p:nvPr/>
        </p:nvSpPr>
        <p:spPr>
          <a:xfrm>
            <a:off x="4788146" y="1952894"/>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99" name="Rechteck 198">
            <a:extLst>
              <a:ext uri="{FF2B5EF4-FFF2-40B4-BE49-F238E27FC236}">
                <a16:creationId xmlns:a16="http://schemas.microsoft.com/office/drawing/2014/main" id="{33480A47-FC87-4C77-9B69-3C087735DB56}"/>
              </a:ext>
            </a:extLst>
          </p:cNvPr>
          <p:cNvSpPr/>
          <p:nvPr/>
        </p:nvSpPr>
        <p:spPr>
          <a:xfrm>
            <a:off x="5580234" y="213291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200" name="Rechteck 199">
            <a:extLst>
              <a:ext uri="{FF2B5EF4-FFF2-40B4-BE49-F238E27FC236}">
                <a16:creationId xmlns:a16="http://schemas.microsoft.com/office/drawing/2014/main" id="{320C7300-E703-416B-977F-3C03EFC76447}"/>
              </a:ext>
            </a:extLst>
          </p:cNvPr>
          <p:cNvSpPr/>
          <p:nvPr/>
        </p:nvSpPr>
        <p:spPr>
          <a:xfrm>
            <a:off x="6228306" y="1988898"/>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201" name="Rechteck 200">
            <a:extLst>
              <a:ext uri="{FF2B5EF4-FFF2-40B4-BE49-F238E27FC236}">
                <a16:creationId xmlns:a16="http://schemas.microsoft.com/office/drawing/2014/main" id="{B2EE3F56-61AD-4BDD-9281-B21854E59B77}"/>
              </a:ext>
            </a:extLst>
          </p:cNvPr>
          <p:cNvSpPr/>
          <p:nvPr/>
        </p:nvSpPr>
        <p:spPr>
          <a:xfrm>
            <a:off x="5580234" y="220492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2" name="Rechteck 201">
            <a:extLst>
              <a:ext uri="{FF2B5EF4-FFF2-40B4-BE49-F238E27FC236}">
                <a16:creationId xmlns:a16="http://schemas.microsoft.com/office/drawing/2014/main" id="{715E3F49-23AE-4435-BF85-0C0C95AF663E}"/>
              </a:ext>
            </a:extLst>
          </p:cNvPr>
          <p:cNvSpPr/>
          <p:nvPr/>
        </p:nvSpPr>
        <p:spPr>
          <a:xfrm>
            <a:off x="6228306" y="2060906"/>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F03443EF-92EC-476C-A2F8-D44D978BFBA6}"/>
              </a:ext>
            </a:extLst>
          </p:cNvPr>
          <p:cNvSpPr/>
          <p:nvPr/>
        </p:nvSpPr>
        <p:spPr>
          <a:xfrm>
            <a:off x="4788146" y="2024902"/>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4" name="Rechteck 203">
            <a:extLst>
              <a:ext uri="{FF2B5EF4-FFF2-40B4-BE49-F238E27FC236}">
                <a16:creationId xmlns:a16="http://schemas.microsoft.com/office/drawing/2014/main" id="{6F493D9E-1505-44C8-A3C0-6A27086E6B97}"/>
              </a:ext>
            </a:extLst>
          </p:cNvPr>
          <p:cNvSpPr/>
          <p:nvPr/>
        </p:nvSpPr>
        <p:spPr>
          <a:xfrm>
            <a:off x="4788146" y="2708978"/>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205" name="Rechteck 204">
            <a:extLst>
              <a:ext uri="{FF2B5EF4-FFF2-40B4-BE49-F238E27FC236}">
                <a16:creationId xmlns:a16="http://schemas.microsoft.com/office/drawing/2014/main" id="{794A7860-A2FA-4214-9305-1BDB4E63469A}"/>
              </a:ext>
            </a:extLst>
          </p:cNvPr>
          <p:cNvSpPr/>
          <p:nvPr/>
        </p:nvSpPr>
        <p:spPr>
          <a:xfrm>
            <a:off x="4788146" y="278104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a:extLst>
              <a:ext uri="{FF2B5EF4-FFF2-40B4-BE49-F238E27FC236}">
                <a16:creationId xmlns:a16="http://schemas.microsoft.com/office/drawing/2014/main" id="{A47A0C80-4F10-4BB8-966C-9A5396BA3A27}"/>
              </a:ext>
            </a:extLst>
          </p:cNvPr>
          <p:cNvSpPr/>
          <p:nvPr/>
        </p:nvSpPr>
        <p:spPr>
          <a:xfrm>
            <a:off x="7200372" y="1556920"/>
            <a:ext cx="504000" cy="504000"/>
          </a:xfrm>
          <a:prstGeom prst="rect">
            <a:avLst/>
          </a:prstGeom>
          <a:solidFill>
            <a:schemeClr val="bg1">
              <a:lumMod val="95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cxnSp>
        <p:nvCxnSpPr>
          <p:cNvPr id="214" name="Gerade Verbindung mit Pfeil 213">
            <a:extLst>
              <a:ext uri="{FF2B5EF4-FFF2-40B4-BE49-F238E27FC236}">
                <a16:creationId xmlns:a16="http://schemas.microsoft.com/office/drawing/2014/main" id="{601DB4A0-8EF6-4314-98AE-16CFD05AA716}"/>
              </a:ext>
            </a:extLst>
          </p:cNvPr>
          <p:cNvCxnSpPr>
            <a:cxnSpLocks/>
          </p:cNvCxnSpPr>
          <p:nvPr/>
        </p:nvCxnSpPr>
        <p:spPr>
          <a:xfrm flipV="1">
            <a:off x="7272300" y="2060920"/>
            <a:ext cx="432072" cy="36009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5" name="Rechteck 214">
            <a:extLst>
              <a:ext uri="{FF2B5EF4-FFF2-40B4-BE49-F238E27FC236}">
                <a16:creationId xmlns:a16="http://schemas.microsoft.com/office/drawing/2014/main" id="{B67112AE-71AF-425A-854B-95F6656EEE8E}"/>
              </a:ext>
            </a:extLst>
          </p:cNvPr>
          <p:cNvSpPr/>
          <p:nvPr/>
        </p:nvSpPr>
        <p:spPr>
          <a:xfrm>
            <a:off x="7164288" y="242101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in, y min)</a:t>
            </a:r>
          </a:p>
        </p:txBody>
      </p:sp>
      <p:cxnSp>
        <p:nvCxnSpPr>
          <p:cNvPr id="216" name="Gerade Verbindung mit Pfeil 215">
            <a:extLst>
              <a:ext uri="{FF2B5EF4-FFF2-40B4-BE49-F238E27FC236}">
                <a16:creationId xmlns:a16="http://schemas.microsoft.com/office/drawing/2014/main" id="{741B7815-7B4F-4E77-959A-C197FE346A86}"/>
              </a:ext>
            </a:extLst>
          </p:cNvPr>
          <p:cNvCxnSpPr>
            <a:cxnSpLocks/>
          </p:cNvCxnSpPr>
          <p:nvPr/>
        </p:nvCxnSpPr>
        <p:spPr>
          <a:xfrm flipV="1">
            <a:off x="7776356" y="2204992"/>
            <a:ext cx="216024" cy="432044"/>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7" name="Rechteck 216">
            <a:extLst>
              <a:ext uri="{FF2B5EF4-FFF2-40B4-BE49-F238E27FC236}">
                <a16:creationId xmlns:a16="http://schemas.microsoft.com/office/drawing/2014/main" id="{D39727EC-99BF-4428-9988-8A39221C2E84}"/>
              </a:ext>
            </a:extLst>
          </p:cNvPr>
          <p:cNvSpPr/>
          <p:nvPr/>
        </p:nvSpPr>
        <p:spPr>
          <a:xfrm>
            <a:off x="7452320" y="2673040"/>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ax, y ,ax)</a:t>
            </a:r>
          </a:p>
        </p:txBody>
      </p:sp>
      <p:sp>
        <p:nvSpPr>
          <p:cNvPr id="218" name="Rechteck 217">
            <a:extLst>
              <a:ext uri="{FF2B5EF4-FFF2-40B4-BE49-F238E27FC236}">
                <a16:creationId xmlns:a16="http://schemas.microsoft.com/office/drawing/2014/main" id="{D093F0AF-605B-4258-A578-34C7B22F1969}"/>
              </a:ext>
            </a:extLst>
          </p:cNvPr>
          <p:cNvSpPr/>
          <p:nvPr/>
        </p:nvSpPr>
        <p:spPr>
          <a:xfrm>
            <a:off x="6228016" y="198910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19" name="Rechteck 218">
            <a:extLst>
              <a:ext uri="{FF2B5EF4-FFF2-40B4-BE49-F238E27FC236}">
                <a16:creationId xmlns:a16="http://schemas.microsoft.com/office/drawing/2014/main" id="{7DF6777F-B278-45FD-9B25-51B367CE97E6}"/>
              </a:ext>
            </a:extLst>
          </p:cNvPr>
          <p:cNvSpPr/>
          <p:nvPr/>
        </p:nvSpPr>
        <p:spPr>
          <a:xfrm>
            <a:off x="6228016" y="1989104"/>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1" name="Rechteck 220">
            <a:extLst>
              <a:ext uri="{FF2B5EF4-FFF2-40B4-BE49-F238E27FC236}">
                <a16:creationId xmlns:a16="http://schemas.microsoft.com/office/drawing/2014/main" id="{68CF799F-CEBA-4DE6-8BBB-D69EE7D85B96}"/>
              </a:ext>
            </a:extLst>
          </p:cNvPr>
          <p:cNvSpPr/>
          <p:nvPr/>
        </p:nvSpPr>
        <p:spPr>
          <a:xfrm>
            <a:off x="5580016" y="213310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0" name="Rechteck 219">
            <a:extLst>
              <a:ext uri="{FF2B5EF4-FFF2-40B4-BE49-F238E27FC236}">
                <a16:creationId xmlns:a16="http://schemas.microsoft.com/office/drawing/2014/main" id="{8FDA29D1-0A3D-42FD-9D5E-13E620498EFA}"/>
              </a:ext>
            </a:extLst>
          </p:cNvPr>
          <p:cNvSpPr/>
          <p:nvPr/>
        </p:nvSpPr>
        <p:spPr>
          <a:xfrm>
            <a:off x="5580016" y="2133104"/>
            <a:ext cx="792000" cy="648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2" name="Rechteck 221">
            <a:extLst>
              <a:ext uri="{FF2B5EF4-FFF2-40B4-BE49-F238E27FC236}">
                <a16:creationId xmlns:a16="http://schemas.microsoft.com/office/drawing/2014/main" id="{31E80ED4-F1B7-4F76-AF1F-E834ADBA3928}"/>
              </a:ext>
            </a:extLst>
          </p:cNvPr>
          <p:cNvSpPr/>
          <p:nvPr/>
        </p:nvSpPr>
        <p:spPr>
          <a:xfrm>
            <a:off x="4788016" y="195296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3" name="Rechteck 222">
            <a:extLst>
              <a:ext uri="{FF2B5EF4-FFF2-40B4-BE49-F238E27FC236}">
                <a16:creationId xmlns:a16="http://schemas.microsoft.com/office/drawing/2014/main" id="{1061FD5B-2261-4AF5-A28B-E83CD7A30085}"/>
              </a:ext>
            </a:extLst>
          </p:cNvPr>
          <p:cNvSpPr/>
          <p:nvPr/>
        </p:nvSpPr>
        <p:spPr>
          <a:xfrm>
            <a:off x="4788016" y="195296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4" name="Rechteck 223">
            <a:extLst>
              <a:ext uri="{FF2B5EF4-FFF2-40B4-BE49-F238E27FC236}">
                <a16:creationId xmlns:a16="http://schemas.microsoft.com/office/drawing/2014/main" id="{40440876-1672-4386-B11C-B6FC08DEF0D4}"/>
              </a:ext>
            </a:extLst>
          </p:cNvPr>
          <p:cNvSpPr/>
          <p:nvPr/>
        </p:nvSpPr>
        <p:spPr>
          <a:xfrm>
            <a:off x="4788104" y="2709048"/>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5" name="Rechteck 224">
            <a:extLst>
              <a:ext uri="{FF2B5EF4-FFF2-40B4-BE49-F238E27FC236}">
                <a16:creationId xmlns:a16="http://schemas.microsoft.com/office/drawing/2014/main" id="{478F2AF7-B7C2-4706-9BD3-D396877D2861}"/>
              </a:ext>
            </a:extLst>
          </p:cNvPr>
          <p:cNvSpPr/>
          <p:nvPr/>
        </p:nvSpPr>
        <p:spPr>
          <a:xfrm>
            <a:off x="4788104" y="2709048"/>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6" name="Rechteck 225">
            <a:extLst>
              <a:ext uri="{FF2B5EF4-FFF2-40B4-BE49-F238E27FC236}">
                <a16:creationId xmlns:a16="http://schemas.microsoft.com/office/drawing/2014/main" id="{A3BB05B4-BDC2-4BC2-A79B-6B67EB1A9F68}"/>
              </a:ext>
            </a:extLst>
          </p:cNvPr>
          <p:cNvSpPr/>
          <p:nvPr/>
        </p:nvSpPr>
        <p:spPr>
          <a:xfrm>
            <a:off x="4716016"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tables with lengths inside</a:t>
            </a:r>
          </a:p>
          <a:p>
            <a:r>
              <a:rPr lang="en-US" sz="1000" dirty="0" err="1">
                <a:solidFill>
                  <a:schemeClr val="tx1"/>
                </a:solidFill>
              </a:rPr>
              <a:t>y_min</a:t>
            </a:r>
            <a:r>
              <a:rPr lang="en-US" sz="1000" dirty="0">
                <a:solidFill>
                  <a:schemeClr val="tx1"/>
                </a:solidFill>
              </a:rPr>
              <a:t> ... </a:t>
            </a:r>
            <a:r>
              <a:rPr lang="en-US" sz="1000" dirty="0" err="1">
                <a:solidFill>
                  <a:schemeClr val="tx1"/>
                </a:solidFill>
              </a:rPr>
              <a:t>y_max</a:t>
            </a:r>
            <a:r>
              <a:rPr lang="en-US" sz="1000" dirty="0">
                <a:solidFill>
                  <a:schemeClr val="tx1"/>
                </a:solidFill>
              </a:rPr>
              <a:t> range and widths</a:t>
            </a:r>
            <a:br>
              <a:rPr lang="en-US" sz="1000" dirty="0">
                <a:solidFill>
                  <a:schemeClr val="tx1"/>
                </a:solidFill>
              </a:rPr>
            </a:br>
            <a:r>
              <a:rPr lang="en-US" sz="1000" dirty="0">
                <a:solidFill>
                  <a:schemeClr val="tx1"/>
                </a:solidFill>
              </a:rPr>
              <a:t>inside </a:t>
            </a:r>
            <a:r>
              <a:rPr lang="en-US" sz="1000" dirty="0" err="1">
                <a:solidFill>
                  <a:schemeClr val="tx1"/>
                </a:solidFill>
              </a:rPr>
              <a:t>x_min</a:t>
            </a:r>
            <a:r>
              <a:rPr lang="en-US" sz="1000" dirty="0">
                <a:solidFill>
                  <a:schemeClr val="tx1"/>
                </a:solidFill>
              </a:rPr>
              <a:t> ... </a:t>
            </a:r>
            <a:r>
              <a:rPr lang="en-US" sz="1000" dirty="0" err="1">
                <a:solidFill>
                  <a:schemeClr val="tx1"/>
                </a:solidFill>
              </a:rPr>
              <a:t>x_max</a:t>
            </a:r>
            <a:r>
              <a:rPr lang="en-US" sz="1000" dirty="0">
                <a:solidFill>
                  <a:schemeClr val="tx1"/>
                </a:solidFill>
              </a:rPr>
              <a:t> range are</a:t>
            </a:r>
          </a:p>
          <a:p>
            <a:r>
              <a:rPr lang="en-US" sz="1000" dirty="0">
                <a:solidFill>
                  <a:schemeClr val="tx1"/>
                </a:solidFill>
              </a:rPr>
              <a:t>passed.</a:t>
            </a:r>
          </a:p>
        </p:txBody>
      </p:sp>
      <p:sp>
        <p:nvSpPr>
          <p:cNvPr id="3" name="Ellipse 2">
            <a:extLst>
              <a:ext uri="{FF2B5EF4-FFF2-40B4-BE49-F238E27FC236}">
                <a16:creationId xmlns:a16="http://schemas.microsoft.com/office/drawing/2014/main" id="{A597B4F3-383A-4B9C-AA42-C87614660856}"/>
              </a:ext>
            </a:extLst>
          </p:cNvPr>
          <p:cNvSpPr/>
          <p:nvPr/>
        </p:nvSpPr>
        <p:spPr>
          <a:xfrm>
            <a:off x="1475656"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4" name="Ellipse 63">
            <a:extLst>
              <a:ext uri="{FF2B5EF4-FFF2-40B4-BE49-F238E27FC236}">
                <a16:creationId xmlns:a16="http://schemas.microsoft.com/office/drawing/2014/main" id="{A9CBAEC8-8D11-4FC3-9391-D57AD79C96D0}"/>
              </a:ext>
            </a:extLst>
          </p:cNvPr>
          <p:cNvSpPr/>
          <p:nvPr/>
        </p:nvSpPr>
        <p:spPr>
          <a:xfrm>
            <a:off x="719572"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 name="Gerader Verbinder 5">
            <a:extLst>
              <a:ext uri="{FF2B5EF4-FFF2-40B4-BE49-F238E27FC236}">
                <a16:creationId xmlns:a16="http://schemas.microsoft.com/office/drawing/2014/main" id="{69CF14C0-D39B-4231-85E3-42B2255B1E57}"/>
              </a:ext>
            </a:extLst>
          </p:cNvPr>
          <p:cNvCxnSpPr>
            <a:stCxn id="64" idx="1"/>
            <a:endCxn id="64" idx="5"/>
          </p:cNvCxnSpPr>
          <p:nvPr/>
        </p:nvCxnSpPr>
        <p:spPr>
          <a:xfrm>
            <a:off x="751208" y="263254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Ellipse 67">
            <a:extLst>
              <a:ext uri="{FF2B5EF4-FFF2-40B4-BE49-F238E27FC236}">
                <a16:creationId xmlns:a16="http://schemas.microsoft.com/office/drawing/2014/main" id="{2E26661E-80AE-41E5-96F3-A0D00A8C9BEB}"/>
              </a:ext>
            </a:extLst>
          </p:cNvPr>
          <p:cNvSpPr/>
          <p:nvPr/>
        </p:nvSpPr>
        <p:spPr>
          <a:xfrm>
            <a:off x="2951820"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9" name="Ellipse 68">
            <a:extLst>
              <a:ext uri="{FF2B5EF4-FFF2-40B4-BE49-F238E27FC236}">
                <a16:creationId xmlns:a16="http://schemas.microsoft.com/office/drawing/2014/main" id="{A8986B0E-EC4C-48A0-923C-A06DE2256B85}"/>
              </a:ext>
            </a:extLst>
          </p:cNvPr>
          <p:cNvSpPr/>
          <p:nvPr/>
        </p:nvSpPr>
        <p:spPr>
          <a:xfrm>
            <a:off x="3707904"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0" name="Ellipse 69">
            <a:extLst>
              <a:ext uri="{FF2B5EF4-FFF2-40B4-BE49-F238E27FC236}">
                <a16:creationId xmlns:a16="http://schemas.microsoft.com/office/drawing/2014/main" id="{DDA4C495-ACAD-4744-B54C-1367C0132EE3}"/>
              </a:ext>
            </a:extLst>
          </p:cNvPr>
          <p:cNvSpPr/>
          <p:nvPr/>
        </p:nvSpPr>
        <p:spPr>
          <a:xfrm>
            <a:off x="2951820"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2" name="Ellipse 71">
            <a:extLst>
              <a:ext uri="{FF2B5EF4-FFF2-40B4-BE49-F238E27FC236}">
                <a16:creationId xmlns:a16="http://schemas.microsoft.com/office/drawing/2014/main" id="{62855F7F-4EE7-4BF7-A9FB-E6C4C2A3661E}"/>
              </a:ext>
            </a:extLst>
          </p:cNvPr>
          <p:cNvSpPr/>
          <p:nvPr/>
        </p:nvSpPr>
        <p:spPr>
          <a:xfrm>
            <a:off x="719572"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4" name="Ellipse 73">
            <a:extLst>
              <a:ext uri="{FF2B5EF4-FFF2-40B4-BE49-F238E27FC236}">
                <a16:creationId xmlns:a16="http://schemas.microsoft.com/office/drawing/2014/main" id="{25E74B2A-A83B-4B50-9262-7EF06964876E}"/>
              </a:ext>
            </a:extLst>
          </p:cNvPr>
          <p:cNvSpPr/>
          <p:nvPr/>
        </p:nvSpPr>
        <p:spPr>
          <a:xfrm>
            <a:off x="4103948"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r Verbinder 74">
            <a:extLst>
              <a:ext uri="{FF2B5EF4-FFF2-40B4-BE49-F238E27FC236}">
                <a16:creationId xmlns:a16="http://schemas.microsoft.com/office/drawing/2014/main" id="{ED1E601D-73CE-4831-9569-2E65509178F4}"/>
              </a:ext>
            </a:extLst>
          </p:cNvPr>
          <p:cNvCxnSpPr>
            <a:cxnSpLocks/>
            <a:stCxn id="74" idx="1"/>
            <a:endCxn id="74" idx="5"/>
          </p:cNvCxnSpPr>
          <p:nvPr/>
        </p:nvCxnSpPr>
        <p:spPr>
          <a:xfrm>
            <a:off x="4135584"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Ellipse 80">
            <a:extLst>
              <a:ext uri="{FF2B5EF4-FFF2-40B4-BE49-F238E27FC236}">
                <a16:creationId xmlns:a16="http://schemas.microsoft.com/office/drawing/2014/main" id="{2F98080F-5FF0-4DC2-AB43-87B5778DB3BC}"/>
              </a:ext>
            </a:extLst>
          </p:cNvPr>
          <p:cNvSpPr/>
          <p:nvPr/>
        </p:nvSpPr>
        <p:spPr>
          <a:xfrm>
            <a:off x="1871700"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2" name="Gerader Verbinder 81">
            <a:extLst>
              <a:ext uri="{FF2B5EF4-FFF2-40B4-BE49-F238E27FC236}">
                <a16:creationId xmlns:a16="http://schemas.microsoft.com/office/drawing/2014/main" id="{05F4BC3A-5763-46CB-908E-A75A27925C85}"/>
              </a:ext>
            </a:extLst>
          </p:cNvPr>
          <p:cNvCxnSpPr>
            <a:cxnSpLocks/>
            <a:stCxn id="81" idx="1"/>
            <a:endCxn id="81" idx="5"/>
          </p:cNvCxnSpPr>
          <p:nvPr/>
        </p:nvCxnSpPr>
        <p:spPr>
          <a:xfrm>
            <a:off x="1903336"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Ellipse 82">
            <a:extLst>
              <a:ext uri="{FF2B5EF4-FFF2-40B4-BE49-F238E27FC236}">
                <a16:creationId xmlns:a16="http://schemas.microsoft.com/office/drawing/2014/main" id="{2939167E-C7E0-461D-BBE0-77717D63AB20}"/>
              </a:ext>
            </a:extLst>
          </p:cNvPr>
          <p:cNvSpPr/>
          <p:nvPr/>
        </p:nvSpPr>
        <p:spPr>
          <a:xfrm>
            <a:off x="4968044" y="234888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85" name="Ellipse 84">
            <a:extLst>
              <a:ext uri="{FF2B5EF4-FFF2-40B4-BE49-F238E27FC236}">
                <a16:creationId xmlns:a16="http://schemas.microsoft.com/office/drawing/2014/main" id="{22B2A69C-5B08-4889-86A7-BC6181548D8E}"/>
              </a:ext>
            </a:extLst>
          </p:cNvPr>
          <p:cNvSpPr/>
          <p:nvPr/>
        </p:nvSpPr>
        <p:spPr>
          <a:xfrm>
            <a:off x="4968044" y="296094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6" name="Gerader Verbinder 85">
            <a:extLst>
              <a:ext uri="{FF2B5EF4-FFF2-40B4-BE49-F238E27FC236}">
                <a16:creationId xmlns:a16="http://schemas.microsoft.com/office/drawing/2014/main" id="{179EDF43-77F3-43CC-84FA-5BF292CD14DB}"/>
              </a:ext>
            </a:extLst>
          </p:cNvPr>
          <p:cNvCxnSpPr>
            <a:cxnSpLocks/>
            <a:stCxn id="85" idx="1"/>
            <a:endCxn id="85" idx="5"/>
          </p:cNvCxnSpPr>
          <p:nvPr/>
        </p:nvCxnSpPr>
        <p:spPr>
          <a:xfrm>
            <a:off x="4999680" y="299258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Ellipse 86">
            <a:extLst>
              <a:ext uri="{FF2B5EF4-FFF2-40B4-BE49-F238E27FC236}">
                <a16:creationId xmlns:a16="http://schemas.microsoft.com/office/drawing/2014/main" id="{73779C7F-A99C-47F4-9B72-CFD8ABDAE7F1}"/>
              </a:ext>
            </a:extLst>
          </p:cNvPr>
          <p:cNvSpPr/>
          <p:nvPr/>
        </p:nvSpPr>
        <p:spPr>
          <a:xfrm>
            <a:off x="5760132" y="224086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8" name="Gerader Verbinder 87">
            <a:extLst>
              <a:ext uri="{FF2B5EF4-FFF2-40B4-BE49-F238E27FC236}">
                <a16:creationId xmlns:a16="http://schemas.microsoft.com/office/drawing/2014/main" id="{03A5F8C9-5BDE-4008-BA20-7CF4D015970F}"/>
              </a:ext>
            </a:extLst>
          </p:cNvPr>
          <p:cNvCxnSpPr>
            <a:cxnSpLocks/>
            <a:stCxn id="87" idx="1"/>
            <a:endCxn id="87" idx="5"/>
          </p:cNvCxnSpPr>
          <p:nvPr/>
        </p:nvCxnSpPr>
        <p:spPr>
          <a:xfrm>
            <a:off x="5791768" y="227250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Ellipse 88">
            <a:extLst>
              <a:ext uri="{FF2B5EF4-FFF2-40B4-BE49-F238E27FC236}">
                <a16:creationId xmlns:a16="http://schemas.microsoft.com/office/drawing/2014/main" id="{FE99649D-A1EE-4587-B5F6-4FAAE424C581}"/>
              </a:ext>
            </a:extLst>
          </p:cNvPr>
          <p:cNvSpPr/>
          <p:nvPr/>
        </p:nvSpPr>
        <p:spPr>
          <a:xfrm>
            <a:off x="6336196"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90" name="Gerader Verbinder 89">
            <a:extLst>
              <a:ext uri="{FF2B5EF4-FFF2-40B4-BE49-F238E27FC236}">
                <a16:creationId xmlns:a16="http://schemas.microsoft.com/office/drawing/2014/main" id="{89E57A1B-5898-40C2-9B88-11276C42798F}"/>
              </a:ext>
            </a:extLst>
          </p:cNvPr>
          <p:cNvCxnSpPr>
            <a:cxnSpLocks/>
            <a:stCxn id="89" idx="1"/>
            <a:endCxn id="89" idx="5"/>
          </p:cNvCxnSpPr>
          <p:nvPr/>
        </p:nvCxnSpPr>
        <p:spPr>
          <a:xfrm>
            <a:off x="6367832"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1233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0</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tract ( source table, destination table, coordinates[ ], 2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1</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915798" y="1484784"/>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0, y start sub table 0, x end sub table 0, x end sub table 0},</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7200274" y="148478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8" name="Rechteck 57">
            <a:extLst>
              <a:ext uri="{FF2B5EF4-FFF2-40B4-BE49-F238E27FC236}">
                <a16:creationId xmlns:a16="http://schemas.microsoft.com/office/drawing/2014/main" id="{92BAA696-BACB-4AB2-B70A-47DF064D5FDA}"/>
              </a:ext>
            </a:extLst>
          </p:cNvPr>
          <p:cNvSpPr/>
          <p:nvPr/>
        </p:nvSpPr>
        <p:spPr>
          <a:xfrm>
            <a:off x="7200274" y="155679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Pfeil: nach unten 101">
            <a:extLst>
              <a:ext uri="{FF2B5EF4-FFF2-40B4-BE49-F238E27FC236}">
                <a16:creationId xmlns:a16="http://schemas.microsoft.com/office/drawing/2014/main" id="{7E15E15D-01B6-48B6-8782-DFCF2FD41E5E}"/>
              </a:ext>
            </a:extLst>
          </p:cNvPr>
          <p:cNvSpPr/>
          <p:nvPr/>
        </p:nvSpPr>
        <p:spPr>
          <a:xfrm rot="16200000">
            <a:off x="6660214"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3" name="Rechteck 102">
            <a:extLst>
              <a:ext uri="{FF2B5EF4-FFF2-40B4-BE49-F238E27FC236}">
                <a16:creationId xmlns:a16="http://schemas.microsoft.com/office/drawing/2014/main" id="{0C61169A-8D35-4306-A2AF-43749A4EBDF1}"/>
              </a:ext>
            </a:extLst>
          </p:cNvPr>
          <p:cNvSpPr/>
          <p:nvPr/>
        </p:nvSpPr>
        <p:spPr>
          <a:xfrm>
            <a:off x="2915816" y="2043112"/>
            <a:ext cx="3744416" cy="125747"/>
          </a:xfrm>
          <a:prstGeom prst="rect">
            <a:avLst/>
          </a:prstGeom>
          <a:noFill/>
          <a:ln w="12700">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04" name="Rechteck 103">
            <a:extLst>
              <a:ext uri="{FF2B5EF4-FFF2-40B4-BE49-F238E27FC236}">
                <a16:creationId xmlns:a16="http://schemas.microsoft.com/office/drawing/2014/main" id="{6F6A07B5-5BEF-415B-B231-D81C8AD31AD0}"/>
              </a:ext>
            </a:extLst>
          </p:cNvPr>
          <p:cNvSpPr/>
          <p:nvPr/>
        </p:nvSpPr>
        <p:spPr>
          <a:xfrm>
            <a:off x="7200412"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06" name="Pfeil: nach unten 105">
            <a:extLst>
              <a:ext uri="{FF2B5EF4-FFF2-40B4-BE49-F238E27FC236}">
                <a16:creationId xmlns:a16="http://schemas.microsoft.com/office/drawing/2014/main" id="{0A46B46A-8B60-46CC-847E-724C79E76F5B}"/>
              </a:ext>
            </a:extLst>
          </p:cNvPr>
          <p:cNvSpPr/>
          <p:nvPr/>
        </p:nvSpPr>
        <p:spPr>
          <a:xfrm rot="16200000">
            <a:off x="2303748"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 name="Freihandform: Form 2">
            <a:extLst>
              <a:ext uri="{FF2B5EF4-FFF2-40B4-BE49-F238E27FC236}">
                <a16:creationId xmlns:a16="http://schemas.microsoft.com/office/drawing/2014/main" id="{D6733CAE-88A3-4F7A-B445-0CD33FC73455}"/>
              </a:ext>
            </a:extLst>
          </p:cNvPr>
          <p:cNvSpPr/>
          <p:nvPr/>
        </p:nvSpPr>
        <p:spPr>
          <a:xfrm>
            <a:off x="4209001" y="1295400"/>
            <a:ext cx="347759" cy="708660"/>
          </a:xfrm>
          <a:custGeom>
            <a:avLst/>
            <a:gdLst>
              <a:gd name="connsiteX0" fmla="*/ 103919 w 347759"/>
              <a:gd name="connsiteY0" fmla="*/ 0 h 708660"/>
              <a:gd name="connsiteX1" fmla="*/ 12479 w 347759"/>
              <a:gd name="connsiteY1" fmla="*/ 289560 h 708660"/>
              <a:gd name="connsiteX2" fmla="*/ 347759 w 347759"/>
              <a:gd name="connsiteY2" fmla="*/ 708660 h 708660"/>
            </a:gdLst>
            <a:ahLst/>
            <a:cxnLst>
              <a:cxn ang="0">
                <a:pos x="connsiteX0" y="connsiteY0"/>
              </a:cxn>
              <a:cxn ang="0">
                <a:pos x="connsiteX1" y="connsiteY1"/>
              </a:cxn>
              <a:cxn ang="0">
                <a:pos x="connsiteX2" y="connsiteY2"/>
              </a:cxn>
            </a:cxnLst>
            <a:rect l="l" t="t" r="r" b="b"/>
            <a:pathLst>
              <a:path w="347759" h="708660">
                <a:moveTo>
                  <a:pt x="103919" y="0"/>
                </a:moveTo>
                <a:cubicBezTo>
                  <a:pt x="37879" y="85725"/>
                  <a:pt x="-28161" y="171450"/>
                  <a:pt x="12479" y="289560"/>
                </a:cubicBezTo>
                <a:cubicBezTo>
                  <a:pt x="53119" y="407670"/>
                  <a:pt x="200439" y="558165"/>
                  <a:pt x="347759" y="708660"/>
                </a:cubicBezTo>
              </a:path>
            </a:pathLst>
          </a:custGeom>
          <a:noFill/>
          <a:ln w="12700">
            <a:solidFill>
              <a:srgbClr val="3366FF"/>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700">
              <a:solidFill>
                <a:schemeClr val="tx1"/>
              </a:solidFill>
            </a:endParaRPr>
          </a:p>
        </p:txBody>
      </p:sp>
      <p:sp>
        <p:nvSpPr>
          <p:cNvPr id="133" name="Rechteck 132">
            <a:extLst>
              <a:ext uri="{FF2B5EF4-FFF2-40B4-BE49-F238E27FC236}">
                <a16:creationId xmlns:a16="http://schemas.microsoft.com/office/drawing/2014/main" id="{FCB93BD2-BD9F-474F-9267-490822CFB780}"/>
              </a:ext>
            </a:extLst>
          </p:cNvPr>
          <p:cNvSpPr/>
          <p:nvPr/>
        </p:nvSpPr>
        <p:spPr>
          <a:xfrm>
            <a:off x="4608004"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dex begins with 0 (not 1)</a:t>
            </a:r>
          </a:p>
        </p:txBody>
      </p:sp>
    </p:spTree>
    <p:extLst>
      <p:ext uri="{BB962C8B-B14F-4D97-AF65-F5344CB8AC3E}">
        <p14:creationId xmlns:p14="http://schemas.microsoft.com/office/powerpoint/2010/main" val="301276835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spread accumulating(), spread given headers(), spread accumulating given headers()</a:t>
            </a:r>
          </a:p>
        </p:txBody>
      </p:sp>
    </p:spTree>
    <p:extLst>
      <p:ext uri="{BB962C8B-B14F-4D97-AF65-F5344CB8AC3E}">
        <p14:creationId xmlns:p14="http://schemas.microsoft.com/office/powerpoint/2010/main" val="20881055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 given header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spTree>
    <p:extLst>
      <p:ext uri="{BB962C8B-B14F-4D97-AF65-F5344CB8AC3E}">
        <p14:creationId xmlns:p14="http://schemas.microsoft.com/office/powerpoint/2010/main" val="37400659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ile Copy Multiple / </a:t>
            </a:r>
            <a:r>
              <a:rPr lang="en-US" dirty="0" err="1"/>
              <a:t>Directorie</a:t>
            </a:r>
            <a:endParaRPr lang="en-US" dirty="0"/>
          </a:p>
        </p:txBody>
      </p:sp>
      <p:sp>
        <p:nvSpPr>
          <p:cNvPr id="3" name="Textplatzhalter 2"/>
          <p:cNvSpPr>
            <a:spLocks noGrp="1"/>
          </p:cNvSpPr>
          <p:nvPr>
            <p:ph type="body" sz="quarter" idx="16"/>
          </p:nvPr>
        </p:nvSpPr>
        <p:spPr/>
        <p:txBody>
          <a:bodyPr/>
          <a:lstStyle/>
          <a:p>
            <a:endParaRPr lang="en-US"/>
          </a:p>
        </p:txBody>
      </p:sp>
      <p:sp>
        <p:nvSpPr>
          <p:cNvPr id="4" name="Ellipse 3"/>
          <p:cNvSpPr/>
          <p:nvPr/>
        </p:nvSpPr>
        <p:spPr>
          <a:xfrm>
            <a:off x="169160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 name="Ellipse 4"/>
          <p:cNvSpPr/>
          <p:nvPr/>
        </p:nvSpPr>
        <p:spPr>
          <a:xfrm>
            <a:off x="255572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 name="Ellipse 5"/>
          <p:cNvSpPr/>
          <p:nvPr/>
        </p:nvSpPr>
        <p:spPr>
          <a:xfrm>
            <a:off x="255572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8" name="Ellipse 7"/>
          <p:cNvSpPr/>
          <p:nvPr/>
        </p:nvSpPr>
        <p:spPr>
          <a:xfrm>
            <a:off x="255572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 name="Rechteck 8"/>
          <p:cNvSpPr/>
          <p:nvPr/>
        </p:nvSpPr>
        <p:spPr>
          <a:xfrm>
            <a:off x="26277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11" name="Gerade Verbindung mit Pfeil 10"/>
          <p:cNvCxnSpPr>
            <a:stCxn id="4" idx="7"/>
            <a:endCxn id="5" idx="2"/>
          </p:cNvCxnSpPr>
          <p:nvPr/>
        </p:nvCxnSpPr>
        <p:spPr>
          <a:xfrm flipV="1">
            <a:off x="1998922"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stCxn id="4" idx="5"/>
            <a:endCxn id="8" idx="2"/>
          </p:cNvCxnSpPr>
          <p:nvPr/>
        </p:nvCxnSpPr>
        <p:spPr>
          <a:xfrm>
            <a:off x="1998922"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Ellipse 18"/>
          <p:cNvSpPr/>
          <p:nvPr/>
        </p:nvSpPr>
        <p:spPr>
          <a:xfrm>
            <a:off x="406793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0" name="Ellipse 19"/>
          <p:cNvSpPr/>
          <p:nvPr/>
        </p:nvSpPr>
        <p:spPr>
          <a:xfrm>
            <a:off x="320381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1" name="Ellipse 20"/>
          <p:cNvSpPr/>
          <p:nvPr/>
        </p:nvSpPr>
        <p:spPr>
          <a:xfrm>
            <a:off x="320381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22" name="Ellipse 21"/>
          <p:cNvSpPr/>
          <p:nvPr/>
        </p:nvSpPr>
        <p:spPr>
          <a:xfrm>
            <a:off x="320381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23" name="Rechteck 22"/>
          <p:cNvSpPr/>
          <p:nvPr/>
        </p:nvSpPr>
        <p:spPr>
          <a:xfrm>
            <a:off x="327582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24" name="Gerade Verbindung mit Pfeil 23"/>
          <p:cNvCxnSpPr>
            <a:stCxn id="20" idx="6"/>
            <a:endCxn id="19" idx="1"/>
          </p:cNvCxnSpPr>
          <p:nvPr/>
        </p:nvCxnSpPr>
        <p:spPr>
          <a:xfrm>
            <a:off x="3563860"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a:stCxn id="22" idx="6"/>
            <a:endCxn id="19" idx="3"/>
          </p:cNvCxnSpPr>
          <p:nvPr/>
        </p:nvCxnSpPr>
        <p:spPr>
          <a:xfrm flipV="1">
            <a:off x="3563860"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a:stCxn id="21" idx="6"/>
            <a:endCxn id="19" idx="2"/>
          </p:cNvCxnSpPr>
          <p:nvPr/>
        </p:nvCxnSpPr>
        <p:spPr>
          <a:xfrm>
            <a:off x="356386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Ellipse 35"/>
          <p:cNvSpPr/>
          <p:nvPr/>
        </p:nvSpPr>
        <p:spPr>
          <a:xfrm>
            <a:off x="471602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37" name="Ellipse 36"/>
          <p:cNvSpPr/>
          <p:nvPr/>
        </p:nvSpPr>
        <p:spPr>
          <a:xfrm>
            <a:off x="471602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38" name="Ellipse 37"/>
          <p:cNvSpPr/>
          <p:nvPr/>
        </p:nvSpPr>
        <p:spPr>
          <a:xfrm>
            <a:off x="471602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39" name="Rechteck 38"/>
          <p:cNvSpPr/>
          <p:nvPr/>
        </p:nvSpPr>
        <p:spPr>
          <a:xfrm>
            <a:off x="47880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0" name="Gerade Verbindung mit Pfeil 39"/>
          <p:cNvCxnSpPr>
            <a:stCxn id="37" idx="6"/>
            <a:endCxn id="42" idx="2"/>
          </p:cNvCxnSpPr>
          <p:nvPr/>
        </p:nvCxnSpPr>
        <p:spPr>
          <a:xfrm>
            <a:off x="507607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Ellipse 40"/>
          <p:cNvSpPr/>
          <p:nvPr/>
        </p:nvSpPr>
        <p:spPr>
          <a:xfrm>
            <a:off x="558014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42" name="Ellipse 41"/>
          <p:cNvSpPr/>
          <p:nvPr/>
        </p:nvSpPr>
        <p:spPr>
          <a:xfrm>
            <a:off x="558014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43" name="Ellipse 42"/>
          <p:cNvSpPr/>
          <p:nvPr/>
        </p:nvSpPr>
        <p:spPr>
          <a:xfrm>
            <a:off x="558014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44" name="Rechteck 43"/>
          <p:cNvSpPr/>
          <p:nvPr/>
        </p:nvSpPr>
        <p:spPr>
          <a:xfrm>
            <a:off x="565215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7" name="Gerade Verbindung mit Pfeil 46"/>
          <p:cNvCxnSpPr>
            <a:stCxn id="36" idx="6"/>
            <a:endCxn id="41" idx="2"/>
          </p:cNvCxnSpPr>
          <p:nvPr/>
        </p:nvCxnSpPr>
        <p:spPr>
          <a:xfrm>
            <a:off x="507607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a:stCxn id="38" idx="6"/>
            <a:endCxn id="43" idx="2"/>
          </p:cNvCxnSpPr>
          <p:nvPr/>
        </p:nvCxnSpPr>
        <p:spPr>
          <a:xfrm>
            <a:off x="5076070" y="296093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Ellipse 56"/>
          <p:cNvSpPr/>
          <p:nvPr/>
        </p:nvSpPr>
        <p:spPr>
          <a:xfrm>
            <a:off x="637225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8" name="Ellipse 57"/>
          <p:cNvSpPr/>
          <p:nvPr/>
        </p:nvSpPr>
        <p:spPr>
          <a:xfrm>
            <a:off x="637225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59" name="Ellipse 58"/>
          <p:cNvSpPr/>
          <p:nvPr/>
        </p:nvSpPr>
        <p:spPr>
          <a:xfrm>
            <a:off x="637225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60" name="Rechteck 59"/>
          <p:cNvSpPr/>
          <p:nvPr/>
        </p:nvSpPr>
        <p:spPr>
          <a:xfrm>
            <a:off x="644426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61" name="Ellipse 60"/>
          <p:cNvSpPr/>
          <p:nvPr/>
        </p:nvSpPr>
        <p:spPr>
          <a:xfrm>
            <a:off x="637225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62" name="Ellipse 61"/>
          <p:cNvSpPr/>
          <p:nvPr/>
        </p:nvSpPr>
        <p:spPr>
          <a:xfrm>
            <a:off x="637225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sp>
        <p:nvSpPr>
          <p:cNvPr id="63" name="Ellipse 62"/>
          <p:cNvSpPr/>
          <p:nvPr/>
        </p:nvSpPr>
        <p:spPr>
          <a:xfrm>
            <a:off x="723637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4" name="Ellipse 63"/>
          <p:cNvSpPr/>
          <p:nvPr/>
        </p:nvSpPr>
        <p:spPr>
          <a:xfrm>
            <a:off x="723637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65" name="Gerade Verbindung mit Pfeil 64"/>
          <p:cNvCxnSpPr>
            <a:stCxn id="119" idx="6"/>
            <a:endCxn id="102" idx="2"/>
          </p:cNvCxnSpPr>
          <p:nvPr/>
        </p:nvCxnSpPr>
        <p:spPr>
          <a:xfrm>
            <a:off x="824451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a:stCxn id="58" idx="6"/>
            <a:endCxn id="64" idx="2"/>
          </p:cNvCxnSpPr>
          <p:nvPr/>
        </p:nvCxnSpPr>
        <p:spPr>
          <a:xfrm>
            <a:off x="673230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a:stCxn id="61" idx="6"/>
            <a:endCxn id="63" idx="2"/>
          </p:cNvCxnSpPr>
          <p:nvPr/>
        </p:nvCxnSpPr>
        <p:spPr>
          <a:xfrm flipV="1">
            <a:off x="673230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Gerade Verbindung mit Pfeil 73"/>
          <p:cNvCxnSpPr>
            <a:stCxn id="62" idx="6"/>
            <a:endCxn id="64" idx="2"/>
          </p:cNvCxnSpPr>
          <p:nvPr/>
        </p:nvCxnSpPr>
        <p:spPr>
          <a:xfrm flipV="1">
            <a:off x="673230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Gerade Verbindung mit Pfeil 76"/>
          <p:cNvCxnSpPr>
            <a:stCxn id="59" idx="6"/>
            <a:endCxn id="64" idx="3"/>
          </p:cNvCxnSpPr>
          <p:nvPr/>
        </p:nvCxnSpPr>
        <p:spPr>
          <a:xfrm flipV="1">
            <a:off x="6732300" y="2440142"/>
            <a:ext cx="556798" cy="138491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Ellipse 81"/>
          <p:cNvSpPr/>
          <p:nvPr/>
        </p:nvSpPr>
        <p:spPr>
          <a:xfrm>
            <a:off x="104351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cxnSp>
        <p:nvCxnSpPr>
          <p:cNvPr id="85" name="Gerade Verbindung mit Pfeil 84"/>
          <p:cNvCxnSpPr>
            <a:stCxn id="86" idx="6"/>
            <a:endCxn id="82" idx="2"/>
          </p:cNvCxnSpPr>
          <p:nvPr/>
        </p:nvCxnSpPr>
        <p:spPr>
          <a:xfrm>
            <a:off x="53944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6" name="Ellipse 85"/>
          <p:cNvSpPr/>
          <p:nvPr/>
        </p:nvSpPr>
        <p:spPr>
          <a:xfrm>
            <a:off x="17939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91" name="Rechteck 90"/>
          <p:cNvSpPr/>
          <p:nvPr/>
        </p:nvSpPr>
        <p:spPr>
          <a:xfrm>
            <a:off x="25140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a.</a:t>
            </a:r>
          </a:p>
        </p:txBody>
      </p:sp>
      <p:sp>
        <p:nvSpPr>
          <p:cNvPr id="92" name="Rechteck 91"/>
          <p:cNvSpPr/>
          <p:nvPr/>
        </p:nvSpPr>
        <p:spPr>
          <a:xfrm>
            <a:off x="176361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b.</a:t>
            </a:r>
          </a:p>
        </p:txBody>
      </p:sp>
      <p:sp>
        <p:nvSpPr>
          <p:cNvPr id="93" name="Rechteck 92"/>
          <p:cNvSpPr/>
          <p:nvPr/>
        </p:nvSpPr>
        <p:spPr>
          <a:xfrm>
            <a:off x="327582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c.</a:t>
            </a:r>
          </a:p>
        </p:txBody>
      </p:sp>
      <p:sp>
        <p:nvSpPr>
          <p:cNvPr id="94" name="Rechteck 93"/>
          <p:cNvSpPr/>
          <p:nvPr/>
        </p:nvSpPr>
        <p:spPr>
          <a:xfrm>
            <a:off x="478803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d.</a:t>
            </a:r>
          </a:p>
        </p:txBody>
      </p:sp>
      <p:sp>
        <p:nvSpPr>
          <p:cNvPr id="95" name="Rechteck 94"/>
          <p:cNvSpPr/>
          <p:nvPr/>
        </p:nvSpPr>
        <p:spPr>
          <a:xfrm>
            <a:off x="644426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e.</a:t>
            </a:r>
          </a:p>
        </p:txBody>
      </p:sp>
      <p:sp>
        <p:nvSpPr>
          <p:cNvPr id="96" name="Ellipse 95"/>
          <p:cNvSpPr/>
          <p:nvPr/>
        </p:nvSpPr>
        <p:spPr>
          <a:xfrm>
            <a:off x="17939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9" name="Rechteck 98"/>
          <p:cNvSpPr/>
          <p:nvPr/>
        </p:nvSpPr>
        <p:spPr>
          <a:xfrm>
            <a:off x="61145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source directory</a:t>
            </a:r>
          </a:p>
        </p:txBody>
      </p:sp>
      <p:sp>
        <p:nvSpPr>
          <p:cNvPr id="100" name="Ellipse 99"/>
          <p:cNvSpPr/>
          <p:nvPr/>
        </p:nvSpPr>
        <p:spPr>
          <a:xfrm>
            <a:off x="2195670" y="364503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101" name="Rechteck 100"/>
          <p:cNvSpPr/>
          <p:nvPr/>
        </p:nvSpPr>
        <p:spPr>
          <a:xfrm>
            <a:off x="262773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destination directory</a:t>
            </a:r>
          </a:p>
        </p:txBody>
      </p:sp>
      <p:sp>
        <p:nvSpPr>
          <p:cNvPr id="102" name="Ellipse 101"/>
          <p:cNvSpPr/>
          <p:nvPr/>
        </p:nvSpPr>
        <p:spPr>
          <a:xfrm>
            <a:off x="874858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03" name="Ellipse 102"/>
          <p:cNvSpPr/>
          <p:nvPr/>
        </p:nvSpPr>
        <p:spPr>
          <a:xfrm>
            <a:off x="874858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104" name="Ellipse 103"/>
          <p:cNvSpPr/>
          <p:nvPr/>
        </p:nvSpPr>
        <p:spPr>
          <a:xfrm>
            <a:off x="874858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105" name="Rechteck 104"/>
          <p:cNvSpPr/>
          <p:nvPr/>
        </p:nvSpPr>
        <p:spPr>
          <a:xfrm>
            <a:off x="882059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106" name="Ellipse 105"/>
          <p:cNvSpPr/>
          <p:nvPr/>
        </p:nvSpPr>
        <p:spPr>
          <a:xfrm>
            <a:off x="874858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107" name="Ellipse 106"/>
          <p:cNvSpPr/>
          <p:nvPr/>
        </p:nvSpPr>
        <p:spPr>
          <a:xfrm>
            <a:off x="874858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cxnSp>
        <p:nvCxnSpPr>
          <p:cNvPr id="110" name="Gerade Verbindung mit Pfeil 109"/>
          <p:cNvCxnSpPr>
            <a:stCxn id="120" idx="6"/>
            <a:endCxn id="107" idx="2"/>
          </p:cNvCxnSpPr>
          <p:nvPr/>
        </p:nvCxnSpPr>
        <p:spPr>
          <a:xfrm>
            <a:off x="824451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a:stCxn id="119" idx="6"/>
            <a:endCxn id="106" idx="2"/>
          </p:cNvCxnSpPr>
          <p:nvPr/>
        </p:nvCxnSpPr>
        <p:spPr>
          <a:xfrm>
            <a:off x="824451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20" idx="6"/>
            <a:endCxn id="104" idx="2"/>
          </p:cNvCxnSpPr>
          <p:nvPr/>
        </p:nvCxnSpPr>
        <p:spPr>
          <a:xfrm>
            <a:off x="8244510" y="2312845"/>
            <a:ext cx="504070" cy="151221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795647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f.</a:t>
            </a:r>
          </a:p>
        </p:txBody>
      </p:sp>
      <p:sp>
        <p:nvSpPr>
          <p:cNvPr id="119" name="Ellipse 118"/>
          <p:cNvSpPr/>
          <p:nvPr/>
        </p:nvSpPr>
        <p:spPr>
          <a:xfrm>
            <a:off x="788446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20" name="Ellipse 119"/>
          <p:cNvSpPr/>
          <p:nvPr/>
        </p:nvSpPr>
        <p:spPr>
          <a:xfrm>
            <a:off x="788446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121" name="Gerade Verbindung mit Pfeil 120"/>
          <p:cNvCxnSpPr>
            <a:stCxn id="120" idx="6"/>
            <a:endCxn id="103" idx="2"/>
          </p:cNvCxnSpPr>
          <p:nvPr/>
        </p:nvCxnSpPr>
        <p:spPr>
          <a:xfrm>
            <a:off x="824451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a:stCxn id="57" idx="6"/>
            <a:endCxn id="63" idx="2"/>
          </p:cNvCxnSpPr>
          <p:nvPr/>
        </p:nvCxnSpPr>
        <p:spPr>
          <a:xfrm>
            <a:off x="673230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Ellipse 72"/>
          <p:cNvSpPr/>
          <p:nvPr/>
        </p:nvSpPr>
        <p:spPr>
          <a:xfrm>
            <a:off x="7884460" y="256488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cxnSp>
        <p:nvCxnSpPr>
          <p:cNvPr id="75" name="Gerade Verbindung mit Pfeil 74"/>
          <p:cNvCxnSpPr>
            <a:stCxn id="73" idx="6"/>
            <a:endCxn id="106" idx="2"/>
          </p:cNvCxnSpPr>
          <p:nvPr/>
        </p:nvCxnSpPr>
        <p:spPr>
          <a:xfrm>
            <a:off x="8244510" y="274490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5842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04" name="Rechteck 103">
            <a:extLst>
              <a:ext uri="{FF2B5EF4-FFF2-40B4-BE49-F238E27FC236}">
                <a16:creationId xmlns:a16="http://schemas.microsoft.com/office/drawing/2014/main" id="{BDBFE104-73F4-4BA9-A3EF-E0F1D3D78B3B}"/>
              </a:ext>
            </a:extLst>
          </p:cNvPr>
          <p:cNvSpPr/>
          <p:nvPr/>
        </p:nvSpPr>
        <p:spPr>
          <a:xfrm>
            <a:off x="540000" y="52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08" name="Rechteck 107">
            <a:extLst>
              <a:ext uri="{FF2B5EF4-FFF2-40B4-BE49-F238E27FC236}">
                <a16:creationId xmlns:a16="http://schemas.microsoft.com/office/drawing/2014/main" id="{9E0E2376-6D13-4DDE-9364-CF47A8A51392}"/>
              </a:ext>
            </a:extLst>
          </p:cNvPr>
          <p:cNvSpPr/>
          <p:nvPr/>
        </p:nvSpPr>
        <p:spPr>
          <a:xfrm>
            <a:off x="540000" y="4725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Key Objects</a:t>
            </a:r>
          </a:p>
        </p:txBody>
      </p:sp>
      <p:sp>
        <p:nvSpPr>
          <p:cNvPr id="131" name="Rechteck 130">
            <a:extLst>
              <a:ext uri="{FF2B5EF4-FFF2-40B4-BE49-F238E27FC236}">
                <a16:creationId xmlns:a16="http://schemas.microsoft.com/office/drawing/2014/main" id="{E468455B-7FD0-4EFE-B29D-9815F3D10ADD}"/>
              </a:ext>
            </a:extLst>
          </p:cNvPr>
          <p:cNvSpPr/>
          <p:nvPr/>
        </p:nvSpPr>
        <p:spPr>
          <a:xfrm>
            <a:off x="540000" y="4221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Function Calls</a:t>
            </a:r>
          </a:p>
        </p:txBody>
      </p:sp>
      <p:sp>
        <p:nvSpPr>
          <p:cNvPr id="126" name="Rechteck 125">
            <a:extLst>
              <a:ext uri="{FF2B5EF4-FFF2-40B4-BE49-F238E27FC236}">
                <a16:creationId xmlns:a16="http://schemas.microsoft.com/office/drawing/2014/main" id="{CF876EC3-C55E-4ADE-B4B5-52D24FD7AA60}"/>
              </a:ext>
            </a:extLst>
          </p:cNvPr>
          <p:cNvSpPr/>
          <p:nvPr/>
        </p:nvSpPr>
        <p:spPr>
          <a:xfrm>
            <a:off x="540000" y="371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lculations and Comparisons</a:t>
            </a:r>
          </a:p>
        </p:txBody>
      </p:sp>
      <p:sp>
        <p:nvSpPr>
          <p:cNvPr id="121" name="Rechteck 120">
            <a:extLst>
              <a:ext uri="{FF2B5EF4-FFF2-40B4-BE49-F238E27FC236}">
                <a16:creationId xmlns:a16="http://schemas.microsoft.com/office/drawing/2014/main" id="{ACC0399D-17F5-4015-863B-0EC1D5A2291E}"/>
              </a:ext>
            </a:extLst>
          </p:cNvPr>
          <p:cNvSpPr/>
          <p:nvPr/>
        </p:nvSpPr>
        <p:spPr>
          <a:xfrm>
            <a:off x="540000" y="3429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xpressions</a:t>
            </a:r>
          </a:p>
        </p:txBody>
      </p:sp>
      <p:sp>
        <p:nvSpPr>
          <p:cNvPr id="110" name="Rechteck 109">
            <a:extLst>
              <a:ext uri="{FF2B5EF4-FFF2-40B4-BE49-F238E27FC236}">
                <a16:creationId xmlns:a16="http://schemas.microsoft.com/office/drawing/2014/main" id="{CB9C0CD7-0523-4FC2-BAC1-403F4784D435}"/>
              </a:ext>
            </a:extLst>
          </p:cNvPr>
          <p:cNvSpPr/>
          <p:nvPr/>
        </p:nvSpPr>
        <p:spPr>
          <a:xfrm>
            <a:off x="540000" y="2493000"/>
            <a:ext cx="8496000" cy="8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atements</a:t>
            </a:r>
          </a:p>
        </p:txBody>
      </p:sp>
      <p:sp>
        <p:nvSpPr>
          <p:cNvPr id="109" name="Rechteck 108">
            <a:extLst>
              <a:ext uri="{FF2B5EF4-FFF2-40B4-BE49-F238E27FC236}">
                <a16:creationId xmlns:a16="http://schemas.microsoft.com/office/drawing/2014/main" id="{D74EEDAB-9C7B-497C-9AE9-2B40C560D2FF}"/>
              </a:ext>
            </a:extLst>
          </p:cNvPr>
          <p:cNvSpPr/>
          <p:nvPr/>
        </p:nvSpPr>
        <p:spPr>
          <a:xfrm>
            <a:off x="540000" y="2205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Overall Language Structure</a:t>
            </a:r>
          </a:p>
        </p:txBody>
      </p:sp>
      <p:sp>
        <p:nvSpPr>
          <p:cNvPr id="67" name="Rechteck 66">
            <a:extLst>
              <a:ext uri="{FF2B5EF4-FFF2-40B4-BE49-F238E27FC236}">
                <a16:creationId xmlns:a16="http://schemas.microsoft.com/office/drawing/2014/main" id="{6E8CDEE8-8744-46BF-ADBE-5DBFE1910F6C}"/>
              </a:ext>
            </a:extLst>
          </p:cNvPr>
          <p:cNvSpPr/>
          <p:nvPr/>
        </p:nvSpPr>
        <p:spPr>
          <a:xfrm>
            <a:off x="540000" y="1053000"/>
            <a:ext cx="8496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gram Files Top Level</a:t>
            </a:r>
          </a:p>
        </p:txBody>
      </p:sp>
      <p:sp>
        <p:nvSpPr>
          <p:cNvPr id="92" name="Freihandform: Form 91">
            <a:extLst>
              <a:ext uri="{FF2B5EF4-FFF2-40B4-BE49-F238E27FC236}">
                <a16:creationId xmlns:a16="http://schemas.microsoft.com/office/drawing/2014/main" id="{35491E2C-336A-455A-844B-E7F6A785097D}"/>
              </a:ext>
            </a:extLst>
          </p:cNvPr>
          <p:cNvSpPr/>
          <p:nvPr/>
        </p:nvSpPr>
        <p:spPr>
          <a:xfrm>
            <a:off x="4565739" y="1053000"/>
            <a:ext cx="1596522" cy="1080000"/>
          </a:xfrm>
          <a:custGeom>
            <a:avLst/>
            <a:gdLst>
              <a:gd name="connsiteX0" fmla="*/ 798261 w 1596522"/>
              <a:gd name="connsiteY0" fmla="*/ 0 h 1080000"/>
              <a:gd name="connsiteX1" fmla="*/ 1596522 w 1596522"/>
              <a:gd name="connsiteY1" fmla="*/ 1080000 h 1080000"/>
              <a:gd name="connsiteX2" fmla="*/ 0 w 1596522"/>
              <a:gd name="connsiteY2" fmla="*/ 1080000 h 1080000"/>
              <a:gd name="connsiteX3" fmla="*/ 798261 w 1596522"/>
              <a:gd name="connsiteY3" fmla="*/ 0 h 1080000"/>
            </a:gdLst>
            <a:ahLst/>
            <a:cxnLst>
              <a:cxn ang="0">
                <a:pos x="connsiteX0" y="connsiteY0"/>
              </a:cxn>
              <a:cxn ang="0">
                <a:pos x="connsiteX1" y="connsiteY1"/>
              </a:cxn>
              <a:cxn ang="0">
                <a:pos x="connsiteX2" y="connsiteY2"/>
              </a:cxn>
              <a:cxn ang="0">
                <a:pos x="connsiteX3" y="connsiteY3"/>
              </a:cxn>
            </a:cxnLst>
            <a:rect l="l" t="t" r="r" b="b"/>
            <a:pathLst>
              <a:path w="1596522" h="1080000">
                <a:moveTo>
                  <a:pt x="798261" y="0"/>
                </a:moveTo>
                <a:lnTo>
                  <a:pt x="1596522" y="1080000"/>
                </a:lnTo>
                <a:lnTo>
                  <a:pt x="0" y="1080000"/>
                </a:lnTo>
                <a:lnTo>
                  <a:pt x="798261" y="0"/>
                </a:lnTo>
                <a:close/>
              </a:path>
            </a:pathLst>
          </a:cu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3" name="Freihandform: Form 92">
            <a:extLst>
              <a:ext uri="{FF2B5EF4-FFF2-40B4-BE49-F238E27FC236}">
                <a16:creationId xmlns:a16="http://schemas.microsoft.com/office/drawing/2014/main" id="{D568A228-18DC-4D4F-AE7F-18EF2142D8FC}"/>
              </a:ext>
            </a:extLst>
          </p:cNvPr>
          <p:cNvSpPr/>
          <p:nvPr/>
        </p:nvSpPr>
        <p:spPr>
          <a:xfrm>
            <a:off x="4352871" y="2205000"/>
            <a:ext cx="2022261" cy="216000"/>
          </a:xfrm>
          <a:custGeom>
            <a:avLst/>
            <a:gdLst>
              <a:gd name="connsiteX0" fmla="*/ 159652 w 2022261"/>
              <a:gd name="connsiteY0" fmla="*/ 0 h 216000"/>
              <a:gd name="connsiteX1" fmla="*/ 1862609 w 2022261"/>
              <a:gd name="connsiteY1" fmla="*/ 0 h 216000"/>
              <a:gd name="connsiteX2" fmla="*/ 2022261 w 2022261"/>
              <a:gd name="connsiteY2" fmla="*/ 216000 h 216000"/>
              <a:gd name="connsiteX3" fmla="*/ 0 w 2022261"/>
              <a:gd name="connsiteY3" fmla="*/ 216000 h 216000"/>
              <a:gd name="connsiteX4" fmla="*/ 159652 w 2022261"/>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261" h="216000">
                <a:moveTo>
                  <a:pt x="159652" y="0"/>
                </a:moveTo>
                <a:lnTo>
                  <a:pt x="1862609" y="0"/>
                </a:lnTo>
                <a:lnTo>
                  <a:pt x="2022261" y="216000"/>
                </a:lnTo>
                <a:lnTo>
                  <a:pt x="0" y="216000"/>
                </a:lnTo>
                <a:lnTo>
                  <a:pt x="159652" y="0"/>
                </a:lnTo>
                <a:close/>
              </a:path>
            </a:pathLst>
          </a:cu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4" name="Freihandform: Form 93">
            <a:extLst>
              <a:ext uri="{FF2B5EF4-FFF2-40B4-BE49-F238E27FC236}">
                <a16:creationId xmlns:a16="http://schemas.microsoft.com/office/drawing/2014/main" id="{A34DCA84-5437-4953-A41F-7D1F8BBEDDAE}"/>
              </a:ext>
            </a:extLst>
          </p:cNvPr>
          <p:cNvSpPr/>
          <p:nvPr/>
        </p:nvSpPr>
        <p:spPr>
          <a:xfrm>
            <a:off x="3661045" y="2493000"/>
            <a:ext cx="3405913" cy="864000"/>
          </a:xfrm>
          <a:custGeom>
            <a:avLst/>
            <a:gdLst>
              <a:gd name="connsiteX0" fmla="*/ 638608 w 3405913"/>
              <a:gd name="connsiteY0" fmla="*/ 0 h 864000"/>
              <a:gd name="connsiteX1" fmla="*/ 2767304 w 3405913"/>
              <a:gd name="connsiteY1" fmla="*/ 0 h 864000"/>
              <a:gd name="connsiteX2" fmla="*/ 3405913 w 3405913"/>
              <a:gd name="connsiteY2" fmla="*/ 864000 h 864000"/>
              <a:gd name="connsiteX3" fmla="*/ 0 w 3405913"/>
              <a:gd name="connsiteY3" fmla="*/ 864000 h 864000"/>
              <a:gd name="connsiteX4" fmla="*/ 638608 w 3405913"/>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913" h="864000">
                <a:moveTo>
                  <a:pt x="638608" y="0"/>
                </a:moveTo>
                <a:lnTo>
                  <a:pt x="2767304" y="0"/>
                </a:lnTo>
                <a:lnTo>
                  <a:pt x="3405913" y="864000"/>
                </a:lnTo>
                <a:lnTo>
                  <a:pt x="0" y="864000"/>
                </a:lnTo>
                <a:lnTo>
                  <a:pt x="638608" y="0"/>
                </a:lnTo>
                <a:close/>
              </a:path>
            </a:pathLst>
          </a:cu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9" name="Freihandform: Form 98">
            <a:extLst>
              <a:ext uri="{FF2B5EF4-FFF2-40B4-BE49-F238E27FC236}">
                <a16:creationId xmlns:a16="http://schemas.microsoft.com/office/drawing/2014/main" id="{A698C1F8-199C-4FB3-BB50-DDCB9059E9DE}"/>
              </a:ext>
            </a:extLst>
          </p:cNvPr>
          <p:cNvSpPr/>
          <p:nvPr/>
        </p:nvSpPr>
        <p:spPr>
          <a:xfrm>
            <a:off x="3448174" y="3429000"/>
            <a:ext cx="3831652" cy="216000"/>
          </a:xfrm>
          <a:custGeom>
            <a:avLst/>
            <a:gdLst>
              <a:gd name="connsiteX0" fmla="*/ 159652 w 3831652"/>
              <a:gd name="connsiteY0" fmla="*/ 0 h 216000"/>
              <a:gd name="connsiteX1" fmla="*/ 3672000 w 3831652"/>
              <a:gd name="connsiteY1" fmla="*/ 0 h 216000"/>
              <a:gd name="connsiteX2" fmla="*/ 3831652 w 3831652"/>
              <a:gd name="connsiteY2" fmla="*/ 216000 h 216000"/>
              <a:gd name="connsiteX3" fmla="*/ 0 w 3831652"/>
              <a:gd name="connsiteY3" fmla="*/ 216000 h 216000"/>
              <a:gd name="connsiteX4" fmla="*/ 159652 w 3831652"/>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652" h="216000">
                <a:moveTo>
                  <a:pt x="159652" y="0"/>
                </a:moveTo>
                <a:lnTo>
                  <a:pt x="3672000" y="0"/>
                </a:lnTo>
                <a:lnTo>
                  <a:pt x="3831652" y="216000"/>
                </a:lnTo>
                <a:lnTo>
                  <a:pt x="0" y="216000"/>
                </a:lnTo>
                <a:lnTo>
                  <a:pt x="159652" y="0"/>
                </a:lnTo>
                <a:close/>
              </a:path>
            </a:pathLst>
          </a:cu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5" name="Freihandform: Form 104">
            <a:extLst>
              <a:ext uri="{FF2B5EF4-FFF2-40B4-BE49-F238E27FC236}">
                <a16:creationId xmlns:a16="http://schemas.microsoft.com/office/drawing/2014/main" id="{8E8E6FDA-300F-460E-8FEC-6E3085517C9B}"/>
              </a:ext>
            </a:extLst>
          </p:cNvPr>
          <p:cNvSpPr/>
          <p:nvPr/>
        </p:nvSpPr>
        <p:spPr>
          <a:xfrm>
            <a:off x="3075652" y="3717000"/>
            <a:ext cx="4576696" cy="432000"/>
          </a:xfrm>
          <a:custGeom>
            <a:avLst/>
            <a:gdLst>
              <a:gd name="connsiteX0" fmla="*/ 319305 w 4576696"/>
              <a:gd name="connsiteY0" fmla="*/ 0 h 432000"/>
              <a:gd name="connsiteX1" fmla="*/ 4257392 w 4576696"/>
              <a:gd name="connsiteY1" fmla="*/ 0 h 432000"/>
              <a:gd name="connsiteX2" fmla="*/ 4576696 w 4576696"/>
              <a:gd name="connsiteY2" fmla="*/ 432000 h 432000"/>
              <a:gd name="connsiteX3" fmla="*/ 0 w 4576696"/>
              <a:gd name="connsiteY3" fmla="*/ 432000 h 432000"/>
              <a:gd name="connsiteX4" fmla="*/ 319305 w 457669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96" h="432000">
                <a:moveTo>
                  <a:pt x="319305" y="0"/>
                </a:moveTo>
                <a:lnTo>
                  <a:pt x="4257392" y="0"/>
                </a:lnTo>
                <a:lnTo>
                  <a:pt x="4576696" y="432000"/>
                </a:lnTo>
                <a:lnTo>
                  <a:pt x="0" y="432000"/>
                </a:lnTo>
                <a:lnTo>
                  <a:pt x="319305" y="0"/>
                </a:lnTo>
                <a:close/>
              </a:path>
            </a:pathLst>
          </a:custGeom>
          <a:solidFill>
            <a:srgbClr val="99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6" name="Freihandform: Form 105">
            <a:extLst>
              <a:ext uri="{FF2B5EF4-FFF2-40B4-BE49-F238E27FC236}">
                <a16:creationId xmlns:a16="http://schemas.microsoft.com/office/drawing/2014/main" id="{BB504CEA-D9B8-4E12-8D94-D86CD7632D65}"/>
              </a:ext>
            </a:extLst>
          </p:cNvPr>
          <p:cNvSpPr/>
          <p:nvPr/>
        </p:nvSpPr>
        <p:spPr>
          <a:xfrm>
            <a:off x="2703132" y="4221000"/>
            <a:ext cx="5321739" cy="432000"/>
          </a:xfrm>
          <a:custGeom>
            <a:avLst/>
            <a:gdLst>
              <a:gd name="connsiteX0" fmla="*/ 319304 w 5321739"/>
              <a:gd name="connsiteY0" fmla="*/ 0 h 432000"/>
              <a:gd name="connsiteX1" fmla="*/ 5002434 w 5321739"/>
              <a:gd name="connsiteY1" fmla="*/ 0 h 432000"/>
              <a:gd name="connsiteX2" fmla="*/ 5321739 w 5321739"/>
              <a:gd name="connsiteY2" fmla="*/ 432000 h 432000"/>
              <a:gd name="connsiteX3" fmla="*/ 0 w 5321739"/>
              <a:gd name="connsiteY3" fmla="*/ 432000 h 432000"/>
              <a:gd name="connsiteX4" fmla="*/ 319304 w 5321739"/>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1739" h="432000">
                <a:moveTo>
                  <a:pt x="319304" y="0"/>
                </a:moveTo>
                <a:lnTo>
                  <a:pt x="5002434" y="0"/>
                </a:lnTo>
                <a:lnTo>
                  <a:pt x="5321739" y="432000"/>
                </a:lnTo>
                <a:lnTo>
                  <a:pt x="0" y="432000"/>
                </a:lnTo>
                <a:lnTo>
                  <a:pt x="319304" y="0"/>
                </a:lnTo>
                <a:close/>
              </a:path>
            </a:pathLst>
          </a:custGeom>
          <a:solidFill>
            <a:srgbClr val="69B4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3" name="Freihandform: Form 112">
            <a:extLst>
              <a:ext uri="{FF2B5EF4-FFF2-40B4-BE49-F238E27FC236}">
                <a16:creationId xmlns:a16="http://schemas.microsoft.com/office/drawing/2014/main" id="{676EFBA8-330D-49EE-A600-C5EE81C07661}"/>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Rechteck 62">
            <a:extLst>
              <a:ext uri="{FF2B5EF4-FFF2-40B4-BE49-F238E27FC236}">
                <a16:creationId xmlns:a16="http://schemas.microsoft.com/office/drawing/2014/main" id="{59D6DF6A-90B4-4CE3-AF8D-19DBC262DF35}"/>
              </a:ext>
            </a:extLst>
          </p:cNvPr>
          <p:cNvSpPr/>
          <p:nvPr/>
        </p:nvSpPr>
        <p:spPr>
          <a:xfrm>
            <a:off x="1908000" y="242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Rechteck 63">
            <a:extLst>
              <a:ext uri="{FF2B5EF4-FFF2-40B4-BE49-F238E27FC236}">
                <a16:creationId xmlns:a16="http://schemas.microsoft.com/office/drawing/2014/main" id="{FA6A6686-7669-4E63-8D4C-551D23F14592}"/>
              </a:ext>
            </a:extLst>
          </p:cNvPr>
          <p:cNvSpPr/>
          <p:nvPr/>
        </p:nvSpPr>
        <p:spPr>
          <a:xfrm>
            <a:off x="1908000" y="213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24EADCBD-36BA-455B-9DA5-C3EA6132198B}"/>
              </a:ext>
            </a:extLst>
          </p:cNvPr>
          <p:cNvSpPr/>
          <p:nvPr/>
        </p:nvSpPr>
        <p:spPr>
          <a:xfrm>
            <a:off x="4860000" y="13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4P</a:t>
            </a:r>
          </a:p>
          <a:p>
            <a:pPr algn="ctr">
              <a:lnSpc>
                <a:spcPct val="90000"/>
              </a:lnSpc>
            </a:pPr>
            <a:r>
              <a:rPr lang="en-US" sz="1200" dirty="0">
                <a:solidFill>
                  <a:schemeClr val="tx1"/>
                </a:solidFill>
              </a:rPr>
              <a:t>Programs</a:t>
            </a:r>
          </a:p>
        </p:txBody>
      </p:sp>
      <p:sp>
        <p:nvSpPr>
          <p:cNvPr id="69" name="Rechteck 68">
            <a:extLst>
              <a:ext uri="{FF2B5EF4-FFF2-40B4-BE49-F238E27FC236}">
                <a16:creationId xmlns:a16="http://schemas.microsoft.com/office/drawing/2014/main" id="{7D2C2B39-C74C-421A-972B-4BBF9B6796F3}"/>
              </a:ext>
            </a:extLst>
          </p:cNvPr>
          <p:cNvSpPr/>
          <p:nvPr/>
        </p:nvSpPr>
        <p:spPr>
          <a:xfrm>
            <a:off x="4572000" y="1845000"/>
            <a:ext cx="15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Libraries</a:t>
            </a: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75" name="Rechteck 74">
            <a:extLst>
              <a:ext uri="{FF2B5EF4-FFF2-40B4-BE49-F238E27FC236}">
                <a16:creationId xmlns:a16="http://schemas.microsoft.com/office/drawing/2014/main" id="{A1501889-DF3B-413D-8BF2-F9085FFD27A9}"/>
              </a:ext>
            </a:extLst>
          </p:cNvPr>
          <p:cNvSpPr/>
          <p:nvPr/>
        </p:nvSpPr>
        <p:spPr>
          <a:xfrm>
            <a:off x="4212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locks</a:t>
            </a:r>
          </a:p>
        </p:txBody>
      </p:sp>
      <p:sp>
        <p:nvSpPr>
          <p:cNvPr id="76" name="Rechteck 75">
            <a:extLst>
              <a:ext uri="{FF2B5EF4-FFF2-40B4-BE49-F238E27FC236}">
                <a16:creationId xmlns:a16="http://schemas.microsoft.com/office/drawing/2014/main" id="{C161AAA1-F453-49C0-8095-E72264352C0E}"/>
              </a:ext>
            </a:extLst>
          </p:cNvPr>
          <p:cNvSpPr/>
          <p:nvPr/>
        </p:nvSpPr>
        <p:spPr>
          <a:xfrm>
            <a:off x="5220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tements</a:t>
            </a:r>
          </a:p>
        </p:txBody>
      </p:sp>
      <p:sp>
        <p:nvSpPr>
          <p:cNvPr id="77" name="Rechteck 76">
            <a:extLst>
              <a:ext uri="{FF2B5EF4-FFF2-40B4-BE49-F238E27FC236}">
                <a16:creationId xmlns:a16="http://schemas.microsoft.com/office/drawing/2014/main" id="{A45AF967-822E-4103-852D-168CE2E5153B}"/>
              </a:ext>
            </a:extLst>
          </p:cNvPr>
          <p:cNvSpPr/>
          <p:nvPr/>
        </p:nvSpPr>
        <p:spPr>
          <a:xfrm>
            <a:off x="4068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rocedure Calls</a:t>
            </a:r>
          </a:p>
        </p:txBody>
      </p:sp>
      <p:sp>
        <p:nvSpPr>
          <p:cNvPr id="78" name="Rechteck 77">
            <a:extLst>
              <a:ext uri="{FF2B5EF4-FFF2-40B4-BE49-F238E27FC236}">
                <a16:creationId xmlns:a16="http://schemas.microsoft.com/office/drawing/2014/main" id="{B673E06C-21EA-4533-B3C6-26AF672E1587}"/>
              </a:ext>
            </a:extLst>
          </p:cNvPr>
          <p:cNvSpPr/>
          <p:nvPr/>
        </p:nvSpPr>
        <p:spPr>
          <a:xfrm>
            <a:off x="3996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ntrol Flow</a:t>
            </a:r>
          </a:p>
        </p:txBody>
      </p:sp>
      <p:sp>
        <p:nvSpPr>
          <p:cNvPr id="79" name="Rechteck 78">
            <a:extLst>
              <a:ext uri="{FF2B5EF4-FFF2-40B4-BE49-F238E27FC236}">
                <a16:creationId xmlns:a16="http://schemas.microsoft.com/office/drawing/2014/main" id="{8B13D5CF-57EF-457A-9962-ED8814EA3851}"/>
              </a:ext>
            </a:extLst>
          </p:cNvPr>
          <p:cNvSpPr/>
          <p:nvPr/>
        </p:nvSpPr>
        <p:spPr>
          <a:xfrm>
            <a:off x="5364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ssignments</a:t>
            </a:r>
          </a:p>
        </p:txBody>
      </p:sp>
      <p:sp>
        <p:nvSpPr>
          <p:cNvPr id="81" name="Rechteck 80">
            <a:extLst>
              <a:ext uri="{FF2B5EF4-FFF2-40B4-BE49-F238E27FC236}">
                <a16:creationId xmlns:a16="http://schemas.microsoft.com/office/drawing/2014/main" id="{25AB34E7-371E-4C85-B4D8-731F3244EE03}"/>
              </a:ext>
            </a:extLst>
          </p:cNvPr>
          <p:cNvSpPr/>
          <p:nvPr/>
        </p:nvSpPr>
        <p:spPr>
          <a:xfrm>
            <a:off x="5724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ransactions</a:t>
            </a:r>
          </a:p>
        </p:txBody>
      </p:sp>
      <p:sp>
        <p:nvSpPr>
          <p:cNvPr id="87" name="Rechteck 86">
            <a:extLst>
              <a:ext uri="{FF2B5EF4-FFF2-40B4-BE49-F238E27FC236}">
                <a16:creationId xmlns:a16="http://schemas.microsoft.com/office/drawing/2014/main" id="{5F811C55-C066-4D33-A253-5A901D75DDEC}"/>
              </a:ext>
            </a:extLst>
          </p:cNvPr>
          <p:cNvSpPr/>
          <p:nvPr/>
        </p:nvSpPr>
        <p:spPr>
          <a:xfrm>
            <a:off x="4644000" y="422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Calls</a:t>
            </a:r>
          </a:p>
        </p:txBody>
      </p:sp>
      <p:sp>
        <p:nvSpPr>
          <p:cNvPr id="88" name="Rechteck 87">
            <a:extLst>
              <a:ext uri="{FF2B5EF4-FFF2-40B4-BE49-F238E27FC236}">
                <a16:creationId xmlns:a16="http://schemas.microsoft.com/office/drawing/2014/main" id="{654BC8F4-365C-4AFC-91A5-AC7FE1356F0C}"/>
              </a:ext>
            </a:extLst>
          </p:cNvPr>
          <p:cNvSpPr/>
          <p:nvPr/>
        </p:nvSpPr>
        <p:spPr>
          <a:xfrm>
            <a:off x="3132000" y="4437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Parameters</a:t>
            </a:r>
          </a:p>
        </p:txBody>
      </p:sp>
      <p:sp>
        <p:nvSpPr>
          <p:cNvPr id="89" name="Rechteck 88">
            <a:extLst>
              <a:ext uri="{FF2B5EF4-FFF2-40B4-BE49-F238E27FC236}">
                <a16:creationId xmlns:a16="http://schemas.microsoft.com/office/drawing/2014/main" id="{90BDBA5A-3D0E-47A3-B284-CEF26F60B1B0}"/>
              </a:ext>
            </a:extLst>
          </p:cNvPr>
          <p:cNvSpPr/>
          <p:nvPr/>
        </p:nvSpPr>
        <p:spPr>
          <a:xfrm>
            <a:off x="1908000" y="414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43C45C2E-950A-43A4-955E-B7837A1957E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91" name="Rechteck 90">
            <a:extLst>
              <a:ext uri="{FF2B5EF4-FFF2-40B4-BE49-F238E27FC236}">
                <a16:creationId xmlns:a16="http://schemas.microsoft.com/office/drawing/2014/main" id="{4B6288E5-5141-4C33-A87C-4BEA2577B312}"/>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95" name="Rechteck 94">
            <a:extLst>
              <a:ext uri="{FF2B5EF4-FFF2-40B4-BE49-F238E27FC236}">
                <a16:creationId xmlns:a16="http://schemas.microsoft.com/office/drawing/2014/main" id="{1876A4DD-C6B9-4911-95AE-A1BDFC478F6E}"/>
              </a:ext>
            </a:extLst>
          </p:cNvPr>
          <p:cNvSpPr/>
          <p:nvPr/>
        </p:nvSpPr>
        <p:spPr>
          <a:xfrm>
            <a:off x="6156000" y="443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de Fragments</a:t>
            </a:r>
          </a:p>
        </p:txBody>
      </p:sp>
      <p:sp>
        <p:nvSpPr>
          <p:cNvPr id="96" name="Rechteck 95">
            <a:extLst>
              <a:ext uri="{FF2B5EF4-FFF2-40B4-BE49-F238E27FC236}">
                <a16:creationId xmlns:a16="http://schemas.microsoft.com/office/drawing/2014/main" id="{24A7322F-FDF6-41F4-A1B5-4739450DDE81}"/>
              </a:ext>
            </a:extLst>
          </p:cNvPr>
          <p:cNvSpPr/>
          <p:nvPr/>
        </p:nvSpPr>
        <p:spPr>
          <a:xfrm>
            <a:off x="1908000" y="51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4FA8C883-FC7E-4903-8C53-43AF5E6B216A}"/>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98" name="Rechteck 97">
            <a:extLst>
              <a:ext uri="{FF2B5EF4-FFF2-40B4-BE49-F238E27FC236}">
                <a16:creationId xmlns:a16="http://schemas.microsoft.com/office/drawing/2014/main" id="{CD73203E-F856-4AB1-BD01-006A1C4DA755}"/>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00" name="Rechteck 99">
            <a:extLst>
              <a:ext uri="{FF2B5EF4-FFF2-40B4-BE49-F238E27FC236}">
                <a16:creationId xmlns:a16="http://schemas.microsoft.com/office/drawing/2014/main" id="{D9E524F6-DEDE-40A9-AAC7-E7013ED2F6F9}"/>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01" name="Rechteck 100">
            <a:extLst>
              <a:ext uri="{FF2B5EF4-FFF2-40B4-BE49-F238E27FC236}">
                <a16:creationId xmlns:a16="http://schemas.microsoft.com/office/drawing/2014/main" id="{B97C9082-A171-4F93-89EE-C286EE6C509C}"/>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02" name="Rechteck 101">
            <a:extLst>
              <a:ext uri="{FF2B5EF4-FFF2-40B4-BE49-F238E27FC236}">
                <a16:creationId xmlns:a16="http://schemas.microsoft.com/office/drawing/2014/main" id="{609712B9-1A6D-42B9-8683-72AA648F7FCE}"/>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03" name="Rechteck 102">
            <a:extLst>
              <a:ext uri="{FF2B5EF4-FFF2-40B4-BE49-F238E27FC236}">
                <a16:creationId xmlns:a16="http://schemas.microsoft.com/office/drawing/2014/main" id="{EAEFE983-4976-4C8B-88F0-B563C8E71F08}"/>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12" name="Rechteck 111">
            <a:extLst>
              <a:ext uri="{FF2B5EF4-FFF2-40B4-BE49-F238E27FC236}">
                <a16:creationId xmlns:a16="http://schemas.microsoft.com/office/drawing/2014/main" id="{1653CB6D-C51F-4D27-A010-85080B6CF3C8}"/>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115" name="Rechteck 114">
            <a:extLst>
              <a:ext uri="{FF2B5EF4-FFF2-40B4-BE49-F238E27FC236}">
                <a16:creationId xmlns:a16="http://schemas.microsoft.com/office/drawing/2014/main" id="{6EEB48F0-9767-4B6E-8752-5D32AC4B5587}"/>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80" name="Rechteck 79">
            <a:extLst>
              <a:ext uri="{FF2B5EF4-FFF2-40B4-BE49-F238E27FC236}">
                <a16:creationId xmlns:a16="http://schemas.microsoft.com/office/drawing/2014/main" id="{C77BE7FB-FA68-43E1-986A-F243BFD806BC}"/>
              </a:ext>
            </a:extLst>
          </p:cNvPr>
          <p:cNvSpPr/>
          <p:nvPr/>
        </p:nvSpPr>
        <p:spPr>
          <a:xfrm>
            <a:off x="4932000" y="2997000"/>
            <a:ext cx="86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ndalone</a:t>
            </a:r>
          </a:p>
          <a:p>
            <a:pPr algn="ctr">
              <a:lnSpc>
                <a:spcPct val="90000"/>
              </a:lnSpc>
            </a:pPr>
            <a:r>
              <a:rPr lang="en-US" sz="1200" dirty="0">
                <a:solidFill>
                  <a:schemeClr val="tx1"/>
                </a:solidFill>
              </a:rPr>
              <a:t>Ad-hoc Operations</a:t>
            </a:r>
          </a:p>
        </p:txBody>
      </p:sp>
      <p:sp>
        <p:nvSpPr>
          <p:cNvPr id="85" name="Rechteck 84">
            <a:extLst>
              <a:ext uri="{FF2B5EF4-FFF2-40B4-BE49-F238E27FC236}">
                <a16:creationId xmlns:a16="http://schemas.microsoft.com/office/drawing/2014/main" id="{F8883378-1B0D-4E32-BBF2-A3D8BBD4621E}"/>
              </a:ext>
            </a:extLst>
          </p:cNvPr>
          <p:cNvSpPr/>
          <p:nvPr/>
        </p:nvSpPr>
        <p:spPr>
          <a:xfrm>
            <a:off x="3708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LHS Expressions *</a:t>
            </a:r>
          </a:p>
        </p:txBody>
      </p:sp>
      <p:sp>
        <p:nvSpPr>
          <p:cNvPr id="86" name="Rechteck 85">
            <a:extLst>
              <a:ext uri="{FF2B5EF4-FFF2-40B4-BE49-F238E27FC236}">
                <a16:creationId xmlns:a16="http://schemas.microsoft.com/office/drawing/2014/main" id="{BDF35AB9-BEB8-426F-91C3-EE70A8B8E5A7}"/>
              </a:ext>
            </a:extLst>
          </p:cNvPr>
          <p:cNvSpPr/>
          <p:nvPr/>
        </p:nvSpPr>
        <p:spPr>
          <a:xfrm>
            <a:off x="5580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RHS Expressions *</a:t>
            </a:r>
          </a:p>
        </p:txBody>
      </p:sp>
      <p:sp>
        <p:nvSpPr>
          <p:cNvPr id="122" name="Rechteck 121">
            <a:extLst>
              <a:ext uri="{FF2B5EF4-FFF2-40B4-BE49-F238E27FC236}">
                <a16:creationId xmlns:a16="http://schemas.microsoft.com/office/drawing/2014/main" id="{E21C2135-4099-490D-B8F0-B1CF2F71C05B}"/>
              </a:ext>
            </a:extLst>
          </p:cNvPr>
          <p:cNvSpPr/>
          <p:nvPr/>
        </p:nvSpPr>
        <p:spPr>
          <a:xfrm>
            <a:off x="1908000" y="33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16F5CE86-CF18-47F5-8E97-AA127F11F262}"/>
              </a:ext>
            </a:extLst>
          </p:cNvPr>
          <p:cNvSpPr/>
          <p:nvPr/>
        </p:nvSpPr>
        <p:spPr>
          <a:xfrm>
            <a:off x="1908000" y="36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63D1935B-2F88-4B27-A250-B7A19EB0DD0E}"/>
              </a:ext>
            </a:extLst>
          </p:cNvPr>
          <p:cNvSpPr/>
          <p:nvPr/>
        </p:nvSpPr>
        <p:spPr>
          <a:xfrm>
            <a:off x="1980000" y="465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Rechteck 57">
            <a:extLst>
              <a:ext uri="{FF2B5EF4-FFF2-40B4-BE49-F238E27FC236}">
                <a16:creationId xmlns:a16="http://schemas.microsoft.com/office/drawing/2014/main" id="{E50990EA-EDBD-44C2-A1C9-466ED8B1F00A}"/>
              </a:ext>
            </a:extLst>
          </p:cNvPr>
          <p:cNvSpPr/>
          <p:nvPr/>
        </p:nvSpPr>
        <p:spPr>
          <a:xfrm>
            <a:off x="6372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entheses</a:t>
            </a:r>
          </a:p>
        </p:txBody>
      </p:sp>
      <p:sp>
        <p:nvSpPr>
          <p:cNvPr id="59" name="Rechteck 58">
            <a:extLst>
              <a:ext uri="{FF2B5EF4-FFF2-40B4-BE49-F238E27FC236}">
                <a16:creationId xmlns:a16="http://schemas.microsoft.com/office/drawing/2014/main" id="{7ACD7D9C-0C85-4147-AF12-031603C2F2BF}"/>
              </a:ext>
            </a:extLst>
          </p:cNvPr>
          <p:cNvSpPr/>
          <p:nvPr/>
        </p:nvSpPr>
        <p:spPr>
          <a:xfrm>
            <a:off x="3348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parisons</a:t>
            </a:r>
          </a:p>
        </p:txBody>
      </p:sp>
      <p:sp>
        <p:nvSpPr>
          <p:cNvPr id="60" name="Rechteck 59">
            <a:extLst>
              <a:ext uri="{FF2B5EF4-FFF2-40B4-BE49-F238E27FC236}">
                <a16:creationId xmlns:a16="http://schemas.microsoft.com/office/drawing/2014/main" id="{40BAE191-3136-45FE-B517-34A86D34CB92}"/>
              </a:ext>
            </a:extLst>
          </p:cNvPr>
          <p:cNvSpPr/>
          <p:nvPr/>
        </p:nvSpPr>
        <p:spPr>
          <a:xfrm>
            <a:off x="4860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Operations</a:t>
            </a:r>
          </a:p>
        </p:txBody>
      </p:sp>
      <p:sp>
        <p:nvSpPr>
          <p:cNvPr id="61" name="Rechteck 60">
            <a:extLst>
              <a:ext uri="{FF2B5EF4-FFF2-40B4-BE49-F238E27FC236}">
                <a16:creationId xmlns:a16="http://schemas.microsoft.com/office/drawing/2014/main" id="{CD145C06-E09C-463F-B390-D48FB9684BB2}"/>
              </a:ext>
            </a:extLst>
          </p:cNvPr>
          <p:cNvSpPr/>
          <p:nvPr/>
        </p:nvSpPr>
        <p:spPr>
          <a:xfrm>
            <a:off x="4068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Unary</a:t>
            </a:r>
          </a:p>
        </p:txBody>
      </p:sp>
      <p:sp>
        <p:nvSpPr>
          <p:cNvPr id="62" name="Rechteck 61">
            <a:extLst>
              <a:ext uri="{FF2B5EF4-FFF2-40B4-BE49-F238E27FC236}">
                <a16:creationId xmlns:a16="http://schemas.microsoft.com/office/drawing/2014/main" id="{7301D8F5-AA49-468A-9CEC-1B5B26F2E790}"/>
              </a:ext>
            </a:extLst>
          </p:cNvPr>
          <p:cNvSpPr/>
          <p:nvPr/>
        </p:nvSpPr>
        <p:spPr>
          <a:xfrm>
            <a:off x="486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inary</a:t>
            </a:r>
          </a:p>
        </p:txBody>
      </p:sp>
      <p:sp>
        <p:nvSpPr>
          <p:cNvPr id="82" name="Rechteck 81">
            <a:extLst>
              <a:ext uri="{FF2B5EF4-FFF2-40B4-BE49-F238E27FC236}">
                <a16:creationId xmlns:a16="http://schemas.microsoft.com/office/drawing/2014/main" id="{1FC4342C-1269-43DA-AC5E-B329F1629E75}"/>
              </a:ext>
            </a:extLst>
          </p:cNvPr>
          <p:cNvSpPr/>
          <p:nvPr/>
        </p:nvSpPr>
        <p:spPr>
          <a:xfrm>
            <a:off x="558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d-hoc</a:t>
            </a:r>
          </a:p>
        </p:txBody>
      </p:sp>
      <p:cxnSp>
        <p:nvCxnSpPr>
          <p:cNvPr id="83" name="Gerader Verbinder 82">
            <a:extLst>
              <a:ext uri="{FF2B5EF4-FFF2-40B4-BE49-F238E27FC236}">
                <a16:creationId xmlns:a16="http://schemas.microsoft.com/office/drawing/2014/main" id="{D0D91D79-99C0-4F87-924C-90F084C7D7B7}"/>
              </a:ext>
            </a:extLst>
          </p:cNvPr>
          <p:cNvCxnSpPr/>
          <p:nvPr/>
        </p:nvCxnSpPr>
        <p:spPr>
          <a:xfrm>
            <a:off x="4356000" y="3933000"/>
            <a:ext cx="201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A0CD7589-058D-4D03-B0E5-BE7A67374389}"/>
              </a:ext>
            </a:extLst>
          </p:cNvPr>
          <p:cNvCxnSpPr>
            <a:cxnSpLocks/>
          </p:cNvCxnSpPr>
          <p:nvPr/>
        </p:nvCxnSpPr>
        <p:spPr>
          <a:xfrm>
            <a:off x="5436000" y="4941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hteck 116">
            <a:extLst>
              <a:ext uri="{FF2B5EF4-FFF2-40B4-BE49-F238E27FC236}">
                <a16:creationId xmlns:a16="http://schemas.microsoft.com/office/drawing/2014/main" id="{96F544E8-57B1-4858-A14E-319D74AA3AF0}"/>
              </a:ext>
            </a:extLst>
          </p:cNvPr>
          <p:cNvSpPr/>
          <p:nvPr/>
        </p:nvSpPr>
        <p:spPr>
          <a:xfrm>
            <a:off x="540000" y="6093000"/>
            <a:ext cx="44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200" dirty="0">
                <a:solidFill>
                  <a:schemeClr val="tx1"/>
                </a:solidFill>
              </a:rPr>
              <a:t>*  </a:t>
            </a:r>
            <a:r>
              <a:rPr lang="en-US" sz="1200" b="1" dirty="0">
                <a:solidFill>
                  <a:schemeClr val="tx1"/>
                </a:solidFill>
              </a:rPr>
              <a:t>LHS</a:t>
            </a:r>
            <a:r>
              <a:rPr lang="en-US" sz="1200" dirty="0">
                <a:solidFill>
                  <a:schemeClr val="tx1"/>
                </a:solidFill>
              </a:rPr>
              <a:t> = Left-Hand Side, </a:t>
            </a:r>
            <a:r>
              <a:rPr lang="en-US" sz="1200" b="1" dirty="0">
                <a:solidFill>
                  <a:schemeClr val="tx1"/>
                </a:solidFill>
              </a:rPr>
              <a:t>RHS</a:t>
            </a:r>
            <a:r>
              <a:rPr lang="en-US" sz="1200" dirty="0">
                <a:solidFill>
                  <a:schemeClr val="tx1"/>
                </a:solidFill>
              </a:rPr>
              <a:t> = Right-Hand Side (both in relation to assignment </a:t>
            </a:r>
            <a:r>
              <a:rPr lang="en-US" sz="1200">
                <a:solidFill>
                  <a:schemeClr val="tx1"/>
                </a:solidFill>
              </a:rPr>
              <a:t>symbols such as </a:t>
            </a:r>
            <a:r>
              <a:rPr lang="en-US" sz="1200" dirty="0">
                <a:solidFill>
                  <a:schemeClr val="tx1"/>
                </a:solidFill>
              </a:rPr>
              <a:t>‘</a:t>
            </a:r>
            <a:r>
              <a:rPr lang="en-US" sz="1200" b="1" dirty="0">
                <a:solidFill>
                  <a:srgbClr val="0000FF"/>
                </a:solidFill>
              </a:rPr>
              <a:t>=</a:t>
            </a:r>
            <a:r>
              <a:rPr lang="en-US" sz="1200" dirty="0">
                <a:solidFill>
                  <a:schemeClr val="tx1"/>
                </a:solidFill>
              </a:rPr>
              <a:t>‘</a:t>
            </a:r>
          </a:p>
        </p:txBody>
      </p:sp>
    </p:spTree>
    <p:extLst>
      <p:ext uri="{BB962C8B-B14F-4D97-AF65-F5344CB8AC3E}">
        <p14:creationId xmlns:p14="http://schemas.microsoft.com/office/powerpoint/2010/main" val="167408784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 Calling Hierarchy to access variables</a:t>
            </a:r>
            <a:br>
              <a:rPr lang="en-US" dirty="0"/>
            </a:br>
            <a:r>
              <a:rPr lang="en-US" dirty="0"/>
              <a:t>(Internal)</a:t>
            </a:r>
          </a:p>
        </p:txBody>
      </p:sp>
      <p:sp>
        <p:nvSpPr>
          <p:cNvPr id="3" name="Textplatzhalter 2"/>
          <p:cNvSpPr>
            <a:spLocks noGrp="1"/>
          </p:cNvSpPr>
          <p:nvPr>
            <p:ph type="body" sz="quarter" idx="16"/>
          </p:nvPr>
        </p:nvSpPr>
        <p:spPr/>
        <p:txBody>
          <a:bodyPr/>
          <a:lstStyle/>
          <a:p>
            <a:endParaRPr lang="en-US"/>
          </a:p>
        </p:txBody>
      </p:sp>
      <p:sp>
        <p:nvSpPr>
          <p:cNvPr id="4" name="Rechteck 3"/>
          <p:cNvSpPr/>
          <p:nvPr/>
        </p:nvSpPr>
        <p:spPr>
          <a:xfrm>
            <a:off x="107380" y="4797190"/>
            <a:ext cx="15122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6" name="Rechteck 5"/>
          <p:cNvSpPr/>
          <p:nvPr/>
        </p:nvSpPr>
        <p:spPr>
          <a:xfrm>
            <a:off x="2123660" y="4797190"/>
            <a:ext cx="180025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7" name="Rechteck 6"/>
          <p:cNvSpPr/>
          <p:nvPr/>
        </p:nvSpPr>
        <p:spPr>
          <a:xfrm>
            <a:off x="1073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Read</a:t>
            </a:r>
          </a:p>
        </p:txBody>
      </p:sp>
      <p:cxnSp>
        <p:nvCxnSpPr>
          <p:cNvPr id="9" name="Gerade Verbindung 8"/>
          <p:cNvCxnSpPr>
            <a:stCxn id="7" idx="2"/>
            <a:endCxn id="4" idx="0"/>
          </p:cNvCxnSpPr>
          <p:nvPr/>
        </p:nvCxnSpPr>
        <p:spPr>
          <a:xfrm>
            <a:off x="395420" y="4293120"/>
            <a:ext cx="46806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a:xfrm>
            <a:off x="8274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Write</a:t>
            </a:r>
          </a:p>
        </p:txBody>
      </p:sp>
      <p:cxnSp>
        <p:nvCxnSpPr>
          <p:cNvPr id="11" name="Gerade Verbindung 10"/>
          <p:cNvCxnSpPr>
            <a:stCxn id="10" idx="2"/>
            <a:endCxn id="4" idx="0"/>
          </p:cNvCxnSpPr>
          <p:nvPr/>
        </p:nvCxnSpPr>
        <p:spPr>
          <a:xfrm flipH="1">
            <a:off x="863485" y="429312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a:xfrm>
            <a:off x="1619590" y="3933070"/>
            <a:ext cx="11521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r>
              <a:rPr lang="en-US" sz="1000" dirty="0" err="1">
                <a:solidFill>
                  <a:schemeClr val="tx1"/>
                </a:solidFill>
              </a:rPr>
              <a:t>Get_Sibling</a:t>
            </a:r>
            <a:r>
              <a:rPr lang="en-US" sz="1000" dirty="0">
                <a:solidFill>
                  <a:schemeClr val="tx1"/>
                </a:solidFill>
              </a:rPr>
              <a:t>_-</a:t>
            </a:r>
            <a:br>
              <a:rPr lang="en-US" sz="1000" dirty="0">
                <a:solidFill>
                  <a:schemeClr val="tx1"/>
                </a:solidFill>
              </a:rPr>
            </a:br>
            <a:r>
              <a:rPr lang="en-US" sz="1000" dirty="0" err="1">
                <a:solidFill>
                  <a:schemeClr val="tx1"/>
                </a:solidFill>
              </a:rPr>
              <a:t>Container_List</a:t>
            </a:r>
            <a:endParaRPr lang="en-US" sz="1000" dirty="0">
              <a:solidFill>
                <a:schemeClr val="tx1"/>
              </a:solidFill>
            </a:endParaRPr>
          </a:p>
        </p:txBody>
      </p:sp>
      <p:cxnSp>
        <p:nvCxnSpPr>
          <p:cNvPr id="15" name="Gerade Verbindung 14"/>
          <p:cNvCxnSpPr>
            <a:stCxn id="14" idx="2"/>
            <a:endCxn id="4" idx="0"/>
          </p:cNvCxnSpPr>
          <p:nvPr/>
        </p:nvCxnSpPr>
        <p:spPr>
          <a:xfrm flipH="1">
            <a:off x="863485" y="4293120"/>
            <a:ext cx="13321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2915770" y="393307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rh_Access_Variable</a:t>
            </a:r>
            <a:endParaRPr lang="en-US" sz="1000" dirty="0">
              <a:solidFill>
                <a:schemeClr val="tx1"/>
              </a:solidFill>
            </a:endParaRPr>
          </a:p>
        </p:txBody>
      </p:sp>
      <p:cxnSp>
        <p:nvCxnSpPr>
          <p:cNvPr id="20" name="Gerade Verbindung 19"/>
          <p:cNvCxnSpPr>
            <a:stCxn id="18" idx="2"/>
            <a:endCxn id="4" idx="0"/>
          </p:cNvCxnSpPr>
          <p:nvPr/>
        </p:nvCxnSpPr>
        <p:spPr>
          <a:xfrm flipH="1">
            <a:off x="863485" y="4293120"/>
            <a:ext cx="28443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a:stCxn id="18" idx="2"/>
            <a:endCxn id="6" idx="0"/>
          </p:cNvCxnSpPr>
          <p:nvPr/>
        </p:nvCxnSpPr>
        <p:spPr>
          <a:xfrm flipH="1">
            <a:off x="3023785" y="4293120"/>
            <a:ext cx="6840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579617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Read</a:t>
            </a:r>
          </a:p>
        </p:txBody>
      </p:sp>
      <p:sp>
        <p:nvSpPr>
          <p:cNvPr id="40" name="Rechteck 39"/>
          <p:cNvSpPr/>
          <p:nvPr/>
        </p:nvSpPr>
        <p:spPr>
          <a:xfrm>
            <a:off x="687632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Write</a:t>
            </a:r>
          </a:p>
        </p:txBody>
      </p:sp>
      <p:cxnSp>
        <p:nvCxnSpPr>
          <p:cNvPr id="41" name="Gerade Verbindung 40"/>
          <p:cNvCxnSpPr>
            <a:endCxn id="39" idx="0"/>
          </p:cNvCxnSpPr>
          <p:nvPr/>
        </p:nvCxnSpPr>
        <p:spPr>
          <a:xfrm>
            <a:off x="630024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a:stCxn id="40" idx="0"/>
          </p:cNvCxnSpPr>
          <p:nvPr/>
        </p:nvCxnSpPr>
        <p:spPr>
          <a:xfrm flipV="1">
            <a:off x="738039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7956470" y="479719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Pointer</a:t>
            </a:r>
            <a:endParaRPr lang="en-US" sz="1000" dirty="0">
              <a:solidFill>
                <a:schemeClr val="tx1"/>
              </a:solidFill>
            </a:endParaRPr>
          </a:p>
        </p:txBody>
      </p:sp>
      <p:cxnSp>
        <p:nvCxnSpPr>
          <p:cNvPr id="50" name="Gerade Verbindung 49"/>
          <p:cNvCxnSpPr>
            <a:stCxn id="49" idx="0"/>
            <a:endCxn id="58" idx="2"/>
          </p:cNvCxnSpPr>
          <p:nvPr/>
        </p:nvCxnSpPr>
        <p:spPr>
          <a:xfrm flipV="1">
            <a:off x="8460540" y="1700760"/>
            <a:ext cx="0" cy="30964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a:endCxn id="14" idx="0"/>
          </p:cNvCxnSpPr>
          <p:nvPr/>
        </p:nvCxnSpPr>
        <p:spPr>
          <a:xfrm>
            <a:off x="219567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7956470" y="13407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gram start</a:t>
            </a:r>
            <a:br>
              <a:rPr lang="en-US" sz="1000" dirty="0">
                <a:solidFill>
                  <a:schemeClr val="tx1"/>
                </a:solidFill>
              </a:rPr>
            </a:br>
            <a:r>
              <a:rPr lang="en-US" sz="1000" dirty="0">
                <a:solidFill>
                  <a:schemeClr val="tx1"/>
                </a:solidFill>
              </a:rPr>
              <a:t>sequence</a:t>
            </a:r>
          </a:p>
        </p:txBody>
      </p:sp>
      <p:sp>
        <p:nvSpPr>
          <p:cNvPr id="60" name="Rechteck 59"/>
          <p:cNvSpPr/>
          <p:nvPr/>
        </p:nvSpPr>
        <p:spPr>
          <a:xfrm>
            <a:off x="107380" y="3068950"/>
            <a:ext cx="25923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Variable_Expression_in_Parameter</a:t>
            </a:r>
            <a:endParaRPr lang="en-US" sz="1000" dirty="0">
              <a:solidFill>
                <a:schemeClr val="tx1"/>
              </a:solidFill>
            </a:endParaRPr>
          </a:p>
        </p:txBody>
      </p:sp>
      <p:cxnSp>
        <p:nvCxnSpPr>
          <p:cNvPr id="61" name="Gerade Verbindung 60"/>
          <p:cNvCxnSpPr>
            <a:stCxn id="60" idx="2"/>
            <a:endCxn id="18" idx="0"/>
          </p:cNvCxnSpPr>
          <p:nvPr/>
        </p:nvCxnSpPr>
        <p:spPr>
          <a:xfrm>
            <a:off x="1403560" y="3429000"/>
            <a:ext cx="230432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a:stCxn id="18" idx="0"/>
            <a:endCxn id="68" idx="2"/>
          </p:cNvCxnSpPr>
          <p:nvPr/>
        </p:nvCxnSpPr>
        <p:spPr>
          <a:xfrm flipV="1">
            <a:off x="3707880" y="3429000"/>
            <a:ext cx="223231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5076070" y="306895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a:solidFill>
                  <a:schemeClr val="tx1"/>
                </a:solidFill>
              </a:rPr>
              <a:t>Expression</a:t>
            </a:r>
          </a:p>
        </p:txBody>
      </p:sp>
      <p:sp>
        <p:nvSpPr>
          <p:cNvPr id="73" name="Rechteck 72"/>
          <p:cNvSpPr/>
          <p:nvPr/>
        </p:nvSpPr>
        <p:spPr>
          <a:xfrm>
            <a:off x="2483710" y="2204830"/>
            <a:ext cx="18722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err="1">
                <a:solidFill>
                  <a:schemeClr val="tx1"/>
                </a:solidFill>
              </a:rPr>
              <a:t>Expression_in_Parameter_Start</a:t>
            </a:r>
            <a:endParaRPr lang="en-US" sz="1000" dirty="0">
              <a:solidFill>
                <a:schemeClr val="tx1"/>
              </a:solidFill>
            </a:endParaRPr>
          </a:p>
        </p:txBody>
      </p:sp>
      <p:cxnSp>
        <p:nvCxnSpPr>
          <p:cNvPr id="74" name="Gerade Verbindung 73"/>
          <p:cNvCxnSpPr>
            <a:stCxn id="73" idx="2"/>
            <a:endCxn id="60" idx="0"/>
          </p:cNvCxnSpPr>
          <p:nvPr/>
        </p:nvCxnSpPr>
        <p:spPr>
          <a:xfrm flipH="1">
            <a:off x="1403560" y="2564880"/>
            <a:ext cx="201628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Rechteck 77"/>
          <p:cNvSpPr/>
          <p:nvPr/>
        </p:nvSpPr>
        <p:spPr>
          <a:xfrm>
            <a:off x="107380" y="2204830"/>
            <a:ext cx="208829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Insert_Inline</a:t>
            </a:r>
            <a:r>
              <a:rPr lang="en-US" sz="1000" dirty="0">
                <a:solidFill>
                  <a:schemeClr val="tx1"/>
                </a:solidFill>
              </a:rPr>
              <a:t>_</a:t>
            </a:r>
            <a:br>
              <a:rPr lang="en-US" sz="1000" dirty="0">
                <a:solidFill>
                  <a:schemeClr val="tx1"/>
                </a:solidFill>
              </a:rPr>
            </a:br>
            <a:r>
              <a:rPr lang="en-US" sz="1000" dirty="0" err="1">
                <a:solidFill>
                  <a:schemeClr val="tx1"/>
                </a:solidFill>
              </a:rPr>
              <a:t>Code_into_Parameters</a:t>
            </a:r>
            <a:endParaRPr lang="en-US" sz="1000" dirty="0">
              <a:solidFill>
                <a:schemeClr val="tx1"/>
              </a:solidFill>
            </a:endParaRPr>
          </a:p>
        </p:txBody>
      </p:sp>
      <p:cxnSp>
        <p:nvCxnSpPr>
          <p:cNvPr id="81" name="Gerade Verbindung 80"/>
          <p:cNvCxnSpPr>
            <a:stCxn id="78" idx="2"/>
            <a:endCxn id="60" idx="0"/>
          </p:cNvCxnSpPr>
          <p:nvPr/>
        </p:nvCxnSpPr>
        <p:spPr>
          <a:xfrm>
            <a:off x="1151525" y="256488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107380" y="134071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de_Execution_Package</a:t>
            </a:r>
            <a:r>
              <a:rPr lang="en-US" sz="1000" dirty="0">
                <a:solidFill>
                  <a:schemeClr val="tx1"/>
                </a:solidFill>
              </a:rPr>
              <a:t>::</a:t>
            </a:r>
            <a:br>
              <a:rPr lang="en-US" sz="1000" dirty="0">
                <a:solidFill>
                  <a:schemeClr val="tx1"/>
                </a:solidFill>
              </a:rPr>
            </a:br>
            <a:r>
              <a:rPr lang="en-US" sz="1000" dirty="0" err="1">
                <a:solidFill>
                  <a:schemeClr val="tx1"/>
                </a:solidFill>
              </a:rPr>
              <a:t>Start_lh</a:t>
            </a:r>
            <a:endParaRPr lang="en-US" sz="1000" dirty="0">
              <a:solidFill>
                <a:schemeClr val="tx1"/>
              </a:solidFill>
            </a:endParaRPr>
          </a:p>
        </p:txBody>
      </p:sp>
      <p:cxnSp>
        <p:nvCxnSpPr>
          <p:cNvPr id="85" name="Gerade Verbindung 84"/>
          <p:cNvCxnSpPr>
            <a:stCxn id="84" idx="2"/>
            <a:endCxn id="73" idx="0"/>
          </p:cNvCxnSpPr>
          <p:nvPr/>
        </p:nvCxnSpPr>
        <p:spPr>
          <a:xfrm>
            <a:off x="971500" y="1700760"/>
            <a:ext cx="24483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90763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protect</a:t>
            </a:r>
          </a:p>
        </p:txBody>
      </p:sp>
      <p:sp>
        <p:nvSpPr>
          <p:cNvPr id="90" name="Rechteck 89"/>
          <p:cNvSpPr/>
          <p:nvPr/>
        </p:nvSpPr>
        <p:spPr>
          <a:xfrm>
            <a:off x="277175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inspect</a:t>
            </a:r>
          </a:p>
        </p:txBody>
      </p:sp>
      <p:sp>
        <p:nvSpPr>
          <p:cNvPr id="91" name="Rechteck 90"/>
          <p:cNvSpPr/>
          <p:nvPr/>
        </p:nvSpPr>
        <p:spPr>
          <a:xfrm>
            <a:off x="363587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delete</a:t>
            </a:r>
          </a:p>
        </p:txBody>
      </p:sp>
      <p:cxnSp>
        <p:nvCxnSpPr>
          <p:cNvPr id="92" name="Gerade Verbindung 91"/>
          <p:cNvCxnSpPr>
            <a:stCxn id="89" idx="2"/>
            <a:endCxn id="73" idx="0"/>
          </p:cNvCxnSpPr>
          <p:nvPr/>
        </p:nvCxnSpPr>
        <p:spPr>
          <a:xfrm>
            <a:off x="2303685" y="1700760"/>
            <a:ext cx="111615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a:stCxn id="90" idx="2"/>
            <a:endCxn id="73" idx="0"/>
          </p:cNvCxnSpPr>
          <p:nvPr/>
        </p:nvCxnSpPr>
        <p:spPr>
          <a:xfrm>
            <a:off x="3167805" y="170076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084210" y="220483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rh</a:t>
            </a:r>
            <a:r>
              <a:rPr lang="en-US" sz="1000" dirty="0">
                <a:solidFill>
                  <a:schemeClr val="tx1"/>
                </a:solidFill>
              </a:rPr>
              <a:t>_</a:t>
            </a:r>
            <a:br>
              <a:rPr lang="en-US" sz="1000" dirty="0">
                <a:solidFill>
                  <a:schemeClr val="tx1"/>
                </a:solidFill>
              </a:rPr>
            </a:br>
            <a:r>
              <a:rPr lang="en-US" sz="1000" dirty="0">
                <a:solidFill>
                  <a:schemeClr val="tx1"/>
                </a:solidFill>
              </a:rPr>
              <a:t>Transaction</a:t>
            </a:r>
          </a:p>
        </p:txBody>
      </p:sp>
      <p:cxnSp>
        <p:nvCxnSpPr>
          <p:cNvPr id="102" name="Gerade Verbindung 101"/>
          <p:cNvCxnSpPr>
            <a:stCxn id="101" idx="2"/>
            <a:endCxn id="68" idx="0"/>
          </p:cNvCxnSpPr>
          <p:nvPr/>
        </p:nvCxnSpPr>
        <p:spPr>
          <a:xfrm flipH="1">
            <a:off x="5940190" y="2564880"/>
            <a:ext cx="75610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4932050" y="134071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rh</a:t>
            </a:r>
            <a:r>
              <a:rPr lang="en-US" sz="1000" dirty="0">
                <a:solidFill>
                  <a:schemeClr val="tx1"/>
                </a:solidFill>
              </a:rPr>
              <a:t>_</a:t>
            </a:r>
            <a:br>
              <a:rPr lang="en-US" sz="1000" dirty="0">
                <a:solidFill>
                  <a:schemeClr val="tx1"/>
                </a:solidFill>
              </a:rPr>
            </a:br>
            <a:r>
              <a:rPr lang="en-US" sz="1000" dirty="0">
                <a:solidFill>
                  <a:schemeClr val="tx1"/>
                </a:solidFill>
              </a:rPr>
              <a:t>Statement</a:t>
            </a:r>
          </a:p>
        </p:txBody>
      </p:sp>
      <p:cxnSp>
        <p:nvCxnSpPr>
          <p:cNvPr id="106" name="Gerade Verbindung 105"/>
          <p:cNvCxnSpPr>
            <a:stCxn id="105" idx="2"/>
            <a:endCxn id="68" idx="0"/>
          </p:cNvCxnSpPr>
          <p:nvPr/>
        </p:nvCxnSpPr>
        <p:spPr>
          <a:xfrm>
            <a:off x="5544135" y="1700760"/>
            <a:ext cx="396055" cy="13681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a:stCxn id="101" idx="0"/>
            <a:endCxn id="105" idx="2"/>
          </p:cNvCxnSpPr>
          <p:nvPr/>
        </p:nvCxnSpPr>
        <p:spPr>
          <a:xfrm flipH="1" flipV="1">
            <a:off x="5544135" y="1700760"/>
            <a:ext cx="115216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2915770" y="306895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rh_Expression_Basic</a:t>
            </a:r>
            <a:endParaRPr lang="en-US" sz="1000" dirty="0">
              <a:solidFill>
                <a:schemeClr val="tx1"/>
              </a:solidFill>
            </a:endParaRPr>
          </a:p>
        </p:txBody>
      </p:sp>
      <p:cxnSp>
        <p:nvCxnSpPr>
          <p:cNvPr id="115" name="Gerade Verbindung 114"/>
          <p:cNvCxnSpPr>
            <a:stCxn id="114" idx="2"/>
            <a:endCxn id="18" idx="0"/>
          </p:cNvCxnSpPr>
          <p:nvPr/>
        </p:nvCxnSpPr>
        <p:spPr>
          <a:xfrm>
            <a:off x="3707880" y="3429000"/>
            <a:ext cx="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107380" y="5157240"/>
            <a:ext cx="79211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rgbClr val="FF0000"/>
                </a:solidFill>
              </a:rPr>
              <a:t>v_protect</a:t>
            </a:r>
            <a:endParaRPr lang="en-US" sz="1000" b="1" dirty="0">
              <a:solidFill>
                <a:srgbClr val="FF0000"/>
              </a:solidFill>
            </a:endParaRPr>
          </a:p>
        </p:txBody>
      </p:sp>
      <p:cxnSp>
        <p:nvCxnSpPr>
          <p:cNvPr id="119" name="Gerade Verbindung 118"/>
          <p:cNvCxnSpPr>
            <a:endCxn id="10" idx="0"/>
          </p:cNvCxnSpPr>
          <p:nvPr/>
        </p:nvCxnSpPr>
        <p:spPr>
          <a:xfrm>
            <a:off x="11155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121"/>
          <p:cNvCxnSpPr>
            <a:endCxn id="7" idx="0"/>
          </p:cNvCxnSpPr>
          <p:nvPr/>
        </p:nvCxnSpPr>
        <p:spPr>
          <a:xfrm>
            <a:off x="3954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a:stCxn id="91" idx="2"/>
            <a:endCxn id="73" idx="0"/>
          </p:cNvCxnSpPr>
          <p:nvPr/>
        </p:nvCxnSpPr>
        <p:spPr>
          <a:xfrm flipH="1">
            <a:off x="3419840" y="1700760"/>
            <a:ext cx="6120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4572000" y="56613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Delete</a:t>
            </a:r>
          </a:p>
        </p:txBody>
      </p:sp>
      <p:sp>
        <p:nvSpPr>
          <p:cNvPr id="137" name="Rechteck 136"/>
          <p:cNvSpPr/>
          <p:nvPr/>
        </p:nvSpPr>
        <p:spPr>
          <a:xfrm>
            <a:off x="4427980" y="4797190"/>
            <a:ext cx="57608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Delete</a:t>
            </a:r>
          </a:p>
        </p:txBody>
      </p:sp>
      <p:cxnSp>
        <p:nvCxnSpPr>
          <p:cNvPr id="138" name="Gerade Verbindung 137"/>
          <p:cNvCxnSpPr>
            <a:stCxn id="18" idx="2"/>
            <a:endCxn id="137" idx="0"/>
          </p:cNvCxnSpPr>
          <p:nvPr/>
        </p:nvCxnSpPr>
        <p:spPr>
          <a:xfrm>
            <a:off x="3707880" y="4293120"/>
            <a:ext cx="10081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 Verbindung 141"/>
          <p:cNvCxnSpPr>
            <a:stCxn id="137" idx="2"/>
            <a:endCxn id="136" idx="0"/>
          </p:cNvCxnSpPr>
          <p:nvPr/>
        </p:nvCxnSpPr>
        <p:spPr>
          <a:xfrm>
            <a:off x="4716020" y="5157240"/>
            <a:ext cx="36005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endCxn id="114" idx="0"/>
          </p:cNvCxnSpPr>
          <p:nvPr/>
        </p:nvCxnSpPr>
        <p:spPr>
          <a:xfrm>
            <a:off x="3707880" y="292493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027303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Vertical Operation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475570" y="3356990"/>
            <a:ext cx="504070" cy="165623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p:cNvSpPr/>
          <p:nvPr/>
        </p:nvSpPr>
        <p:spPr>
          <a:xfrm>
            <a:off x="1979640" y="3356990"/>
            <a:ext cx="158422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699740" y="33569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699740" y="34290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699740" y="35010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435612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cxnSp>
        <p:nvCxnSpPr>
          <p:cNvPr id="5" name="Gerade Verbindung 4"/>
          <p:cNvCxnSpPr/>
          <p:nvPr/>
        </p:nvCxnSpPr>
        <p:spPr>
          <a:xfrm>
            <a:off x="169160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135"/>
          <p:cNvCxnSpPr/>
          <p:nvPr/>
        </p:nvCxnSpPr>
        <p:spPr>
          <a:xfrm>
            <a:off x="219567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57"/>
          <p:cNvCxnSpPr/>
          <p:nvPr/>
        </p:nvCxnSpPr>
        <p:spPr>
          <a:xfrm>
            <a:off x="269974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284376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2699740" y="35730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2699740" y="36450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2699740" y="37170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1691600" y="33569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1691600" y="34290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1691600" y="35010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54" name="Gerade Verbindung 253"/>
          <p:cNvCxnSpPr/>
          <p:nvPr/>
        </p:nvCxnSpPr>
        <p:spPr>
          <a:xfrm>
            <a:off x="183562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1691600" y="35730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p:cNvSpPr/>
          <p:nvPr/>
        </p:nvSpPr>
        <p:spPr>
          <a:xfrm>
            <a:off x="1691600" y="3645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1691600" y="37170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1691600" y="38610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1691600" y="39330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0" name="Rechteck 259"/>
          <p:cNvSpPr/>
          <p:nvPr/>
        </p:nvSpPr>
        <p:spPr>
          <a:xfrm>
            <a:off x="1691600" y="40050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p:cNvSpPr/>
          <p:nvPr/>
        </p:nvSpPr>
        <p:spPr>
          <a:xfrm>
            <a:off x="1691600" y="40770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1691600" y="41491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1691600" y="42211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2699740" y="38610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p:cNvSpPr/>
          <p:nvPr/>
        </p:nvSpPr>
        <p:spPr>
          <a:xfrm>
            <a:off x="2699740" y="39330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2699740" y="40050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2699740" y="40770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2699740" y="41491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2699740" y="42211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699740" y="49412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1" name="Gerade Verbindung 270"/>
          <p:cNvCxnSpPr/>
          <p:nvPr/>
        </p:nvCxnSpPr>
        <p:spPr>
          <a:xfrm>
            <a:off x="161959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1475570" y="33569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1475570" y="34290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1475570" y="35010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1475570" y="35730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1475570" y="36450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1475570" y="37170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1475570" y="37890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1475570" y="38610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1475570" y="39330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1475570" y="40050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1475570" y="40770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1475570" y="41491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1475570" y="42211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1475570" y="42931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1475570" y="43651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1475570" y="44371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1475570" y="45091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1475570" y="45811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1475570" y="46531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1475570" y="47251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1475570" y="47971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1475570" y="48692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1475570" y="49412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23470117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 name="Rechteck 335"/>
          <p:cNvSpPr/>
          <p:nvPr/>
        </p:nvSpPr>
        <p:spPr>
          <a:xfrm>
            <a:off x="6660000" y="27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p:cNvSpPr/>
          <p:nvPr/>
        </p:nvSpPr>
        <p:spPr>
          <a:xfrm>
            <a:off x="3924280" y="2709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5" name="Rechteck 334"/>
          <p:cNvSpPr/>
          <p:nvPr/>
        </p:nvSpPr>
        <p:spPr>
          <a:xfrm>
            <a:off x="6660000" y="5013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4" name="Rechteck 333"/>
          <p:cNvSpPr/>
          <p:nvPr/>
        </p:nvSpPr>
        <p:spPr>
          <a:xfrm>
            <a:off x="3924424" y="5013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Process – Output Model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3204000" y="10532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fast (…)</a:t>
            </a:r>
          </a:p>
        </p:txBody>
      </p:sp>
      <p:sp>
        <p:nvSpPr>
          <p:cNvPr id="57" name="Rechteck 56"/>
          <p:cNvSpPr/>
          <p:nvPr/>
        </p:nvSpPr>
        <p:spPr>
          <a:xfrm>
            <a:off x="3924280"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p:cNvSpPr/>
          <p:nvPr/>
        </p:nvSpPr>
        <p:spPr>
          <a:xfrm>
            <a:off x="3923944"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 name="Gerade Verbindung 374"/>
          <p:cNvCxnSpPr/>
          <p:nvPr/>
        </p:nvCxnSpPr>
        <p:spPr>
          <a:xfrm>
            <a:off x="3924280"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3924280"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p:cNvSpPr/>
          <p:nvPr/>
        </p:nvSpPr>
        <p:spPr>
          <a:xfrm>
            <a:off x="3924280"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924280"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p:cNvSpPr/>
          <p:nvPr/>
        </p:nvSpPr>
        <p:spPr>
          <a:xfrm>
            <a:off x="3924280"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p:cNvSpPr/>
          <p:nvPr/>
        </p:nvSpPr>
        <p:spPr>
          <a:xfrm>
            <a:off x="3924280"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p:cNvSpPr/>
          <p:nvPr/>
        </p:nvSpPr>
        <p:spPr>
          <a:xfrm>
            <a:off x="3924280"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924280"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23800"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3923800"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3924280"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p:cNvSpPr/>
          <p:nvPr/>
        </p:nvSpPr>
        <p:spPr>
          <a:xfrm>
            <a:off x="3923944"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p:cNvSpPr/>
          <p:nvPr/>
        </p:nvSpPr>
        <p:spPr>
          <a:xfrm>
            <a:off x="3923608"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3923944"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 name="Gerade Verbindung mit Pfeil 6"/>
          <p:cNvCxnSpPr/>
          <p:nvPr/>
        </p:nvCxnSpPr>
        <p:spPr>
          <a:xfrm>
            <a:off x="3492424"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3492424"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83" name="Gerade Verbindung mit Pfeil 82"/>
          <p:cNvCxnSpPr/>
          <p:nvPr/>
        </p:nvCxnSpPr>
        <p:spPr>
          <a:xfrm>
            <a:off x="4860424" y="1989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4860424" y="184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85" name="Gerade Verbindung mit Pfeil 84"/>
          <p:cNvCxnSpPr/>
          <p:nvPr/>
        </p:nvCxnSpPr>
        <p:spPr>
          <a:xfrm>
            <a:off x="4572424"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3492424" y="1989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Gerade Verbindung mit Pfeil 86"/>
          <p:cNvCxnSpPr/>
          <p:nvPr/>
        </p:nvCxnSpPr>
        <p:spPr>
          <a:xfrm>
            <a:off x="4860424" y="2421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a:off x="4428424"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hteck 89"/>
          <p:cNvSpPr/>
          <p:nvPr/>
        </p:nvSpPr>
        <p:spPr>
          <a:xfrm>
            <a:off x="3492424" y="1845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91" name="Rechteck 90"/>
          <p:cNvSpPr/>
          <p:nvPr/>
        </p:nvSpPr>
        <p:spPr>
          <a:xfrm>
            <a:off x="4860424" y="2277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96" name="Rechteck 95"/>
          <p:cNvSpPr/>
          <p:nvPr/>
        </p:nvSpPr>
        <p:spPr>
          <a:xfrm>
            <a:off x="3924424"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continue</a:t>
            </a:r>
          </a:p>
        </p:txBody>
      </p:sp>
      <p:cxnSp>
        <p:nvCxnSpPr>
          <p:cNvPr id="97" name="Gerade Verbindung mit Pfeil 96"/>
          <p:cNvCxnSpPr/>
          <p:nvPr/>
        </p:nvCxnSpPr>
        <p:spPr>
          <a:xfrm>
            <a:off x="3492424" y="2421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8" name="Rechteck 97"/>
          <p:cNvSpPr/>
          <p:nvPr/>
        </p:nvSpPr>
        <p:spPr>
          <a:xfrm>
            <a:off x="3492424" y="227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99" name="Gerade Verbindung mit Pfeil 98"/>
          <p:cNvCxnSpPr/>
          <p:nvPr/>
        </p:nvCxnSpPr>
        <p:spPr>
          <a:xfrm>
            <a:off x="428408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p:nvPr/>
        </p:nvCxnSpPr>
        <p:spPr>
          <a:xfrm>
            <a:off x="4860424" y="26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860424" y="24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02" name="Gerade Verbindung mit Pfeil 101"/>
          <p:cNvCxnSpPr/>
          <p:nvPr/>
        </p:nvCxnSpPr>
        <p:spPr>
          <a:xfrm>
            <a:off x="3492424" y="2637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492424" y="249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06" name="Gerade Verbindung mit Pfeil 105"/>
          <p:cNvCxnSpPr/>
          <p:nvPr/>
        </p:nvCxnSpPr>
        <p:spPr>
          <a:xfrm>
            <a:off x="4140424"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Gerade Verbindung mit Pfeil 106"/>
          <p:cNvCxnSpPr/>
          <p:nvPr/>
        </p:nvCxnSpPr>
        <p:spPr>
          <a:xfrm>
            <a:off x="4860424" y="2997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4860424" y="285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11" name="Gerade Verbindung mit Pfeil 110"/>
          <p:cNvCxnSpPr/>
          <p:nvPr/>
        </p:nvCxnSpPr>
        <p:spPr>
          <a:xfrm>
            <a:off x="3492424" y="299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12" name="Rechteck 111"/>
          <p:cNvSpPr/>
          <p:nvPr/>
        </p:nvSpPr>
        <p:spPr>
          <a:xfrm>
            <a:off x="3492424" y="285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13" name="Gerade Verbindung mit Pfeil 112"/>
          <p:cNvCxnSpPr/>
          <p:nvPr/>
        </p:nvCxnSpPr>
        <p:spPr>
          <a:xfrm>
            <a:off x="4860424" y="31498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4860424" y="30058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19" name="Rechteck 118"/>
          <p:cNvSpPr/>
          <p:nvPr/>
        </p:nvSpPr>
        <p:spPr>
          <a:xfrm>
            <a:off x="6659856"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p:cNvSpPr/>
          <p:nvPr/>
        </p:nvSpPr>
        <p:spPr>
          <a:xfrm>
            <a:off x="6659520"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1" name="Gerade Verbindung 374"/>
          <p:cNvCxnSpPr/>
          <p:nvPr/>
        </p:nvCxnSpPr>
        <p:spPr>
          <a:xfrm>
            <a:off x="6659856"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122" name="Rechteck 121"/>
          <p:cNvSpPr/>
          <p:nvPr/>
        </p:nvSpPr>
        <p:spPr>
          <a:xfrm>
            <a:off x="6659856"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p:cNvSpPr/>
          <p:nvPr/>
        </p:nvSpPr>
        <p:spPr>
          <a:xfrm>
            <a:off x="6659856"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p:cNvSpPr/>
          <p:nvPr/>
        </p:nvSpPr>
        <p:spPr>
          <a:xfrm>
            <a:off x="6659856"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p:cNvSpPr/>
          <p:nvPr/>
        </p:nvSpPr>
        <p:spPr>
          <a:xfrm>
            <a:off x="6659856"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p:cNvSpPr/>
          <p:nvPr/>
        </p:nvSpPr>
        <p:spPr>
          <a:xfrm>
            <a:off x="6659856"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6659856"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8" name="Rechteck 127"/>
          <p:cNvSpPr/>
          <p:nvPr/>
        </p:nvSpPr>
        <p:spPr>
          <a:xfrm>
            <a:off x="6659856"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9" name="Rechteck 128"/>
          <p:cNvSpPr/>
          <p:nvPr/>
        </p:nvSpPr>
        <p:spPr>
          <a:xfrm>
            <a:off x="6659376"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p:cNvSpPr/>
          <p:nvPr/>
        </p:nvSpPr>
        <p:spPr>
          <a:xfrm>
            <a:off x="6659376"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p:cNvSpPr/>
          <p:nvPr/>
        </p:nvSpPr>
        <p:spPr>
          <a:xfrm>
            <a:off x="6659856"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6659520"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3" name="Rechteck 132"/>
          <p:cNvSpPr/>
          <p:nvPr/>
        </p:nvSpPr>
        <p:spPr>
          <a:xfrm>
            <a:off x="6659184"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p:cNvSpPr/>
          <p:nvPr/>
        </p:nvSpPr>
        <p:spPr>
          <a:xfrm>
            <a:off x="6659520"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5" name="Gerade Verbindung mit Pfeil 134"/>
          <p:cNvCxnSpPr/>
          <p:nvPr/>
        </p:nvCxnSpPr>
        <p:spPr>
          <a:xfrm>
            <a:off x="6228000"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6228000"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37" name="Gerade Verbindung mit Pfeil 136"/>
          <p:cNvCxnSpPr/>
          <p:nvPr/>
        </p:nvCxnSpPr>
        <p:spPr>
          <a:xfrm>
            <a:off x="7596000" y="177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8" name="Rechteck 137"/>
          <p:cNvSpPr/>
          <p:nvPr/>
        </p:nvSpPr>
        <p:spPr>
          <a:xfrm>
            <a:off x="7596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40" name="Gerade Verbindung mit Pfeil 139"/>
          <p:cNvCxnSpPr/>
          <p:nvPr/>
        </p:nvCxnSpPr>
        <p:spPr>
          <a:xfrm>
            <a:off x="6228000" y="177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Gerade Verbindung mit Pfeil 140"/>
          <p:cNvCxnSpPr/>
          <p:nvPr/>
        </p:nvCxnSpPr>
        <p:spPr>
          <a:xfrm>
            <a:off x="7596000" y="213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Gerade Verbindung mit Pfeil 141"/>
          <p:cNvCxnSpPr/>
          <p:nvPr/>
        </p:nvCxnSpPr>
        <p:spPr>
          <a:xfrm>
            <a:off x="7236000"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3" name="Rechteck 142"/>
          <p:cNvSpPr/>
          <p:nvPr/>
        </p:nvSpPr>
        <p:spPr>
          <a:xfrm>
            <a:off x="6228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44" name="Rechteck 143"/>
          <p:cNvSpPr/>
          <p:nvPr/>
        </p:nvSpPr>
        <p:spPr>
          <a:xfrm>
            <a:off x="7596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45" name="Rechteck 144"/>
          <p:cNvSpPr/>
          <p:nvPr/>
        </p:nvSpPr>
        <p:spPr>
          <a:xfrm>
            <a:off x="6660000"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a:t>
            </a:r>
            <a:r>
              <a:rPr lang="en-US" sz="1100" dirty="0" err="1">
                <a:solidFill>
                  <a:schemeClr val="tx1"/>
                </a:solidFill>
              </a:rPr>
              <a:t>optoin</a:t>
            </a:r>
            <a:r>
              <a:rPr lang="en-US" sz="1100" dirty="0">
                <a:solidFill>
                  <a:schemeClr val="tx1"/>
                </a:solidFill>
              </a:rPr>
              <a:t>:</a:t>
            </a:r>
          </a:p>
          <a:p>
            <a:r>
              <a:rPr lang="en-US" sz="1100" b="1" dirty="0">
                <a:solidFill>
                  <a:schemeClr val="tx1"/>
                </a:solidFill>
              </a:rPr>
              <a:t>repeat</a:t>
            </a:r>
          </a:p>
        </p:txBody>
      </p:sp>
      <p:cxnSp>
        <p:nvCxnSpPr>
          <p:cNvPr id="146" name="Gerade Verbindung mit Pfeil 145"/>
          <p:cNvCxnSpPr/>
          <p:nvPr/>
        </p:nvCxnSpPr>
        <p:spPr>
          <a:xfrm>
            <a:off x="6228000" y="213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47" name="Rechteck 146"/>
          <p:cNvSpPr/>
          <p:nvPr/>
        </p:nvSpPr>
        <p:spPr>
          <a:xfrm>
            <a:off x="6228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48" name="Gerade Verbindung mit Pfeil 147"/>
          <p:cNvCxnSpPr/>
          <p:nvPr/>
        </p:nvCxnSpPr>
        <p:spPr>
          <a:xfrm>
            <a:off x="709212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Gerade Verbindung mit Pfeil 148"/>
          <p:cNvCxnSpPr/>
          <p:nvPr/>
        </p:nvCxnSpPr>
        <p:spPr>
          <a:xfrm>
            <a:off x="7596000" y="2421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0" name="Rechteck 149"/>
          <p:cNvSpPr/>
          <p:nvPr/>
        </p:nvSpPr>
        <p:spPr>
          <a:xfrm>
            <a:off x="7596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1" name="Gerade Verbindung mit Pfeil 150"/>
          <p:cNvCxnSpPr/>
          <p:nvPr/>
        </p:nvCxnSpPr>
        <p:spPr>
          <a:xfrm>
            <a:off x="6228000" y="242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2" name="Rechteck 151"/>
          <p:cNvSpPr/>
          <p:nvPr/>
        </p:nvSpPr>
        <p:spPr>
          <a:xfrm>
            <a:off x="6228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53" name="Gerade Verbindung mit Pfeil 152"/>
          <p:cNvCxnSpPr/>
          <p:nvPr/>
        </p:nvCxnSpPr>
        <p:spPr>
          <a:xfrm>
            <a:off x="6948112"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p:cNvCxnSpPr/>
          <p:nvPr/>
        </p:nvCxnSpPr>
        <p:spPr>
          <a:xfrm>
            <a:off x="7596000" y="2781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5" name="Rechteck 154"/>
          <p:cNvSpPr/>
          <p:nvPr/>
        </p:nvSpPr>
        <p:spPr>
          <a:xfrm>
            <a:off x="7596000" y="263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6" name="Gerade Verbindung mit Pfeil 155"/>
          <p:cNvCxnSpPr/>
          <p:nvPr/>
        </p:nvCxnSpPr>
        <p:spPr>
          <a:xfrm>
            <a:off x="6228000" y="278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7" name="Rechteck 156"/>
          <p:cNvSpPr/>
          <p:nvPr/>
        </p:nvSpPr>
        <p:spPr>
          <a:xfrm>
            <a:off x="6228000" y="263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60" name="Rechteck 159"/>
          <p:cNvSpPr/>
          <p:nvPr/>
        </p:nvSpPr>
        <p:spPr>
          <a:xfrm>
            <a:off x="3276424"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p:cNvSpPr/>
          <p:nvPr/>
        </p:nvSpPr>
        <p:spPr>
          <a:xfrm>
            <a:off x="3276424" y="1845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3276424"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p:cNvSpPr/>
          <p:nvPr/>
        </p:nvSpPr>
        <p:spPr>
          <a:xfrm>
            <a:off x="3276424" y="249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p:cNvSpPr/>
          <p:nvPr/>
        </p:nvSpPr>
        <p:spPr>
          <a:xfrm>
            <a:off x="6012000"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5" name="Rechteck 164"/>
          <p:cNvSpPr/>
          <p:nvPr/>
        </p:nvSpPr>
        <p:spPr>
          <a:xfrm>
            <a:off x="6012000" y="162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6012000" y="1989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6012000" y="2277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3276424" y="2853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6012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0" name="Gerade Verbindung mit Pfeil 169"/>
          <p:cNvCxnSpPr/>
          <p:nvPr/>
        </p:nvCxnSpPr>
        <p:spPr>
          <a:xfrm>
            <a:off x="3996424" y="2997496"/>
            <a:ext cx="0" cy="14400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Gerade Verbindung mit Pfeil 170"/>
          <p:cNvCxnSpPr/>
          <p:nvPr/>
        </p:nvCxnSpPr>
        <p:spPr>
          <a:xfrm>
            <a:off x="6732088" y="2781440"/>
            <a:ext cx="0" cy="360000"/>
          </a:xfrm>
          <a:prstGeom prst="straightConnector1">
            <a:avLst/>
          </a:prstGeom>
          <a:ln>
            <a:solidFill>
              <a:srgbClr val="FFCC8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Rechteck 171"/>
          <p:cNvSpPr/>
          <p:nvPr/>
        </p:nvSpPr>
        <p:spPr>
          <a:xfrm>
            <a:off x="5364424" y="184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p:cNvSpPr/>
          <p:nvPr/>
        </p:nvSpPr>
        <p:spPr>
          <a:xfrm>
            <a:off x="5364424" y="2277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5364424" y="2493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p:cNvSpPr/>
          <p:nvPr/>
        </p:nvSpPr>
        <p:spPr>
          <a:xfrm>
            <a:off x="5364424" y="285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6" name="Rechteck 175"/>
          <p:cNvSpPr/>
          <p:nvPr/>
        </p:nvSpPr>
        <p:spPr>
          <a:xfrm>
            <a:off x="5364424" y="3069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7" name="Gerade Verbindung mit Pfeil 176"/>
          <p:cNvCxnSpPr/>
          <p:nvPr/>
        </p:nvCxnSpPr>
        <p:spPr>
          <a:xfrm flipV="1">
            <a:off x="7452000" y="1773328"/>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a:off x="4572424"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p:cNvCxnSpPr/>
          <p:nvPr/>
        </p:nvCxnSpPr>
        <p:spPr>
          <a:xfrm>
            <a:off x="4428424" y="1989496"/>
            <a:ext cx="0" cy="144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p:cNvCxnSpPr/>
          <p:nvPr/>
        </p:nvCxnSpPr>
        <p:spPr>
          <a:xfrm>
            <a:off x="4140424" y="2637496"/>
            <a:ext cx="0" cy="144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1" name="Gerade Verbindung mit Pfeil 180"/>
          <p:cNvCxnSpPr/>
          <p:nvPr/>
        </p:nvCxnSpPr>
        <p:spPr>
          <a:xfrm>
            <a:off x="7380160"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Gerader Verbinder 181"/>
          <p:cNvCxnSpPr/>
          <p:nvPr/>
        </p:nvCxnSpPr>
        <p:spPr>
          <a:xfrm>
            <a:off x="7380160"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184" name="Rechteck 183"/>
          <p:cNvSpPr/>
          <p:nvPr/>
        </p:nvSpPr>
        <p:spPr>
          <a:xfrm>
            <a:off x="5868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8100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88" name="Gerader Verbinder 187"/>
          <p:cNvCxnSpPr/>
          <p:nvPr/>
        </p:nvCxnSpPr>
        <p:spPr>
          <a:xfrm>
            <a:off x="7236144" y="1773496"/>
            <a:ext cx="0" cy="360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2" name="Rechteck 191"/>
          <p:cNvSpPr/>
          <p:nvPr/>
        </p:nvSpPr>
        <p:spPr>
          <a:xfrm>
            <a:off x="8100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3" name="Rechteck 192"/>
          <p:cNvSpPr/>
          <p:nvPr/>
        </p:nvSpPr>
        <p:spPr>
          <a:xfrm>
            <a:off x="5868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94" name="Gerader Verbinder 193"/>
          <p:cNvCxnSpPr/>
          <p:nvPr/>
        </p:nvCxnSpPr>
        <p:spPr>
          <a:xfrm>
            <a:off x="7092464" y="2133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7" name="Rechteck 196"/>
          <p:cNvSpPr/>
          <p:nvPr/>
        </p:nvSpPr>
        <p:spPr>
          <a:xfrm>
            <a:off x="8100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p:cNvSpPr/>
          <p:nvPr/>
        </p:nvSpPr>
        <p:spPr>
          <a:xfrm>
            <a:off x="5868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00" name="Gerader Verbinder 199"/>
          <p:cNvCxnSpPr/>
          <p:nvPr/>
        </p:nvCxnSpPr>
        <p:spPr>
          <a:xfrm>
            <a:off x="6948112" y="2421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3" name="Rechteck 202"/>
          <p:cNvSpPr/>
          <p:nvPr/>
        </p:nvSpPr>
        <p:spPr>
          <a:xfrm>
            <a:off x="8100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5868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6" name="Rechteck 205"/>
          <p:cNvSpPr/>
          <p:nvPr/>
        </p:nvSpPr>
        <p:spPr>
          <a:xfrm>
            <a:off x="8244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p:cNvSpPr/>
          <p:nvPr/>
        </p:nvSpPr>
        <p:spPr>
          <a:xfrm>
            <a:off x="3924280"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1" name="Rechteck 210"/>
          <p:cNvSpPr/>
          <p:nvPr/>
        </p:nvSpPr>
        <p:spPr>
          <a:xfrm>
            <a:off x="3923944"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374"/>
          <p:cNvCxnSpPr/>
          <p:nvPr/>
        </p:nvCxnSpPr>
        <p:spPr>
          <a:xfrm>
            <a:off x="3924280"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13" name="Rechteck 212"/>
          <p:cNvSpPr/>
          <p:nvPr/>
        </p:nvSpPr>
        <p:spPr>
          <a:xfrm>
            <a:off x="3924280"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4" name="Rechteck 213"/>
          <p:cNvSpPr/>
          <p:nvPr/>
        </p:nvSpPr>
        <p:spPr>
          <a:xfrm>
            <a:off x="3924280"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p:cNvSpPr/>
          <p:nvPr/>
        </p:nvSpPr>
        <p:spPr>
          <a:xfrm>
            <a:off x="3924280"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924280"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924280"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924280"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p:cNvSpPr/>
          <p:nvPr/>
        </p:nvSpPr>
        <p:spPr>
          <a:xfrm>
            <a:off x="3924280"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1" name="Rechteck 220"/>
          <p:cNvSpPr/>
          <p:nvPr/>
        </p:nvSpPr>
        <p:spPr>
          <a:xfrm>
            <a:off x="3923800"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2" name="Rechteck 221"/>
          <p:cNvSpPr/>
          <p:nvPr/>
        </p:nvSpPr>
        <p:spPr>
          <a:xfrm>
            <a:off x="3923800"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p:cNvSpPr/>
          <p:nvPr/>
        </p:nvSpPr>
        <p:spPr>
          <a:xfrm>
            <a:off x="3924280"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3923944"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5" name="Rechteck 224"/>
          <p:cNvSpPr/>
          <p:nvPr/>
        </p:nvSpPr>
        <p:spPr>
          <a:xfrm>
            <a:off x="3923608"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923944"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1" name="Gerade Verbindung mit Pfeil 230"/>
          <p:cNvCxnSpPr/>
          <p:nvPr/>
        </p:nvCxnSpPr>
        <p:spPr>
          <a:xfrm>
            <a:off x="4644424"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7" name="Rechteck 236"/>
          <p:cNvSpPr/>
          <p:nvPr/>
        </p:nvSpPr>
        <p:spPr>
          <a:xfrm>
            <a:off x="3924424"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volving</a:t>
            </a:r>
          </a:p>
        </p:txBody>
      </p:sp>
      <p:sp>
        <p:nvSpPr>
          <p:cNvPr id="252" name="Rechteck 251"/>
          <p:cNvSpPr/>
          <p:nvPr/>
        </p:nvSpPr>
        <p:spPr>
          <a:xfrm>
            <a:off x="6659856"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p:cNvSpPr/>
          <p:nvPr/>
        </p:nvSpPr>
        <p:spPr>
          <a:xfrm>
            <a:off x="6659520"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p:cNvCxnSpPr/>
          <p:nvPr/>
        </p:nvCxnSpPr>
        <p:spPr>
          <a:xfrm>
            <a:off x="6659856"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6659856"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6659856"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6659856"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6659856"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59856"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6659856"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2" name="Rechteck 261"/>
          <p:cNvSpPr/>
          <p:nvPr/>
        </p:nvSpPr>
        <p:spPr>
          <a:xfrm>
            <a:off x="6659856"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p:cNvSpPr/>
          <p:nvPr/>
        </p:nvSpPr>
        <p:spPr>
          <a:xfrm>
            <a:off x="6659376"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6659376"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6659856"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p:cNvSpPr/>
          <p:nvPr/>
        </p:nvSpPr>
        <p:spPr>
          <a:xfrm>
            <a:off x="6659520"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p:cNvSpPr/>
          <p:nvPr/>
        </p:nvSpPr>
        <p:spPr>
          <a:xfrm>
            <a:off x="6659184"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p:cNvSpPr/>
          <p:nvPr/>
        </p:nvSpPr>
        <p:spPr>
          <a:xfrm>
            <a:off x="6659520"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9" name="Gerade Verbindung mit Pfeil 268"/>
          <p:cNvCxnSpPr/>
          <p:nvPr/>
        </p:nvCxnSpPr>
        <p:spPr>
          <a:xfrm>
            <a:off x="6228000" y="3933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70" name="Rechteck 269"/>
          <p:cNvSpPr/>
          <p:nvPr/>
        </p:nvSpPr>
        <p:spPr>
          <a:xfrm>
            <a:off x="6228000" y="3789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71" name="Gerade Verbindung mit Pfeil 270"/>
          <p:cNvCxnSpPr/>
          <p:nvPr/>
        </p:nvCxnSpPr>
        <p:spPr>
          <a:xfrm>
            <a:off x="7596000" y="407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7596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73" name="Gerade Verbindung mit Pfeil 272"/>
          <p:cNvCxnSpPr/>
          <p:nvPr/>
        </p:nvCxnSpPr>
        <p:spPr>
          <a:xfrm>
            <a:off x="6228000" y="407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Gerade Verbindung mit Pfeil 273"/>
          <p:cNvCxnSpPr/>
          <p:nvPr/>
        </p:nvCxnSpPr>
        <p:spPr>
          <a:xfrm>
            <a:off x="7596000" y="44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Gerade Verbindung mit Pfeil 274"/>
          <p:cNvCxnSpPr/>
          <p:nvPr/>
        </p:nvCxnSpPr>
        <p:spPr>
          <a:xfrm>
            <a:off x="7236000" y="4437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6" name="Rechteck 275"/>
          <p:cNvSpPr/>
          <p:nvPr/>
        </p:nvSpPr>
        <p:spPr>
          <a:xfrm>
            <a:off x="6228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77" name="Rechteck 276"/>
          <p:cNvSpPr/>
          <p:nvPr/>
        </p:nvSpPr>
        <p:spPr>
          <a:xfrm>
            <a:off x="7596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278" name="Rechteck 277"/>
          <p:cNvSpPr/>
          <p:nvPr/>
        </p:nvSpPr>
        <p:spPr>
          <a:xfrm>
            <a:off x="6660000"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maining</a:t>
            </a:r>
          </a:p>
        </p:txBody>
      </p:sp>
      <p:cxnSp>
        <p:nvCxnSpPr>
          <p:cNvPr id="279" name="Gerade Verbindung mit Pfeil 278"/>
          <p:cNvCxnSpPr/>
          <p:nvPr/>
        </p:nvCxnSpPr>
        <p:spPr>
          <a:xfrm>
            <a:off x="6228000" y="443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0" name="Rechteck 279"/>
          <p:cNvSpPr/>
          <p:nvPr/>
        </p:nvSpPr>
        <p:spPr>
          <a:xfrm>
            <a:off x="6228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1" name="Gerade Verbindung mit Pfeil 280"/>
          <p:cNvCxnSpPr/>
          <p:nvPr/>
        </p:nvCxnSpPr>
        <p:spPr>
          <a:xfrm>
            <a:off x="7091792" y="4725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Gerade Verbindung mit Pfeil 281"/>
          <p:cNvCxnSpPr/>
          <p:nvPr/>
        </p:nvCxnSpPr>
        <p:spPr>
          <a:xfrm>
            <a:off x="7596000" y="4725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3" name="Rechteck 282"/>
          <p:cNvSpPr/>
          <p:nvPr/>
        </p:nvSpPr>
        <p:spPr>
          <a:xfrm>
            <a:off x="7596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4" name="Gerade Verbindung mit Pfeil 283"/>
          <p:cNvCxnSpPr/>
          <p:nvPr/>
        </p:nvCxnSpPr>
        <p:spPr>
          <a:xfrm>
            <a:off x="6228000" y="472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5" name="Rechteck 284"/>
          <p:cNvSpPr/>
          <p:nvPr/>
        </p:nvSpPr>
        <p:spPr>
          <a:xfrm>
            <a:off x="6228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6" name="Gerade Verbindung mit Pfeil 285"/>
          <p:cNvCxnSpPr/>
          <p:nvPr/>
        </p:nvCxnSpPr>
        <p:spPr>
          <a:xfrm>
            <a:off x="6948112" y="5085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7" name="Gerade Verbindung mit Pfeil 286"/>
          <p:cNvCxnSpPr/>
          <p:nvPr/>
        </p:nvCxnSpPr>
        <p:spPr>
          <a:xfrm>
            <a:off x="7596000" y="5085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8" name="Rechteck 287"/>
          <p:cNvSpPr/>
          <p:nvPr/>
        </p:nvSpPr>
        <p:spPr>
          <a:xfrm>
            <a:off x="7596000" y="4941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9" name="Gerade Verbindung mit Pfeil 288"/>
          <p:cNvCxnSpPr/>
          <p:nvPr/>
        </p:nvCxnSpPr>
        <p:spPr>
          <a:xfrm>
            <a:off x="6228000" y="508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90" name="Rechteck 289"/>
          <p:cNvSpPr/>
          <p:nvPr/>
        </p:nvSpPr>
        <p:spPr>
          <a:xfrm>
            <a:off x="6228000" y="494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95" name="Rechteck 294"/>
          <p:cNvSpPr/>
          <p:nvPr/>
        </p:nvSpPr>
        <p:spPr>
          <a:xfrm>
            <a:off x="6012000" y="378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p:cNvSpPr/>
          <p:nvPr/>
        </p:nvSpPr>
        <p:spPr>
          <a:xfrm>
            <a:off x="6012000" y="393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6012000" y="4293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6012000" y="4581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p:cNvSpPr/>
          <p:nvPr/>
        </p:nvSpPr>
        <p:spPr>
          <a:xfrm>
            <a:off x="6012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5" name="Gerade Verbindung mit Pfeil 304"/>
          <p:cNvCxnSpPr/>
          <p:nvPr/>
        </p:nvCxnSpPr>
        <p:spPr>
          <a:xfrm>
            <a:off x="6732000" y="5085704"/>
            <a:ext cx="0" cy="360000"/>
          </a:xfrm>
          <a:prstGeom prst="straightConnector1">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1" name="Gerade Verbindung mit Pfeil 310"/>
          <p:cNvCxnSpPr/>
          <p:nvPr/>
        </p:nvCxnSpPr>
        <p:spPr>
          <a:xfrm flipV="1">
            <a:off x="7452000" y="4077496"/>
            <a:ext cx="0" cy="1368000"/>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315" name="Gerade Verbindung mit Pfeil 314"/>
          <p:cNvCxnSpPr/>
          <p:nvPr/>
        </p:nvCxnSpPr>
        <p:spPr>
          <a:xfrm>
            <a:off x="7380000"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6" name="Gerader Verbinder 315"/>
          <p:cNvCxnSpPr/>
          <p:nvPr/>
        </p:nvCxnSpPr>
        <p:spPr>
          <a:xfrm>
            <a:off x="7380000" y="3933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317" name="Rechteck 316"/>
          <p:cNvSpPr/>
          <p:nvPr/>
        </p:nvSpPr>
        <p:spPr>
          <a:xfrm>
            <a:off x="5868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8" name="Rechteck 317"/>
          <p:cNvSpPr/>
          <p:nvPr/>
        </p:nvSpPr>
        <p:spPr>
          <a:xfrm>
            <a:off x="8100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9" name="Gerader Verbinder 318"/>
          <p:cNvCxnSpPr/>
          <p:nvPr/>
        </p:nvCxnSpPr>
        <p:spPr>
          <a:xfrm>
            <a:off x="7236000" y="4077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sp>
        <p:nvSpPr>
          <p:cNvPr id="321" name="Rechteck 320"/>
          <p:cNvSpPr/>
          <p:nvPr/>
        </p:nvSpPr>
        <p:spPr>
          <a:xfrm>
            <a:off x="8100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p:cNvSpPr/>
          <p:nvPr/>
        </p:nvSpPr>
        <p:spPr>
          <a:xfrm>
            <a:off x="5868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3" name="Gerader Verbinder 322"/>
          <p:cNvCxnSpPr/>
          <p:nvPr/>
        </p:nvCxnSpPr>
        <p:spPr>
          <a:xfrm>
            <a:off x="7092128" y="4437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8100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7" name="Rechteck 326"/>
          <p:cNvSpPr/>
          <p:nvPr/>
        </p:nvSpPr>
        <p:spPr>
          <a:xfrm>
            <a:off x="5868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8" name="Gerader Verbinder 327"/>
          <p:cNvCxnSpPr/>
          <p:nvPr/>
        </p:nvCxnSpPr>
        <p:spPr>
          <a:xfrm>
            <a:off x="6948112" y="4725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30" name="Rechteck 329"/>
          <p:cNvSpPr/>
          <p:nvPr/>
        </p:nvSpPr>
        <p:spPr>
          <a:xfrm>
            <a:off x="8100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1" name="Rechteck 330"/>
          <p:cNvSpPr/>
          <p:nvPr/>
        </p:nvSpPr>
        <p:spPr>
          <a:xfrm>
            <a:off x="5868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p:cNvSpPr/>
          <p:nvPr/>
        </p:nvSpPr>
        <p:spPr>
          <a:xfrm>
            <a:off x="8244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54" name="Gerader Verbinder 353"/>
          <p:cNvCxnSpPr/>
          <p:nvPr/>
        </p:nvCxnSpPr>
        <p:spPr>
          <a:xfrm>
            <a:off x="7236000" y="4725496"/>
            <a:ext cx="0" cy="288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55" name="Gerade Verbindung mit Pfeil 354"/>
          <p:cNvCxnSpPr/>
          <p:nvPr/>
        </p:nvCxnSpPr>
        <p:spPr>
          <a:xfrm>
            <a:off x="7236000" y="5013496"/>
            <a:ext cx="336" cy="71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Gerade Verbindung mit Pfeil 319"/>
          <p:cNvCxnSpPr/>
          <p:nvPr/>
        </p:nvCxnSpPr>
        <p:spPr>
          <a:xfrm flipV="1">
            <a:off x="7308000" y="4437632"/>
            <a:ext cx="0" cy="100811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57" name="Gerade Verbindung mit Pfeil 356"/>
          <p:cNvCxnSpPr/>
          <p:nvPr/>
        </p:nvCxnSpPr>
        <p:spPr>
          <a:xfrm>
            <a:off x="7380000" y="4293496"/>
            <a:ext cx="0" cy="1152000"/>
          </a:xfrm>
          <a:prstGeom prst="straightConnector1">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1" name="Gerader Verbinder 360"/>
          <p:cNvCxnSpPr/>
          <p:nvPr/>
        </p:nvCxnSpPr>
        <p:spPr>
          <a:xfrm>
            <a:off x="7236000" y="5085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8" name="Gerader Verbinder 377"/>
          <p:cNvCxnSpPr/>
          <p:nvPr/>
        </p:nvCxnSpPr>
        <p:spPr>
          <a:xfrm>
            <a:off x="7092128" y="4941688"/>
            <a:ext cx="0"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82" name="Gerade Verbindung mit Pfeil 381"/>
          <p:cNvCxnSpPr/>
          <p:nvPr/>
        </p:nvCxnSpPr>
        <p:spPr>
          <a:xfrm flipH="1" flipV="1">
            <a:off x="7163796" y="4725236"/>
            <a:ext cx="204" cy="72050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4" name="Gerader Verbinder 383"/>
          <p:cNvCxnSpPr/>
          <p:nvPr/>
        </p:nvCxnSpPr>
        <p:spPr>
          <a:xfrm>
            <a:off x="6948112" y="5301728"/>
            <a:ext cx="0"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7" name="Gerade Verbindung mit Pfeil 386"/>
          <p:cNvCxnSpPr/>
          <p:nvPr/>
        </p:nvCxnSpPr>
        <p:spPr>
          <a:xfrm flipH="1" flipV="1">
            <a:off x="7019796" y="5085704"/>
            <a:ext cx="204" cy="36046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Gerade Verbindung mit Pfeil 389"/>
          <p:cNvCxnSpPr/>
          <p:nvPr/>
        </p:nvCxnSpPr>
        <p:spPr>
          <a:xfrm flipH="1" flipV="1">
            <a:off x="6803700" y="5085704"/>
            <a:ext cx="204" cy="360468"/>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91" name="Gerader Verbinder 390"/>
          <p:cNvCxnSpPr/>
          <p:nvPr/>
        </p:nvCxnSpPr>
        <p:spPr>
          <a:xfrm flipH="1">
            <a:off x="6732000" y="5445248"/>
            <a:ext cx="71904" cy="496"/>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95" name="Gerader Verbinder 394"/>
          <p:cNvCxnSpPr/>
          <p:nvPr/>
        </p:nvCxnSpPr>
        <p:spPr>
          <a:xfrm flipH="1">
            <a:off x="7380160" y="1989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396" name="Gerader Verbinder 395"/>
          <p:cNvCxnSpPr/>
          <p:nvPr/>
        </p:nvCxnSpPr>
        <p:spPr>
          <a:xfrm flipH="1">
            <a:off x="7236144" y="2421248"/>
            <a:ext cx="71856" cy="152"/>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98" name="Gerade Verbindung mit Pfeil 397"/>
          <p:cNvCxnSpPr/>
          <p:nvPr/>
        </p:nvCxnSpPr>
        <p:spPr>
          <a:xfrm flipV="1">
            <a:off x="7308000" y="2133368"/>
            <a:ext cx="0" cy="28803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400" name="Gerade Verbindung mit Pfeil 399"/>
          <p:cNvCxnSpPr/>
          <p:nvPr/>
        </p:nvCxnSpPr>
        <p:spPr>
          <a:xfrm flipH="1" flipV="1">
            <a:off x="7163796" y="2421236"/>
            <a:ext cx="204" cy="21618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Gerade Verbindung mit Pfeil 402"/>
          <p:cNvCxnSpPr/>
          <p:nvPr/>
        </p:nvCxnSpPr>
        <p:spPr>
          <a:xfrm flipH="1" flipV="1">
            <a:off x="7019796" y="2781440"/>
            <a:ext cx="204" cy="21618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Gerader Verbinder 403"/>
          <p:cNvCxnSpPr/>
          <p:nvPr/>
        </p:nvCxnSpPr>
        <p:spPr>
          <a:xfrm flipH="1">
            <a:off x="6732088" y="3141248"/>
            <a:ext cx="71912" cy="232"/>
          </a:xfrm>
          <a:prstGeom prst="line">
            <a:avLst/>
          </a:prstGeom>
          <a:ln>
            <a:solidFill>
              <a:srgbClr val="FFCC84"/>
            </a:solidFill>
          </a:ln>
        </p:spPr>
        <p:style>
          <a:lnRef idx="1">
            <a:schemeClr val="accent1"/>
          </a:lnRef>
          <a:fillRef idx="0">
            <a:schemeClr val="accent1"/>
          </a:fillRef>
          <a:effectRef idx="0">
            <a:schemeClr val="accent1"/>
          </a:effectRef>
          <a:fontRef idx="minor">
            <a:schemeClr val="tx1"/>
          </a:fontRef>
        </p:style>
      </p:cxnSp>
      <p:cxnSp>
        <p:nvCxnSpPr>
          <p:cNvPr id="405" name="Gerade Verbindung mit Pfeil 404"/>
          <p:cNvCxnSpPr/>
          <p:nvPr/>
        </p:nvCxnSpPr>
        <p:spPr>
          <a:xfrm flipH="1" flipV="1">
            <a:off x="6803796" y="2781440"/>
            <a:ext cx="204" cy="360204"/>
          </a:xfrm>
          <a:prstGeom prst="straightConnector1">
            <a:avLst/>
          </a:prstGeom>
          <a:ln>
            <a:solidFill>
              <a:srgbClr val="FFCC84"/>
            </a:solidFill>
            <a:tailEnd type="triangle"/>
          </a:ln>
        </p:spPr>
        <p:style>
          <a:lnRef idx="1">
            <a:schemeClr val="accent1"/>
          </a:lnRef>
          <a:fillRef idx="0">
            <a:schemeClr val="accent1"/>
          </a:fillRef>
          <a:effectRef idx="0">
            <a:schemeClr val="accent1"/>
          </a:effectRef>
          <a:fontRef idx="minor">
            <a:schemeClr val="tx1"/>
          </a:fontRef>
        </p:style>
      </p:cxnSp>
      <p:sp>
        <p:nvSpPr>
          <p:cNvPr id="407" name="Rechteck 406"/>
          <p:cNvSpPr/>
          <p:nvPr/>
        </p:nvSpPr>
        <p:spPr>
          <a:xfrm>
            <a:off x="1331696" y="2709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1331696" y="155679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1331360" y="162880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10" name="Gerade Verbindung 374"/>
          <p:cNvCxnSpPr/>
          <p:nvPr/>
        </p:nvCxnSpPr>
        <p:spPr>
          <a:xfrm>
            <a:off x="1331696" y="162880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11" name="Rechteck 410"/>
          <p:cNvSpPr/>
          <p:nvPr/>
        </p:nvSpPr>
        <p:spPr>
          <a:xfrm>
            <a:off x="1331696" y="21327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1331696" y="220501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1331696" y="2277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1331696" y="234874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1331696" y="242075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6" name="Rechteck 415"/>
          <p:cNvSpPr/>
          <p:nvPr/>
        </p:nvSpPr>
        <p:spPr>
          <a:xfrm>
            <a:off x="1331696" y="27807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1331696" y="285272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1331216" y="292473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1331216" y="1844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1331696" y="177305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1331360" y="2492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2" name="Rechteck 421"/>
          <p:cNvSpPr/>
          <p:nvPr/>
        </p:nvSpPr>
        <p:spPr>
          <a:xfrm>
            <a:off x="1331024" y="2564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1331360" y="1916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24" name="Gerade Verbindung mit Pfeil 423"/>
          <p:cNvCxnSpPr/>
          <p:nvPr/>
        </p:nvCxnSpPr>
        <p:spPr>
          <a:xfrm>
            <a:off x="900000" y="1593044"/>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25" name="Rechteck 424"/>
          <p:cNvSpPr/>
          <p:nvPr/>
        </p:nvSpPr>
        <p:spPr>
          <a:xfrm>
            <a:off x="899840" y="1449044"/>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428" name="Gerade Verbindung mit Pfeil 427"/>
          <p:cNvCxnSpPr/>
          <p:nvPr/>
        </p:nvCxnSpPr>
        <p:spPr>
          <a:xfrm>
            <a:off x="1979840" y="177301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1" name="Gerade Verbindung mit Pfeil 430"/>
          <p:cNvCxnSpPr/>
          <p:nvPr/>
        </p:nvCxnSpPr>
        <p:spPr>
          <a:xfrm>
            <a:off x="1835840" y="213301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7" name="Gerade Verbindung mit Pfeil 436"/>
          <p:cNvCxnSpPr/>
          <p:nvPr/>
        </p:nvCxnSpPr>
        <p:spPr>
          <a:xfrm>
            <a:off x="1691504" y="242101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2" name="Gerade Verbindung mit Pfeil 441"/>
          <p:cNvCxnSpPr/>
          <p:nvPr/>
        </p:nvCxnSpPr>
        <p:spPr>
          <a:xfrm>
            <a:off x="1547840" y="278101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7" name="Gerade Verbindung mit Pfeil 446"/>
          <p:cNvCxnSpPr/>
          <p:nvPr/>
        </p:nvCxnSpPr>
        <p:spPr>
          <a:xfrm>
            <a:off x="2267840" y="31493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48" name="Rechteck 447"/>
          <p:cNvSpPr/>
          <p:nvPr/>
        </p:nvSpPr>
        <p:spPr>
          <a:xfrm>
            <a:off x="2267840" y="30053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449" name="Rechteck 448"/>
          <p:cNvSpPr/>
          <p:nvPr/>
        </p:nvSpPr>
        <p:spPr>
          <a:xfrm>
            <a:off x="575572" y="148506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0" name="Rechteck 449"/>
          <p:cNvSpPr/>
          <p:nvPr/>
        </p:nvSpPr>
        <p:spPr>
          <a:xfrm>
            <a:off x="719588" y="148506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1" name="Rechteck 450"/>
          <p:cNvSpPr/>
          <p:nvPr/>
        </p:nvSpPr>
        <p:spPr>
          <a:xfrm>
            <a:off x="575556" y="162908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2" name="Rechteck 451"/>
          <p:cNvSpPr/>
          <p:nvPr/>
        </p:nvSpPr>
        <p:spPr>
          <a:xfrm>
            <a:off x="719588" y="162908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3" name="Rechteck 452"/>
          <p:cNvSpPr/>
          <p:nvPr/>
        </p:nvSpPr>
        <p:spPr>
          <a:xfrm>
            <a:off x="863604" y="162908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54" name="Gerade Verbindung mit Pfeil 453"/>
          <p:cNvCxnSpPr/>
          <p:nvPr/>
        </p:nvCxnSpPr>
        <p:spPr>
          <a:xfrm>
            <a:off x="1403648" y="1629064"/>
            <a:ext cx="192" cy="1511952"/>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60" name="Gerader Verbinder 459"/>
          <p:cNvCxnSpPr/>
          <p:nvPr/>
        </p:nvCxnSpPr>
        <p:spPr>
          <a:xfrm>
            <a:off x="1979840" y="162901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1" name="Gerader Verbinder 460"/>
          <p:cNvCxnSpPr/>
          <p:nvPr/>
        </p:nvCxnSpPr>
        <p:spPr>
          <a:xfrm>
            <a:off x="1835360" y="1628806"/>
            <a:ext cx="336" cy="50399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62" name="Gerader Verbinder 461"/>
          <p:cNvCxnSpPr/>
          <p:nvPr/>
        </p:nvCxnSpPr>
        <p:spPr>
          <a:xfrm>
            <a:off x="1547664" y="1629064"/>
            <a:ext cx="176" cy="115195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3" name="Gerader Verbinder 462"/>
          <p:cNvCxnSpPr/>
          <p:nvPr/>
        </p:nvCxnSpPr>
        <p:spPr>
          <a:xfrm>
            <a:off x="1979712" y="1989104"/>
            <a:ext cx="0" cy="1152128"/>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7" name="Gerader Verbinder 466"/>
          <p:cNvCxnSpPr/>
          <p:nvPr/>
        </p:nvCxnSpPr>
        <p:spPr>
          <a:xfrm flipH="1">
            <a:off x="1835360" y="2420756"/>
            <a:ext cx="336" cy="72026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70" name="Gerader Verbinder 469"/>
          <p:cNvCxnSpPr/>
          <p:nvPr/>
        </p:nvCxnSpPr>
        <p:spPr>
          <a:xfrm>
            <a:off x="1691680" y="1629064"/>
            <a:ext cx="0" cy="792268"/>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2" name="Gerader Verbinder 471"/>
          <p:cNvCxnSpPr/>
          <p:nvPr/>
        </p:nvCxnSpPr>
        <p:spPr>
          <a:xfrm flipH="1">
            <a:off x="1691680" y="2637176"/>
            <a:ext cx="336"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4" name="Gerader Verbinder 473"/>
          <p:cNvCxnSpPr/>
          <p:nvPr/>
        </p:nvCxnSpPr>
        <p:spPr>
          <a:xfrm flipH="1">
            <a:off x="1547664" y="2997216"/>
            <a:ext cx="336"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78" name="Rechteck 477"/>
          <p:cNvSpPr/>
          <p:nvPr/>
        </p:nvSpPr>
        <p:spPr>
          <a:xfrm>
            <a:off x="2735796" y="306922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2879812" y="306922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2591780" y="321324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2735796" y="321324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2879812" y="321324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503548" y="1053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a:t>
            </a:r>
          </a:p>
        </p:txBody>
      </p:sp>
      <p:sp>
        <p:nvSpPr>
          <p:cNvPr id="485" name="Rechteck 484"/>
          <p:cNvSpPr/>
          <p:nvPr/>
        </p:nvSpPr>
        <p:spPr>
          <a:xfrm>
            <a:off x="1332000" y="5013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1331856" y="3861028"/>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1331520" y="3933038"/>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8" name="Gerade Verbindung 374"/>
          <p:cNvCxnSpPr/>
          <p:nvPr/>
        </p:nvCxnSpPr>
        <p:spPr>
          <a:xfrm>
            <a:off x="1331856" y="3933038"/>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89" name="Rechteck 488"/>
          <p:cNvSpPr/>
          <p:nvPr/>
        </p:nvSpPr>
        <p:spPr>
          <a:xfrm>
            <a:off x="1331856" y="443702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1331856" y="450924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1331856" y="4581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1331856" y="465297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1331856" y="472498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1331856" y="508494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1331856" y="515695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1331376" y="522896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1331376" y="4149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1331856" y="407728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1331520" y="4796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1331184" y="4868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1331520" y="4221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02" name="Gerade Verbindung mit Pfeil 501"/>
          <p:cNvCxnSpPr/>
          <p:nvPr/>
        </p:nvCxnSpPr>
        <p:spPr>
          <a:xfrm>
            <a:off x="900000" y="393302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3" name="Rechteck 502"/>
          <p:cNvSpPr/>
          <p:nvPr/>
        </p:nvSpPr>
        <p:spPr>
          <a:xfrm>
            <a:off x="900000" y="3789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04" name="Gerade Verbindung mit Pfeil 503"/>
          <p:cNvCxnSpPr/>
          <p:nvPr/>
        </p:nvCxnSpPr>
        <p:spPr>
          <a:xfrm>
            <a:off x="2268000" y="3933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5" name="Rechteck 504"/>
          <p:cNvSpPr/>
          <p:nvPr/>
        </p:nvSpPr>
        <p:spPr>
          <a:xfrm>
            <a:off x="2268000"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06" name="Gerade Verbindung mit Pfeil 505"/>
          <p:cNvCxnSpPr/>
          <p:nvPr/>
        </p:nvCxnSpPr>
        <p:spPr>
          <a:xfrm>
            <a:off x="2052000" y="4077248"/>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7" name="Gerade Verbindung mit Pfeil 506"/>
          <p:cNvCxnSpPr/>
          <p:nvPr/>
        </p:nvCxnSpPr>
        <p:spPr>
          <a:xfrm>
            <a:off x="900000" y="407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08" name="Gerade Verbindung mit Pfeil 507"/>
          <p:cNvCxnSpPr/>
          <p:nvPr/>
        </p:nvCxnSpPr>
        <p:spPr>
          <a:xfrm>
            <a:off x="2268000" y="47250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09" name="Gerade Verbindung mit Pfeil 508"/>
          <p:cNvCxnSpPr/>
          <p:nvPr/>
        </p:nvCxnSpPr>
        <p:spPr>
          <a:xfrm>
            <a:off x="1836000"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0" name="Rechteck 509"/>
          <p:cNvSpPr/>
          <p:nvPr/>
        </p:nvSpPr>
        <p:spPr>
          <a:xfrm>
            <a:off x="900000" y="393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11" name="Rechteck 510"/>
          <p:cNvSpPr/>
          <p:nvPr/>
        </p:nvSpPr>
        <p:spPr>
          <a:xfrm>
            <a:off x="2268000" y="4581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12" name="Rechteck 511"/>
          <p:cNvSpPr/>
          <p:nvPr/>
        </p:nvSpPr>
        <p:spPr>
          <a:xfrm>
            <a:off x="1332000" y="3501248"/>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err="1">
                <a:solidFill>
                  <a:schemeClr val="tx1"/>
                </a:solidFill>
              </a:rPr>
              <a:t>Pocessing</a:t>
            </a:r>
            <a:r>
              <a:rPr lang="en-US" sz="1100" dirty="0">
                <a:solidFill>
                  <a:schemeClr val="tx1"/>
                </a:solidFill>
              </a:rPr>
              <a:t> option:</a:t>
            </a:r>
          </a:p>
          <a:p>
            <a:r>
              <a:rPr lang="en-US" sz="1100" b="1" dirty="0">
                <a:solidFill>
                  <a:schemeClr val="tx1"/>
                </a:solidFill>
              </a:rPr>
              <a:t>stop</a:t>
            </a:r>
          </a:p>
        </p:txBody>
      </p:sp>
      <p:cxnSp>
        <p:nvCxnSpPr>
          <p:cNvPr id="513" name="Gerade Verbindung mit Pfeil 512"/>
          <p:cNvCxnSpPr/>
          <p:nvPr/>
        </p:nvCxnSpPr>
        <p:spPr>
          <a:xfrm>
            <a:off x="900000"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4" name="Rechteck 513"/>
          <p:cNvSpPr/>
          <p:nvPr/>
        </p:nvSpPr>
        <p:spPr>
          <a:xfrm>
            <a:off x="900000"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15" name="Gerade Verbindung mit Pfeil 514"/>
          <p:cNvCxnSpPr/>
          <p:nvPr/>
        </p:nvCxnSpPr>
        <p:spPr>
          <a:xfrm>
            <a:off x="1691664" y="4725248"/>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6" name="Gerade Verbindung mit Pfeil 515"/>
          <p:cNvCxnSpPr/>
          <p:nvPr/>
        </p:nvCxnSpPr>
        <p:spPr>
          <a:xfrm>
            <a:off x="2268000" y="4941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17" name="Rechteck 516"/>
          <p:cNvSpPr/>
          <p:nvPr/>
        </p:nvSpPr>
        <p:spPr>
          <a:xfrm>
            <a:off x="2268000" y="479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18" name="Gerade Verbindung mit Pfeil 517"/>
          <p:cNvCxnSpPr/>
          <p:nvPr/>
        </p:nvCxnSpPr>
        <p:spPr>
          <a:xfrm>
            <a:off x="900000" y="4941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9" name="Rechteck 518"/>
          <p:cNvSpPr/>
          <p:nvPr/>
        </p:nvSpPr>
        <p:spPr>
          <a:xfrm>
            <a:off x="900000" y="479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20" name="Gerade Verbindung mit Pfeil 519"/>
          <p:cNvCxnSpPr/>
          <p:nvPr/>
        </p:nvCxnSpPr>
        <p:spPr>
          <a:xfrm>
            <a:off x="1548000" y="50852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1" name="Gerade Verbindung mit Pfeil 520"/>
          <p:cNvCxnSpPr/>
          <p:nvPr/>
        </p:nvCxnSpPr>
        <p:spPr>
          <a:xfrm>
            <a:off x="2268000" y="5301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22" name="Rechteck 521"/>
          <p:cNvSpPr/>
          <p:nvPr/>
        </p:nvSpPr>
        <p:spPr>
          <a:xfrm>
            <a:off x="2268000" y="515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23" name="Gerade Verbindung mit Pfeil 522"/>
          <p:cNvCxnSpPr/>
          <p:nvPr/>
        </p:nvCxnSpPr>
        <p:spPr>
          <a:xfrm>
            <a:off x="900000" y="5301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24" name="Rechteck 523"/>
          <p:cNvSpPr/>
          <p:nvPr/>
        </p:nvSpPr>
        <p:spPr>
          <a:xfrm>
            <a:off x="900000" y="515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25" name="Rechteck 524"/>
          <p:cNvSpPr/>
          <p:nvPr/>
        </p:nvSpPr>
        <p:spPr>
          <a:xfrm>
            <a:off x="684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684000" y="4581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684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684000" y="5229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2772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2772000" y="458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2772000" y="4797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2772000" y="515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2916000" y="5157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684000" y="4005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5" name="Gerade Verbindung mit Pfeil 534"/>
          <p:cNvCxnSpPr/>
          <p:nvPr/>
        </p:nvCxnSpPr>
        <p:spPr>
          <a:xfrm>
            <a:off x="2268000" y="4293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36" name="Rechteck 535"/>
          <p:cNvSpPr/>
          <p:nvPr/>
        </p:nvSpPr>
        <p:spPr>
          <a:xfrm>
            <a:off x="2268000" y="4149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37" name="Rechteck 536"/>
          <p:cNvSpPr/>
          <p:nvPr/>
        </p:nvSpPr>
        <p:spPr>
          <a:xfrm>
            <a:off x="2772000" y="4221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8" name="Gerade Verbindung mit Pfeil 537"/>
          <p:cNvCxnSpPr/>
          <p:nvPr/>
        </p:nvCxnSpPr>
        <p:spPr>
          <a:xfrm>
            <a:off x="900000"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39" name="Rechteck 538"/>
          <p:cNvSpPr/>
          <p:nvPr/>
        </p:nvSpPr>
        <p:spPr>
          <a:xfrm>
            <a:off x="684000" y="4365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2916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1" name="Gerade Verbindung mit Pfeil 540"/>
          <p:cNvCxnSpPr/>
          <p:nvPr/>
        </p:nvCxnSpPr>
        <p:spPr>
          <a:xfrm>
            <a:off x="900000" y="4293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2" name="Rechteck 541"/>
          <p:cNvSpPr/>
          <p:nvPr/>
        </p:nvSpPr>
        <p:spPr>
          <a:xfrm>
            <a:off x="684000" y="4187352"/>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2916000" y="422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4" name="Gerade Verbindung mit Pfeil 543"/>
          <p:cNvCxnSpPr/>
          <p:nvPr/>
        </p:nvCxnSpPr>
        <p:spPr>
          <a:xfrm>
            <a:off x="900000" y="50936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5" name="Rechteck 544"/>
          <p:cNvSpPr/>
          <p:nvPr/>
        </p:nvSpPr>
        <p:spPr>
          <a:xfrm>
            <a:off x="900000" y="49496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6" name="Rechteck 545"/>
          <p:cNvSpPr/>
          <p:nvPr/>
        </p:nvSpPr>
        <p:spPr>
          <a:xfrm>
            <a:off x="684000" y="5013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7" name="Gerade Verbindung mit Pfeil 546"/>
          <p:cNvCxnSpPr/>
          <p:nvPr/>
        </p:nvCxnSpPr>
        <p:spPr>
          <a:xfrm>
            <a:off x="3492424" y="3933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8" name="Rechteck 547"/>
          <p:cNvSpPr/>
          <p:nvPr/>
        </p:nvSpPr>
        <p:spPr>
          <a:xfrm>
            <a:off x="3492424"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9" name="Rechteck 548"/>
          <p:cNvSpPr/>
          <p:nvPr/>
        </p:nvSpPr>
        <p:spPr>
          <a:xfrm>
            <a:off x="3276424"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0" name="Gerader Verbinder 549"/>
          <p:cNvCxnSpPr/>
          <p:nvPr/>
        </p:nvCxnSpPr>
        <p:spPr>
          <a:xfrm>
            <a:off x="4644424" y="3933248"/>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56" name="Gerade Verbindung mit Pfeil 555"/>
          <p:cNvCxnSpPr/>
          <p:nvPr/>
        </p:nvCxnSpPr>
        <p:spPr>
          <a:xfrm flipV="1">
            <a:off x="4716264" y="4077224"/>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57" name="Gerader Verbinder 556"/>
          <p:cNvCxnSpPr/>
          <p:nvPr/>
        </p:nvCxnSpPr>
        <p:spPr>
          <a:xfrm flipH="1">
            <a:off x="4644424" y="4293144"/>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0" name="Gerader Verbinder 559"/>
          <p:cNvCxnSpPr/>
          <p:nvPr/>
        </p:nvCxnSpPr>
        <p:spPr>
          <a:xfrm flipH="1">
            <a:off x="6948000" y="5445248"/>
            <a:ext cx="71904" cy="49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1" name="Gerader Verbinder 560"/>
          <p:cNvCxnSpPr/>
          <p:nvPr/>
        </p:nvCxnSpPr>
        <p:spPr>
          <a:xfrm flipH="1">
            <a:off x="7092000" y="5445248"/>
            <a:ext cx="71904" cy="49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2" name="Gerader Verbinder 561"/>
          <p:cNvCxnSpPr/>
          <p:nvPr/>
        </p:nvCxnSpPr>
        <p:spPr>
          <a:xfrm flipH="1">
            <a:off x="7236000" y="5445248"/>
            <a:ext cx="71904" cy="496"/>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63" name="Gerader Verbinder 562"/>
          <p:cNvCxnSpPr/>
          <p:nvPr/>
        </p:nvCxnSpPr>
        <p:spPr>
          <a:xfrm flipH="1">
            <a:off x="7380000" y="5445248"/>
            <a:ext cx="71904" cy="496"/>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6" name="Gerader Verbinder 565"/>
          <p:cNvCxnSpPr/>
          <p:nvPr/>
        </p:nvCxnSpPr>
        <p:spPr>
          <a:xfrm flipH="1">
            <a:off x="6948000" y="2997248"/>
            <a:ext cx="71912" cy="23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7" name="Gerader Verbinder 566"/>
          <p:cNvCxnSpPr/>
          <p:nvPr/>
        </p:nvCxnSpPr>
        <p:spPr>
          <a:xfrm flipH="1">
            <a:off x="7092000" y="2637248"/>
            <a:ext cx="71912" cy="232"/>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9" name="Gerade Verbindung mit Pfeil 568"/>
          <p:cNvCxnSpPr/>
          <p:nvPr/>
        </p:nvCxnSpPr>
        <p:spPr>
          <a:xfrm>
            <a:off x="3492424"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70" name="Rechteck 569"/>
          <p:cNvSpPr/>
          <p:nvPr/>
        </p:nvSpPr>
        <p:spPr>
          <a:xfrm>
            <a:off x="3492424"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71" name="Rechteck 570"/>
          <p:cNvSpPr/>
          <p:nvPr/>
        </p:nvSpPr>
        <p:spPr>
          <a:xfrm>
            <a:off x="3276424" y="458122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2" name="Gerader Verbinder 571"/>
          <p:cNvCxnSpPr/>
          <p:nvPr/>
        </p:nvCxnSpPr>
        <p:spPr>
          <a:xfrm>
            <a:off x="4500424" y="4725248"/>
            <a:ext cx="0" cy="720000"/>
          </a:xfrm>
          <a:prstGeom prst="line">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4" name="Gerader Verbinder 573"/>
          <p:cNvCxnSpPr/>
          <p:nvPr/>
        </p:nvCxnSpPr>
        <p:spPr>
          <a:xfrm flipH="1">
            <a:off x="4500424" y="5445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76" name="Gerader Verbinder 575"/>
          <p:cNvCxnSpPr/>
          <p:nvPr/>
        </p:nvCxnSpPr>
        <p:spPr>
          <a:xfrm flipV="1">
            <a:off x="4572424" y="3933248"/>
            <a:ext cx="0" cy="1512000"/>
          </a:xfrm>
          <a:prstGeom prst="line">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81" name="Gerade Verbindung mit Pfeil 580"/>
          <p:cNvCxnSpPr/>
          <p:nvPr/>
        </p:nvCxnSpPr>
        <p:spPr>
          <a:xfrm>
            <a:off x="4860424" y="4077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4860424" y="3933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83" name="Rechteck 582"/>
          <p:cNvSpPr/>
          <p:nvPr/>
        </p:nvSpPr>
        <p:spPr>
          <a:xfrm>
            <a:off x="5364424" y="3933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5" name="Gerade Verbindung mit Pfeil 584"/>
          <p:cNvCxnSpPr/>
          <p:nvPr/>
        </p:nvCxnSpPr>
        <p:spPr>
          <a:xfrm>
            <a:off x="3492424"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86" name="Rechteck 585"/>
          <p:cNvSpPr/>
          <p:nvPr/>
        </p:nvSpPr>
        <p:spPr>
          <a:xfrm>
            <a:off x="3492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87" name="Rechteck 586"/>
          <p:cNvSpPr/>
          <p:nvPr/>
        </p:nvSpPr>
        <p:spPr>
          <a:xfrm>
            <a:off x="3276424" y="429322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8" name="Gerade Verbindung mit Pfeil 587"/>
          <p:cNvCxnSpPr/>
          <p:nvPr/>
        </p:nvCxnSpPr>
        <p:spPr>
          <a:xfrm>
            <a:off x="4284424"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9" name="Gerade Verbindung mit Pfeil 588"/>
          <p:cNvCxnSpPr/>
          <p:nvPr/>
        </p:nvCxnSpPr>
        <p:spPr>
          <a:xfrm flipV="1">
            <a:off x="4356424" y="3933286"/>
            <a:ext cx="0" cy="1512210"/>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590" name="Gerader Verbinder 589"/>
          <p:cNvCxnSpPr/>
          <p:nvPr/>
        </p:nvCxnSpPr>
        <p:spPr>
          <a:xfrm flipH="1">
            <a:off x="4284424" y="5445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91" name="Gerade Verbindung mit Pfeil 590"/>
          <p:cNvCxnSpPr/>
          <p:nvPr/>
        </p:nvCxnSpPr>
        <p:spPr>
          <a:xfrm>
            <a:off x="4860424" y="4437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2" name="Rechteck 591"/>
          <p:cNvSpPr/>
          <p:nvPr/>
        </p:nvSpPr>
        <p:spPr>
          <a:xfrm>
            <a:off x="4860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93" name="Rechteck 592"/>
          <p:cNvSpPr/>
          <p:nvPr/>
        </p:nvSpPr>
        <p:spPr>
          <a:xfrm>
            <a:off x="5364424" y="4293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4" name="Rechteck 593"/>
          <p:cNvSpPr/>
          <p:nvPr/>
        </p:nvSpPr>
        <p:spPr>
          <a:xfrm>
            <a:off x="3276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5" name="Gerade Verbindung mit Pfeil 594"/>
          <p:cNvCxnSpPr/>
          <p:nvPr/>
        </p:nvCxnSpPr>
        <p:spPr>
          <a:xfrm>
            <a:off x="3492424" y="508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96" name="Rechteck 595"/>
          <p:cNvSpPr/>
          <p:nvPr/>
        </p:nvSpPr>
        <p:spPr>
          <a:xfrm>
            <a:off x="3492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97" name="Gerader Verbinder 596"/>
          <p:cNvCxnSpPr/>
          <p:nvPr/>
        </p:nvCxnSpPr>
        <p:spPr>
          <a:xfrm>
            <a:off x="3996424" y="5085248"/>
            <a:ext cx="0" cy="360000"/>
          </a:xfrm>
          <a:prstGeom prst="line">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9" name="Gerader Verbinder 598"/>
          <p:cNvCxnSpPr/>
          <p:nvPr/>
        </p:nvCxnSpPr>
        <p:spPr>
          <a:xfrm flipV="1">
            <a:off x="4068424" y="3933248"/>
            <a:ext cx="0" cy="151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0" name="Gerader Verbinder 599"/>
          <p:cNvCxnSpPr/>
          <p:nvPr/>
        </p:nvCxnSpPr>
        <p:spPr>
          <a:xfrm>
            <a:off x="4140424" y="3933248"/>
            <a:ext cx="0" cy="115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2" name="Gerade Verbindung mit Pfeil 601"/>
          <p:cNvCxnSpPr/>
          <p:nvPr/>
        </p:nvCxnSpPr>
        <p:spPr>
          <a:xfrm>
            <a:off x="4860424" y="5085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03" name="Rechteck 602"/>
          <p:cNvSpPr/>
          <p:nvPr/>
        </p:nvSpPr>
        <p:spPr>
          <a:xfrm>
            <a:off x="4860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604" name="Rechteck 603"/>
          <p:cNvSpPr/>
          <p:nvPr/>
        </p:nvSpPr>
        <p:spPr>
          <a:xfrm>
            <a:off x="5364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05" name="Gerader Verbinder 604"/>
          <p:cNvCxnSpPr/>
          <p:nvPr/>
        </p:nvCxnSpPr>
        <p:spPr>
          <a:xfrm flipH="1">
            <a:off x="3996424" y="5445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6" name="Gerader Verbinder 605"/>
          <p:cNvCxnSpPr/>
          <p:nvPr/>
        </p:nvCxnSpPr>
        <p:spPr>
          <a:xfrm flipH="1">
            <a:off x="4068424" y="3933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7" name="Gerader Verbinder 606"/>
          <p:cNvCxnSpPr/>
          <p:nvPr/>
        </p:nvCxnSpPr>
        <p:spPr>
          <a:xfrm flipH="1">
            <a:off x="4572424" y="3933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608" name="Rechteck 607"/>
          <p:cNvSpPr/>
          <p:nvPr/>
        </p:nvSpPr>
        <p:spPr>
          <a:xfrm>
            <a:off x="684000" y="5661000"/>
            <a:ext cx="792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50" dirty="0">
                <a:solidFill>
                  <a:schemeClr val="tx1"/>
                </a:solidFill>
              </a:rPr>
              <a:t>Legend: Each color stands for a different condition which matches to corresponding rows.</a:t>
            </a:r>
          </a:p>
          <a:p>
            <a:r>
              <a:rPr lang="en-US" sz="1050" dirty="0">
                <a:solidFill>
                  <a:schemeClr val="tx1"/>
                </a:solidFill>
              </a:rPr>
              <a:t>Black arrows downward: These rows will be processed.  Colored arrows downward: These rows will be checked and skipped.</a:t>
            </a:r>
          </a:p>
          <a:p>
            <a:r>
              <a:rPr lang="en-US" sz="1050" dirty="0">
                <a:solidFill>
                  <a:schemeClr val="tx1"/>
                </a:solidFill>
              </a:rPr>
              <a:t>Colored arrows upward: Restart from row 1 (mode </a:t>
            </a:r>
            <a:r>
              <a:rPr lang="en-US" sz="1050" b="1" dirty="0">
                <a:solidFill>
                  <a:schemeClr val="tx1"/>
                </a:solidFill>
              </a:rPr>
              <a:t>repeat revolving </a:t>
            </a:r>
            <a:r>
              <a:rPr lang="en-US" sz="1050" dirty="0">
                <a:solidFill>
                  <a:schemeClr val="tx1"/>
                </a:solidFill>
              </a:rPr>
              <a:t>only)</a:t>
            </a:r>
          </a:p>
        </p:txBody>
      </p:sp>
      <p:cxnSp>
        <p:nvCxnSpPr>
          <p:cNvPr id="610" name="Gerader Verbinder 609"/>
          <p:cNvCxnSpPr/>
          <p:nvPr/>
        </p:nvCxnSpPr>
        <p:spPr>
          <a:xfrm>
            <a:off x="3204000" y="1053000"/>
            <a:ext cx="0" cy="2376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1" name="Gerader Verbinder 610"/>
          <p:cNvCxnSpPr/>
          <p:nvPr/>
        </p:nvCxnSpPr>
        <p:spPr>
          <a:xfrm>
            <a:off x="468000" y="3429000"/>
            <a:ext cx="273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0" name="Gerader Verbinder 369"/>
          <p:cNvCxnSpPr/>
          <p:nvPr/>
        </p:nvCxnSpPr>
        <p:spPr>
          <a:xfrm>
            <a:off x="4284424" y="5085000"/>
            <a:ext cx="0" cy="360000"/>
          </a:xfrm>
          <a:prstGeom prst="line">
            <a:avLst/>
          </a:prstGeom>
          <a:ln>
            <a:solidFill>
              <a:srgbClr val="00CC6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3" name="Gerader Verbinder 372"/>
          <p:cNvCxnSpPr/>
          <p:nvPr/>
        </p:nvCxnSpPr>
        <p:spPr>
          <a:xfrm>
            <a:off x="4284424" y="4725000"/>
            <a:ext cx="0" cy="288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75" name="Gerade Verbindung mit Pfeil 374"/>
          <p:cNvCxnSpPr/>
          <p:nvPr/>
        </p:nvCxnSpPr>
        <p:spPr>
          <a:xfrm>
            <a:off x="4284424" y="5013000"/>
            <a:ext cx="0" cy="7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Gerader Verbinder 380"/>
          <p:cNvCxnSpPr/>
          <p:nvPr/>
        </p:nvCxnSpPr>
        <p:spPr>
          <a:xfrm>
            <a:off x="4428424" y="3933000"/>
            <a:ext cx="0" cy="504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86" name="Gerader Verbinder 385"/>
          <p:cNvCxnSpPr/>
          <p:nvPr/>
        </p:nvCxnSpPr>
        <p:spPr>
          <a:xfrm flipH="1">
            <a:off x="4356424" y="3933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6" name="Gerade Verbindung mit Pfeil 375"/>
          <p:cNvCxnSpPr/>
          <p:nvPr/>
        </p:nvCxnSpPr>
        <p:spPr>
          <a:xfrm>
            <a:off x="1836000" y="2709006"/>
            <a:ext cx="0" cy="717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49696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6F7D7FF5-5405-4AAC-964A-D9720C00118F}"/>
              </a:ext>
            </a:extLst>
          </p:cNvPr>
          <p:cNvGrpSpPr/>
          <p:nvPr/>
        </p:nvGrpSpPr>
        <p:grpSpPr>
          <a:xfrm>
            <a:off x="1547968" y="1701000"/>
            <a:ext cx="4536032" cy="3168000"/>
            <a:chOff x="1547968" y="1701000"/>
            <a:chExt cx="4536032" cy="3168000"/>
          </a:xfrm>
        </p:grpSpPr>
        <p:sp>
          <p:nvSpPr>
            <p:cNvPr id="4" name="Rechteck 3">
              <a:extLst>
                <a:ext uri="{FF2B5EF4-FFF2-40B4-BE49-F238E27FC236}">
                  <a16:creationId xmlns:a16="http://schemas.microsoft.com/office/drawing/2014/main" id="{09A6CC60-D691-4386-9879-BC5761701DD4}"/>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2" name="Rechteck 51">
              <a:extLst>
                <a:ext uri="{FF2B5EF4-FFF2-40B4-BE49-F238E27FC236}">
                  <a16:creationId xmlns:a16="http://schemas.microsoft.com/office/drawing/2014/main" id="{A0F06726-77F4-4C17-B0FA-67F5CB1023B3}"/>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3" name="Rechteck 52">
              <a:extLst>
                <a:ext uri="{FF2B5EF4-FFF2-40B4-BE49-F238E27FC236}">
                  <a16:creationId xmlns:a16="http://schemas.microsoft.com/office/drawing/2014/main" id="{3023E0D2-5DD0-4C1C-95D4-8BD263278128}"/>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4" name="Rechteck 53">
              <a:extLst>
                <a:ext uri="{FF2B5EF4-FFF2-40B4-BE49-F238E27FC236}">
                  <a16:creationId xmlns:a16="http://schemas.microsoft.com/office/drawing/2014/main" id="{6E2FA763-D782-40E9-844D-D267D35A7FEA}"/>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5" name="Rechteck 54">
              <a:extLst>
                <a:ext uri="{FF2B5EF4-FFF2-40B4-BE49-F238E27FC236}">
                  <a16:creationId xmlns:a16="http://schemas.microsoft.com/office/drawing/2014/main" id="{9C488342-FCC0-4DB9-B846-ED9612ADA5E5}"/>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6" name="Rechteck 55">
              <a:extLst>
                <a:ext uri="{FF2B5EF4-FFF2-40B4-BE49-F238E27FC236}">
                  <a16:creationId xmlns:a16="http://schemas.microsoft.com/office/drawing/2014/main" id="{D8600DF0-61CA-4075-8AB0-CDAC559BCAD8}"/>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7" name="Rechteck 56">
              <a:extLst>
                <a:ext uri="{FF2B5EF4-FFF2-40B4-BE49-F238E27FC236}">
                  <a16:creationId xmlns:a16="http://schemas.microsoft.com/office/drawing/2014/main" id="{889B548C-61E7-40BF-878D-A7ED591FC571}"/>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8" name="Rechteck 57">
              <a:extLst>
                <a:ext uri="{FF2B5EF4-FFF2-40B4-BE49-F238E27FC236}">
                  <a16:creationId xmlns:a16="http://schemas.microsoft.com/office/drawing/2014/main" id="{1B2086EC-672D-4949-9F22-AA7E7CDCF8B2}"/>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9" name="Rechteck 58">
              <a:extLst>
                <a:ext uri="{FF2B5EF4-FFF2-40B4-BE49-F238E27FC236}">
                  <a16:creationId xmlns:a16="http://schemas.microsoft.com/office/drawing/2014/main" id="{8567148D-B0FF-4BCD-AFA7-75D80AF9F55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61" name="Rechteck 60">
              <a:extLst>
                <a:ext uri="{FF2B5EF4-FFF2-40B4-BE49-F238E27FC236}">
                  <a16:creationId xmlns:a16="http://schemas.microsoft.com/office/drawing/2014/main" id="{68A5DC72-EFE3-453C-9FAF-6BBF135222A1}"/>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62" name="Rechteck 61">
              <a:extLst>
                <a:ext uri="{FF2B5EF4-FFF2-40B4-BE49-F238E27FC236}">
                  <a16:creationId xmlns:a16="http://schemas.microsoft.com/office/drawing/2014/main" id="{508F1DA8-3ED7-458F-BAFF-2AEE22F01E0A}"/>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Nearest Neighbo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a:off x="2123728" y="422108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95674938-A64D-4E6D-ADD4-906AC98D3173}"/>
              </a:ext>
            </a:extLst>
          </p:cNvPr>
          <p:cNvCxnSpPr>
            <a:cxnSpLocks/>
          </p:cNvCxnSpPr>
          <p:nvPr/>
        </p:nvCxnSpPr>
        <p:spPr>
          <a:xfrm>
            <a:off x="2483768" y="350100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DFDAD5A6-F376-4B4D-A4F5-D66D06A76ABB}"/>
              </a:ext>
            </a:extLst>
          </p:cNvPr>
          <p:cNvCxnSpPr>
            <a:cxnSpLocks/>
          </p:cNvCxnSpPr>
          <p:nvPr/>
        </p:nvCxnSpPr>
        <p:spPr>
          <a:xfrm flipV="1">
            <a:off x="2483768" y="350100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3CCE6D40-7646-47DD-A37C-96A77AB12C7D}"/>
              </a:ext>
            </a:extLst>
          </p:cNvPr>
          <p:cNvCxnSpPr>
            <a:cxnSpLocks/>
          </p:cNvCxnSpPr>
          <p:nvPr/>
        </p:nvCxnSpPr>
        <p:spPr>
          <a:xfrm>
            <a:off x="3023828" y="278092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B648550F-7FB1-443A-8D62-86BF7A4AF279}"/>
              </a:ext>
            </a:extLst>
          </p:cNvPr>
          <p:cNvCxnSpPr>
            <a:cxnSpLocks/>
          </p:cNvCxnSpPr>
          <p:nvPr/>
        </p:nvCxnSpPr>
        <p:spPr>
          <a:xfrm flipV="1">
            <a:off x="3023828" y="278092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646A9010-C57E-4004-854C-D264F9283938}"/>
              </a:ext>
            </a:extLst>
          </p:cNvPr>
          <p:cNvCxnSpPr>
            <a:cxnSpLocks/>
          </p:cNvCxnSpPr>
          <p:nvPr/>
        </p:nvCxnSpPr>
        <p:spPr>
          <a:xfrm>
            <a:off x="2843808" y="350100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E6918185-935C-4D16-B57B-C306DCE24E3E}"/>
              </a:ext>
            </a:extLst>
          </p:cNvPr>
          <p:cNvCxnSpPr>
            <a:cxnSpLocks/>
          </p:cNvCxnSpPr>
          <p:nvPr/>
        </p:nvCxnSpPr>
        <p:spPr>
          <a:xfrm flipV="1">
            <a:off x="3743908" y="2780928"/>
            <a:ext cx="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9FB2E21F-E53E-4193-81EA-8D8CEB3A3D82}"/>
              </a:ext>
            </a:extLst>
          </p:cNvPr>
          <p:cNvCxnSpPr>
            <a:cxnSpLocks/>
          </p:cNvCxnSpPr>
          <p:nvPr/>
        </p:nvCxnSpPr>
        <p:spPr>
          <a:xfrm>
            <a:off x="3203848" y="278092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3EA64090-8BCA-4115-A173-7CE43D6E3B75}"/>
              </a:ext>
            </a:extLst>
          </p:cNvPr>
          <p:cNvCxnSpPr>
            <a:cxnSpLocks/>
          </p:cNvCxnSpPr>
          <p:nvPr/>
        </p:nvCxnSpPr>
        <p:spPr>
          <a:xfrm>
            <a:off x="3743908" y="386104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0" name="Ellipse 49">
            <a:extLst>
              <a:ext uri="{FF2B5EF4-FFF2-40B4-BE49-F238E27FC236}">
                <a16:creationId xmlns:a16="http://schemas.microsoft.com/office/drawing/2014/main" id="{0B3B093D-A5BF-483F-B166-9C56EBC8B5A8}"/>
              </a:ext>
            </a:extLst>
          </p:cNvPr>
          <p:cNvSpPr/>
          <p:nvPr/>
        </p:nvSpPr>
        <p:spPr>
          <a:xfrm>
            <a:off x="241176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8B3FF5D0-F678-47A8-9D4D-E66068F6BDA9}"/>
              </a:ext>
            </a:extLst>
          </p:cNvPr>
          <p:cNvSpPr/>
          <p:nvPr/>
        </p:nvSpPr>
        <p:spPr>
          <a:xfrm>
            <a:off x="3671900" y="270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Ellipse 63">
            <a:extLst>
              <a:ext uri="{FF2B5EF4-FFF2-40B4-BE49-F238E27FC236}">
                <a16:creationId xmlns:a16="http://schemas.microsoft.com/office/drawing/2014/main" id="{44EC0F12-BD6A-4C20-BEAC-2F6E6E946FBC}"/>
              </a:ext>
            </a:extLst>
          </p:cNvPr>
          <p:cNvSpPr/>
          <p:nvPr/>
        </p:nvSpPr>
        <p:spPr>
          <a:xfrm>
            <a:off x="385192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744EBA48-75D9-4C79-BE97-41E8FF1D54D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A14EEAD7-D4B8-41EF-9903-DA86251A5059}"/>
              </a:ext>
            </a:extLst>
          </p:cNvPr>
          <p:cNvSpPr/>
          <p:nvPr/>
        </p:nvSpPr>
        <p:spPr>
          <a:xfrm>
            <a:off x="2483768"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7" name="Rechteck 66">
            <a:extLst>
              <a:ext uri="{FF2B5EF4-FFF2-40B4-BE49-F238E27FC236}">
                <a16:creationId xmlns:a16="http://schemas.microsoft.com/office/drawing/2014/main" id="{0237FAD8-B532-46BC-A773-6C700A2F6BC6}"/>
              </a:ext>
            </a:extLst>
          </p:cNvPr>
          <p:cNvSpPr/>
          <p:nvPr/>
        </p:nvSpPr>
        <p:spPr>
          <a:xfrm>
            <a:off x="3635896" y="245689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68" name="Rechteck 67">
            <a:extLst>
              <a:ext uri="{FF2B5EF4-FFF2-40B4-BE49-F238E27FC236}">
                <a16:creationId xmlns:a16="http://schemas.microsoft.com/office/drawing/2014/main" id="{B27A8284-F265-43EB-8005-BFFE03EC77E6}"/>
              </a:ext>
            </a:extLst>
          </p:cNvPr>
          <p:cNvSpPr/>
          <p:nvPr/>
        </p:nvSpPr>
        <p:spPr>
          <a:xfrm>
            <a:off x="3923928"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69" name="Rechteck 68">
            <a:extLst>
              <a:ext uri="{FF2B5EF4-FFF2-40B4-BE49-F238E27FC236}">
                <a16:creationId xmlns:a16="http://schemas.microsoft.com/office/drawing/2014/main" id="{0597CCAA-9937-47A9-91C0-FC6E12D88734}"/>
              </a:ext>
            </a:extLst>
          </p:cNvPr>
          <p:cNvSpPr/>
          <p:nvPr/>
        </p:nvSpPr>
        <p:spPr>
          <a:xfrm>
            <a:off x="4644008" y="389705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1" name="Ellipse 70">
            <a:extLst>
              <a:ext uri="{FF2B5EF4-FFF2-40B4-BE49-F238E27FC236}">
                <a16:creationId xmlns:a16="http://schemas.microsoft.com/office/drawing/2014/main" id="{820D3C1A-BE0A-4085-AB61-5B4B39BF181B}"/>
              </a:ext>
            </a:extLst>
          </p:cNvPr>
          <p:cNvSpPr/>
          <p:nvPr/>
        </p:nvSpPr>
        <p:spPr>
          <a:xfrm>
            <a:off x="241176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2" name="Rechteck 71">
            <a:extLst>
              <a:ext uri="{FF2B5EF4-FFF2-40B4-BE49-F238E27FC236}">
                <a16:creationId xmlns:a16="http://schemas.microsoft.com/office/drawing/2014/main" id="{B33D9CC9-85DD-48FC-B082-A61280E89249}"/>
              </a:ext>
            </a:extLst>
          </p:cNvPr>
          <p:cNvSpPr/>
          <p:nvPr/>
        </p:nvSpPr>
        <p:spPr>
          <a:xfrm>
            <a:off x="2519764"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73" name="Ellipse 72">
            <a:extLst>
              <a:ext uri="{FF2B5EF4-FFF2-40B4-BE49-F238E27FC236}">
                <a16:creationId xmlns:a16="http://schemas.microsoft.com/office/drawing/2014/main" id="{7862DB37-549B-49F7-BD21-E5945E091A42}"/>
              </a:ext>
            </a:extLst>
          </p:cNvPr>
          <p:cNvSpPr/>
          <p:nvPr/>
        </p:nvSpPr>
        <p:spPr>
          <a:xfrm>
            <a:off x="36719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C889BEC-A92B-43DE-895A-4F2A69BF1433}"/>
              </a:ext>
            </a:extLst>
          </p:cNvPr>
          <p:cNvSpPr/>
          <p:nvPr/>
        </p:nvSpPr>
        <p:spPr>
          <a:xfrm>
            <a:off x="3455876"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cxnSp>
        <p:nvCxnSpPr>
          <p:cNvPr id="75" name="Gerader Verbinder 74">
            <a:extLst>
              <a:ext uri="{FF2B5EF4-FFF2-40B4-BE49-F238E27FC236}">
                <a16:creationId xmlns:a16="http://schemas.microsoft.com/office/drawing/2014/main" id="{8945B99A-B4B1-462D-85E1-E182393A8DF0}"/>
              </a:ext>
            </a:extLst>
          </p:cNvPr>
          <p:cNvCxnSpPr>
            <a:cxnSpLocks/>
          </p:cNvCxnSpPr>
          <p:nvPr/>
        </p:nvCxnSpPr>
        <p:spPr>
          <a:xfrm flipV="1">
            <a:off x="4283968" y="2960948"/>
            <a:ext cx="1800200" cy="9022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6" name="Ellipse 75">
            <a:extLst>
              <a:ext uri="{FF2B5EF4-FFF2-40B4-BE49-F238E27FC236}">
                <a16:creationId xmlns:a16="http://schemas.microsoft.com/office/drawing/2014/main" id="{7FF476B9-261C-4B74-B6F1-82129C2EAD4F}"/>
              </a:ext>
            </a:extLst>
          </p:cNvPr>
          <p:cNvSpPr/>
          <p:nvPr/>
        </p:nvSpPr>
        <p:spPr>
          <a:xfrm>
            <a:off x="4572000" y="360903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7" name="Rechteck 76">
            <a:extLst>
              <a:ext uri="{FF2B5EF4-FFF2-40B4-BE49-F238E27FC236}">
                <a16:creationId xmlns:a16="http://schemas.microsoft.com/office/drawing/2014/main" id="{F58AA436-EA30-4C68-8F98-EA8754037200}"/>
              </a:ext>
            </a:extLst>
          </p:cNvPr>
          <p:cNvSpPr/>
          <p:nvPr/>
        </p:nvSpPr>
        <p:spPr>
          <a:xfrm>
            <a:off x="4680012" y="32849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8" name="Rechteck 77">
            <a:extLst>
              <a:ext uri="{FF2B5EF4-FFF2-40B4-BE49-F238E27FC236}">
                <a16:creationId xmlns:a16="http://schemas.microsoft.com/office/drawing/2014/main" id="{33E69B9B-9DBE-4746-AE16-E3738AD723B2}"/>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 and</a:t>
            </a:r>
          </a:p>
          <a:p>
            <a:r>
              <a:rPr lang="en-US" sz="1400" dirty="0">
                <a:solidFill>
                  <a:schemeClr val="tx1"/>
                </a:solidFill>
              </a:rPr>
              <a:t>continue</a:t>
            </a:r>
          </a:p>
          <a:p>
            <a:r>
              <a:rPr lang="en-US" sz="1400" dirty="0">
                <a:solidFill>
                  <a:schemeClr val="tx1"/>
                </a:solidFill>
              </a:rPr>
              <a:t>slope +0.5</a:t>
            </a:r>
          </a:p>
        </p:txBody>
      </p:sp>
      <p:cxnSp>
        <p:nvCxnSpPr>
          <p:cNvPr id="79" name="Gerader Verbinder 78">
            <a:extLst>
              <a:ext uri="{FF2B5EF4-FFF2-40B4-BE49-F238E27FC236}">
                <a16:creationId xmlns:a16="http://schemas.microsoft.com/office/drawing/2014/main" id="{BE33347D-2411-48E1-B7F4-55204D842239}"/>
              </a:ext>
            </a:extLst>
          </p:cNvPr>
          <p:cNvCxnSpPr>
            <a:cxnSpLocks/>
          </p:cNvCxnSpPr>
          <p:nvPr/>
        </p:nvCxnSpPr>
        <p:spPr>
          <a:xfrm>
            <a:off x="3959932" y="1664804"/>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03C72511-0B6D-4AF3-B500-CE5774C53EB0}"/>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9A3A2275-97E5-4D70-8F62-4F7A8E7B4CDF}"/>
              </a:ext>
            </a:extLst>
          </p:cNvPr>
          <p:cNvCxnSpPr>
            <a:cxnSpLocks/>
          </p:cNvCxnSpPr>
          <p:nvPr/>
        </p:nvCxnSpPr>
        <p:spPr>
          <a:xfrm flipV="1">
            <a:off x="1043608" y="422108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41542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A3096F0E-9205-4799-AAE3-4CD5CC35756C}"/>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3F7046BB-EB64-42FE-B4BA-F0A31CDD5655}"/>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50" name="Rechteck 49">
              <a:extLst>
                <a:ext uri="{FF2B5EF4-FFF2-40B4-BE49-F238E27FC236}">
                  <a16:creationId xmlns:a16="http://schemas.microsoft.com/office/drawing/2014/main" id="{02C2745A-17FA-4C6C-BA69-16F26D1BF2E1}"/>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52" name="Rechteck 51">
              <a:extLst>
                <a:ext uri="{FF2B5EF4-FFF2-40B4-BE49-F238E27FC236}">
                  <a16:creationId xmlns:a16="http://schemas.microsoft.com/office/drawing/2014/main" id="{C535042E-6DF9-4D3F-88D3-2440702BDC97}"/>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53" name="Rechteck 52">
              <a:extLst>
                <a:ext uri="{FF2B5EF4-FFF2-40B4-BE49-F238E27FC236}">
                  <a16:creationId xmlns:a16="http://schemas.microsoft.com/office/drawing/2014/main" id="{75BCB395-016C-45A3-9987-08D4D778C269}"/>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sp>
          <p:nvSpPr>
            <p:cNvPr id="54" name="Rechteck 53">
              <a:extLst>
                <a:ext uri="{FF2B5EF4-FFF2-40B4-BE49-F238E27FC236}">
                  <a16:creationId xmlns:a16="http://schemas.microsoft.com/office/drawing/2014/main" id="{55C56205-5E82-4193-85BC-E431CDD4DBBA}"/>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0</a:t>
              </a:r>
            </a:p>
          </p:txBody>
        </p:sp>
        <p:sp>
          <p:nvSpPr>
            <p:cNvPr id="55" name="Rechteck 54">
              <a:extLst>
                <a:ext uri="{FF2B5EF4-FFF2-40B4-BE49-F238E27FC236}">
                  <a16:creationId xmlns:a16="http://schemas.microsoft.com/office/drawing/2014/main" id="{12DD20FA-5709-44FC-8D03-0A5A2C64FD69}"/>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2</a:t>
              </a:r>
            </a:p>
          </p:txBody>
        </p:sp>
        <p:sp>
          <p:nvSpPr>
            <p:cNvPr id="57" name="Rechteck 56">
              <a:extLst>
                <a:ext uri="{FF2B5EF4-FFF2-40B4-BE49-F238E27FC236}">
                  <a16:creationId xmlns:a16="http://schemas.microsoft.com/office/drawing/2014/main" id="{DD9191FC-1EEF-481A-A44F-A2309A28BA18}"/>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0</a:t>
              </a:r>
            </a:p>
          </p:txBody>
        </p:sp>
        <p:sp>
          <p:nvSpPr>
            <p:cNvPr id="59" name="Rechteck 58">
              <a:extLst>
                <a:ext uri="{FF2B5EF4-FFF2-40B4-BE49-F238E27FC236}">
                  <a16:creationId xmlns:a16="http://schemas.microsoft.com/office/drawing/2014/main" id="{26C5AF14-7172-4BB0-A49E-A03B0C1B6AEB}"/>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61" name="Rechteck 60">
              <a:extLst>
                <a:ext uri="{FF2B5EF4-FFF2-40B4-BE49-F238E27FC236}">
                  <a16:creationId xmlns:a16="http://schemas.microsoft.com/office/drawing/2014/main" id="{5223B715-AA52-49F1-9D1D-09ABC9D3FA8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63" name="Rechteck 62">
              <a:extLst>
                <a:ext uri="{FF2B5EF4-FFF2-40B4-BE49-F238E27FC236}">
                  <a16:creationId xmlns:a16="http://schemas.microsoft.com/office/drawing/2014/main" id="{77FE510D-0B52-44FB-B0FB-7CD0BD3780CB}"/>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65" name="Rechteck 64">
              <a:extLst>
                <a:ext uri="{FF2B5EF4-FFF2-40B4-BE49-F238E27FC236}">
                  <a16:creationId xmlns:a16="http://schemas.microsoft.com/office/drawing/2014/main" id="{F97BCEE2-18A8-4AD5-9AF7-FCF46E6D13B6}"/>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grpSp>
      <p:sp>
        <p:nvSpPr>
          <p:cNvPr id="2" name="Titel 1"/>
          <p:cNvSpPr>
            <a:spLocks noGrp="1"/>
          </p:cNvSpPr>
          <p:nvPr>
            <p:ph type="title"/>
          </p:nvPr>
        </p:nvSpPr>
        <p:spPr/>
        <p:txBody>
          <a:bodyPr/>
          <a:lstStyle/>
          <a:p>
            <a:r>
              <a:rPr lang="en-US"/>
              <a:t>Interpolation Function - Linea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flipV="1">
            <a:off x="2123728" y="3501008"/>
            <a:ext cx="72008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94DC15D8-5FCA-4EAC-BB34-BE01A2E60600}"/>
              </a:ext>
            </a:extLst>
          </p:cNvPr>
          <p:cNvCxnSpPr>
            <a:cxnSpLocks/>
          </p:cNvCxnSpPr>
          <p:nvPr/>
        </p:nvCxnSpPr>
        <p:spPr>
          <a:xfrm flipV="1">
            <a:off x="2843808" y="2780928"/>
            <a:ext cx="36004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3832DE44-C26E-403B-AEB2-26675C0B4928}"/>
              </a:ext>
            </a:extLst>
          </p:cNvPr>
          <p:cNvCxnSpPr>
            <a:cxnSpLocks/>
          </p:cNvCxnSpPr>
          <p:nvPr/>
        </p:nvCxnSpPr>
        <p:spPr>
          <a:xfrm>
            <a:off x="3203848" y="2780928"/>
            <a:ext cx="108012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440160"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8DB8D080-1E72-480E-AC0C-CAD56F8EAF84}"/>
              </a:ext>
            </a:extLst>
          </p:cNvPr>
          <p:cNvSpPr/>
          <p:nvPr/>
        </p:nvSpPr>
        <p:spPr>
          <a:xfrm>
            <a:off x="241176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7" name="Ellipse 66">
            <a:extLst>
              <a:ext uri="{FF2B5EF4-FFF2-40B4-BE49-F238E27FC236}">
                <a16:creationId xmlns:a16="http://schemas.microsoft.com/office/drawing/2014/main" id="{C3D11BCF-7E63-41A5-BE46-607F6F7D550A}"/>
              </a:ext>
            </a:extLst>
          </p:cNvPr>
          <p:cNvSpPr/>
          <p:nvPr/>
        </p:nvSpPr>
        <p:spPr>
          <a:xfrm>
            <a:off x="3671900" y="324899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8" name="Ellipse 67">
            <a:extLst>
              <a:ext uri="{FF2B5EF4-FFF2-40B4-BE49-F238E27FC236}">
                <a16:creationId xmlns:a16="http://schemas.microsoft.com/office/drawing/2014/main" id="{8870627A-DC28-4A46-81C0-C41AA0DBF2FA}"/>
              </a:ext>
            </a:extLst>
          </p:cNvPr>
          <p:cNvSpPr/>
          <p:nvPr/>
        </p:nvSpPr>
        <p:spPr>
          <a:xfrm>
            <a:off x="385192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9" name="Ellipse 68">
            <a:extLst>
              <a:ext uri="{FF2B5EF4-FFF2-40B4-BE49-F238E27FC236}">
                <a16:creationId xmlns:a16="http://schemas.microsoft.com/office/drawing/2014/main" id="{A64E9A48-B551-46CD-86D7-5529B97D2125}"/>
              </a:ext>
            </a:extLst>
          </p:cNvPr>
          <p:cNvSpPr/>
          <p:nvPr/>
        </p:nvSpPr>
        <p:spPr>
          <a:xfrm>
            <a:off x="457200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0" name="Ellipse 69">
            <a:extLst>
              <a:ext uri="{FF2B5EF4-FFF2-40B4-BE49-F238E27FC236}">
                <a16:creationId xmlns:a16="http://schemas.microsoft.com/office/drawing/2014/main" id="{2F6321F8-7350-41EE-A854-23AB45519EA0}"/>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1" name="Rechteck 70">
            <a:extLst>
              <a:ext uri="{FF2B5EF4-FFF2-40B4-BE49-F238E27FC236}">
                <a16:creationId xmlns:a16="http://schemas.microsoft.com/office/drawing/2014/main" id="{F613AE0A-78C5-40FA-8FB9-87BF116C5836}"/>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A</a:t>
            </a:r>
            <a:endParaRPr lang="en-US" sz="1000" b="1">
              <a:solidFill>
                <a:srgbClr val="0000FF"/>
              </a:solidFill>
            </a:endParaRPr>
          </a:p>
        </p:txBody>
      </p:sp>
      <p:sp>
        <p:nvSpPr>
          <p:cNvPr id="72" name="Rechteck 71">
            <a:extLst>
              <a:ext uri="{FF2B5EF4-FFF2-40B4-BE49-F238E27FC236}">
                <a16:creationId xmlns:a16="http://schemas.microsoft.com/office/drawing/2014/main" id="{2E8634B4-9E07-4C4D-AD89-567F02A5D9B2}"/>
              </a:ext>
            </a:extLst>
          </p:cNvPr>
          <p:cNvSpPr/>
          <p:nvPr/>
        </p:nvSpPr>
        <p:spPr>
          <a:xfrm>
            <a:off x="3635896" y="292494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B</a:t>
            </a:r>
            <a:endParaRPr lang="en-US" sz="1000" b="1">
              <a:solidFill>
                <a:srgbClr val="0000FF"/>
              </a:solidFill>
            </a:endParaRPr>
          </a:p>
        </p:txBody>
      </p:sp>
      <p:sp>
        <p:nvSpPr>
          <p:cNvPr id="73" name="Rechteck 72">
            <a:extLst>
              <a:ext uri="{FF2B5EF4-FFF2-40B4-BE49-F238E27FC236}">
                <a16:creationId xmlns:a16="http://schemas.microsoft.com/office/drawing/2014/main" id="{997537B9-6FF9-4949-874E-4A61A34A7E12}"/>
              </a:ext>
            </a:extLst>
          </p:cNvPr>
          <p:cNvSpPr/>
          <p:nvPr/>
        </p:nvSpPr>
        <p:spPr>
          <a:xfrm>
            <a:off x="3959932"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C</a:t>
            </a:r>
            <a:endParaRPr lang="en-US" sz="1000" b="1">
              <a:solidFill>
                <a:srgbClr val="0000FF"/>
              </a:solidFill>
            </a:endParaRPr>
          </a:p>
        </p:txBody>
      </p:sp>
      <p:sp>
        <p:nvSpPr>
          <p:cNvPr id="74" name="Rechteck 73">
            <a:extLst>
              <a:ext uri="{FF2B5EF4-FFF2-40B4-BE49-F238E27FC236}">
                <a16:creationId xmlns:a16="http://schemas.microsoft.com/office/drawing/2014/main" id="{F9BBA55C-AD22-4C04-91BA-7CFD8951B9FE}"/>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sp>
        <p:nvSpPr>
          <p:cNvPr id="75" name="Rechteck 74">
            <a:extLst>
              <a:ext uri="{FF2B5EF4-FFF2-40B4-BE49-F238E27FC236}">
                <a16:creationId xmlns:a16="http://schemas.microsoft.com/office/drawing/2014/main" id="{4D34F233-EDC9-44BA-9CBE-791D7EF3B480}"/>
              </a:ext>
            </a:extLst>
          </p:cNvPr>
          <p:cNvSpPr/>
          <p:nvPr/>
        </p:nvSpPr>
        <p:spPr>
          <a:xfrm>
            <a:off x="4824020" y="41850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6" name="Gerader Verbinder 75">
            <a:extLst>
              <a:ext uri="{FF2B5EF4-FFF2-40B4-BE49-F238E27FC236}">
                <a16:creationId xmlns:a16="http://schemas.microsoft.com/office/drawing/2014/main" id="{4DA27D43-AA71-493D-87E5-C2E1B08AC040}"/>
              </a:ext>
            </a:extLst>
          </p:cNvPr>
          <p:cNvCxnSpPr>
            <a:cxnSpLocks/>
          </p:cNvCxnSpPr>
          <p:nvPr/>
        </p:nvCxnSpPr>
        <p:spPr>
          <a:xfrm>
            <a:off x="4283968" y="3861048"/>
            <a:ext cx="1800200" cy="90010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7" name="Ellipse 76">
            <a:extLst>
              <a:ext uri="{FF2B5EF4-FFF2-40B4-BE49-F238E27FC236}">
                <a16:creationId xmlns:a16="http://schemas.microsoft.com/office/drawing/2014/main" id="{ABF08D94-3259-4D00-B0C4-21654CDDD267}"/>
              </a:ext>
            </a:extLst>
          </p:cNvPr>
          <p:cNvSpPr/>
          <p:nvPr/>
        </p:nvSpPr>
        <p:spPr>
          <a:xfrm>
            <a:off x="4572000" y="396906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8" name="Rechteck 77">
            <a:extLst>
              <a:ext uri="{FF2B5EF4-FFF2-40B4-BE49-F238E27FC236}">
                <a16:creationId xmlns:a16="http://schemas.microsoft.com/office/drawing/2014/main" id="{BF1344BF-B551-4F47-9C67-DD2E84C033FB}"/>
              </a:ext>
            </a:extLst>
          </p:cNvPr>
          <p:cNvSpPr/>
          <p:nvPr/>
        </p:nvSpPr>
        <p:spPr>
          <a:xfrm>
            <a:off x="4788024"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9" name="Gerader Verbinder 78">
            <a:extLst>
              <a:ext uri="{FF2B5EF4-FFF2-40B4-BE49-F238E27FC236}">
                <a16:creationId xmlns:a16="http://schemas.microsoft.com/office/drawing/2014/main" id="{41E5A45B-46F1-4009-95EE-5EF510875025}"/>
              </a:ext>
            </a:extLst>
          </p:cNvPr>
          <p:cNvCxnSpPr>
            <a:cxnSpLocks/>
          </p:cNvCxnSpPr>
          <p:nvPr/>
        </p:nvCxnSpPr>
        <p:spPr>
          <a:xfrm>
            <a:off x="1043608" y="368102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71404904-029B-4765-8969-C0EDF78F87E7}"/>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slope -0.5</a:t>
            </a:r>
          </a:p>
        </p:txBody>
      </p:sp>
      <p:cxnSp>
        <p:nvCxnSpPr>
          <p:cNvPr id="80" name="Gerader Verbinder 79">
            <a:extLst>
              <a:ext uri="{FF2B5EF4-FFF2-40B4-BE49-F238E27FC236}">
                <a16:creationId xmlns:a16="http://schemas.microsoft.com/office/drawing/2014/main" id="{14A8E130-6266-4C2A-B00F-F10EAE62DB9E}"/>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EDE8D7F8-55EF-4CD0-A004-85D0BDA0C617}"/>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375564E5-B234-4D09-B525-73A16F5DBE46}"/>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4802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CFEC626E-8831-4011-BC64-4FB74E6A834B}"/>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037E65A3-7899-4FED-979A-600728EB0FA0}"/>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0" name="Rechteck 49">
              <a:extLst>
                <a:ext uri="{FF2B5EF4-FFF2-40B4-BE49-F238E27FC236}">
                  <a16:creationId xmlns:a16="http://schemas.microsoft.com/office/drawing/2014/main" id="{847F0095-7300-4027-9D65-CCED8FC0F118}"/>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1" name="Rechteck 50">
              <a:extLst>
                <a:ext uri="{FF2B5EF4-FFF2-40B4-BE49-F238E27FC236}">
                  <a16:creationId xmlns:a16="http://schemas.microsoft.com/office/drawing/2014/main" id="{0C35FA19-9AEA-4E97-A857-0F9F333B62F4}"/>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2" name="Rechteck 51">
              <a:extLst>
                <a:ext uri="{FF2B5EF4-FFF2-40B4-BE49-F238E27FC236}">
                  <a16:creationId xmlns:a16="http://schemas.microsoft.com/office/drawing/2014/main" id="{430A973F-1929-4235-99C4-0C9D618647BD}"/>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3" name="Rechteck 52">
              <a:extLst>
                <a:ext uri="{FF2B5EF4-FFF2-40B4-BE49-F238E27FC236}">
                  <a16:creationId xmlns:a16="http://schemas.microsoft.com/office/drawing/2014/main" id="{964B57F5-3F54-4FBC-9FED-A8FE21F3C116}"/>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4" name="Rechteck 53">
              <a:extLst>
                <a:ext uri="{FF2B5EF4-FFF2-40B4-BE49-F238E27FC236}">
                  <a16:creationId xmlns:a16="http://schemas.microsoft.com/office/drawing/2014/main" id="{23B869E1-8968-493B-A8C6-5224957C6101}"/>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5" name="Rechteck 54">
              <a:extLst>
                <a:ext uri="{FF2B5EF4-FFF2-40B4-BE49-F238E27FC236}">
                  <a16:creationId xmlns:a16="http://schemas.microsoft.com/office/drawing/2014/main" id="{68B5A2D8-A8F7-45DB-A918-E334379F4BFD}"/>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6" name="Rechteck 55">
              <a:extLst>
                <a:ext uri="{FF2B5EF4-FFF2-40B4-BE49-F238E27FC236}">
                  <a16:creationId xmlns:a16="http://schemas.microsoft.com/office/drawing/2014/main" id="{68AFDFFE-3692-412B-8BF2-2E99C36A74C3}"/>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7" name="Rechteck 56">
              <a:extLst>
                <a:ext uri="{FF2B5EF4-FFF2-40B4-BE49-F238E27FC236}">
                  <a16:creationId xmlns:a16="http://schemas.microsoft.com/office/drawing/2014/main" id="{4D12232F-4BA0-4ACF-BEE8-8F0680FFA1D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8" name="Rechteck 57">
              <a:extLst>
                <a:ext uri="{FF2B5EF4-FFF2-40B4-BE49-F238E27FC236}">
                  <a16:creationId xmlns:a16="http://schemas.microsoft.com/office/drawing/2014/main" id="{2C954200-E1BE-4AA9-9A27-5F6354190659}"/>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9" name="Rechteck 58">
              <a:extLst>
                <a:ext uri="{FF2B5EF4-FFF2-40B4-BE49-F238E27FC236}">
                  <a16:creationId xmlns:a16="http://schemas.microsoft.com/office/drawing/2014/main" id="{DE7EAEFC-BE59-48BB-87F3-A077E5E91CA0}"/>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Cubic Spline</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224136"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4" name="Freihandform: Form 3">
            <a:extLst>
              <a:ext uri="{FF2B5EF4-FFF2-40B4-BE49-F238E27FC236}">
                <a16:creationId xmlns:a16="http://schemas.microsoft.com/office/drawing/2014/main" id="{38308A58-A596-4FAC-82FF-B90EDC0B396A}"/>
              </a:ext>
            </a:extLst>
          </p:cNvPr>
          <p:cNvSpPr/>
          <p:nvPr/>
        </p:nvSpPr>
        <p:spPr>
          <a:xfrm>
            <a:off x="2119313" y="2776530"/>
            <a:ext cx="2166937" cy="1438283"/>
          </a:xfrm>
          <a:custGeom>
            <a:avLst/>
            <a:gdLst>
              <a:gd name="connsiteX0" fmla="*/ 0 w 2166937"/>
              <a:gd name="connsiteY0" fmla="*/ 1443057 h 1443057"/>
              <a:gd name="connsiteX1" fmla="*/ 728662 w 2166937"/>
              <a:gd name="connsiteY1" fmla="*/ 723919 h 1443057"/>
              <a:gd name="connsiteX2" fmla="*/ 1081087 w 2166937"/>
              <a:gd name="connsiteY2" fmla="*/ 4782 h 1443057"/>
              <a:gd name="connsiteX3" fmla="*/ 2166937 w 2166937"/>
              <a:gd name="connsiteY3" fmla="*/ 1090632 h 1443057"/>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Lst>
            <a:ahLst/>
            <a:cxnLst>
              <a:cxn ang="0">
                <a:pos x="connsiteX0" y="connsiteY0"/>
              </a:cxn>
              <a:cxn ang="0">
                <a:pos x="connsiteX1" y="connsiteY1"/>
              </a:cxn>
              <a:cxn ang="0">
                <a:pos x="connsiteX2" y="connsiteY2"/>
              </a:cxn>
              <a:cxn ang="0">
                <a:pos x="connsiteX3" y="connsiteY3"/>
              </a:cxn>
            </a:cxnLst>
            <a:rect l="l" t="t" r="r" b="b"/>
            <a:pathLst>
              <a:path w="2166937" h="1438283">
                <a:moveTo>
                  <a:pt x="0" y="1438283"/>
                </a:moveTo>
                <a:cubicBezTo>
                  <a:pt x="274240" y="1198570"/>
                  <a:pt x="548481" y="958857"/>
                  <a:pt x="728662" y="719145"/>
                </a:cubicBezTo>
                <a:cubicBezTo>
                  <a:pt x="908843" y="479432"/>
                  <a:pt x="866774" y="2389"/>
                  <a:pt x="1081087" y="8"/>
                </a:cubicBezTo>
                <a:cubicBezTo>
                  <a:pt x="1295400" y="-2373"/>
                  <a:pt x="1743868" y="573492"/>
                  <a:pt x="2166937" y="1085858"/>
                </a:cubicBezTo>
              </a:path>
            </a:pathLst>
          </a:cu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dirty="0"/>
          </a:p>
        </p:txBody>
      </p:sp>
      <p:sp>
        <p:nvSpPr>
          <p:cNvPr id="61" name="Ellipse 60">
            <a:extLst>
              <a:ext uri="{FF2B5EF4-FFF2-40B4-BE49-F238E27FC236}">
                <a16:creationId xmlns:a16="http://schemas.microsoft.com/office/drawing/2014/main" id="{196742C7-BFCB-488F-A50D-228D8E4BE2A1}"/>
              </a:ext>
            </a:extLst>
          </p:cNvPr>
          <p:cNvSpPr/>
          <p:nvPr/>
        </p:nvSpPr>
        <p:spPr>
          <a:xfrm>
            <a:off x="2411760" y="380809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D13407BC-853B-4FBA-BB91-18880AF862EF}"/>
              </a:ext>
            </a:extLst>
          </p:cNvPr>
          <p:cNvSpPr/>
          <p:nvPr/>
        </p:nvSpPr>
        <p:spPr>
          <a:xfrm>
            <a:off x="3671900" y="3148397"/>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A1418939-C2DF-4E5D-BB31-C5DA61AA74CE}"/>
              </a:ext>
            </a:extLst>
          </p:cNvPr>
          <p:cNvSpPr/>
          <p:nvPr/>
        </p:nvSpPr>
        <p:spPr>
          <a:xfrm>
            <a:off x="3851920" y="337185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Ellipse 65">
            <a:extLst>
              <a:ext uri="{FF2B5EF4-FFF2-40B4-BE49-F238E27FC236}">
                <a16:creationId xmlns:a16="http://schemas.microsoft.com/office/drawing/2014/main" id="{BEC160DE-9239-459C-8260-4E65FB7DAA2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7" name="Ellipse 66">
            <a:extLst>
              <a:ext uri="{FF2B5EF4-FFF2-40B4-BE49-F238E27FC236}">
                <a16:creationId xmlns:a16="http://schemas.microsoft.com/office/drawing/2014/main" id="{07D6E0E7-C8B1-41C1-8F65-049460689DB0}"/>
              </a:ext>
            </a:extLst>
          </p:cNvPr>
          <p:cNvSpPr/>
          <p:nvPr/>
        </p:nvSpPr>
        <p:spPr>
          <a:xfrm>
            <a:off x="4572000" y="42125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7FD7F77E-1852-4262-A99F-D75925ADF177}"/>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9" name="Rechteck 68">
            <a:extLst>
              <a:ext uri="{FF2B5EF4-FFF2-40B4-BE49-F238E27FC236}">
                <a16:creationId xmlns:a16="http://schemas.microsoft.com/office/drawing/2014/main" id="{C8EFC265-60CD-4C4C-BD75-506EFB0AEAA8}"/>
              </a:ext>
            </a:extLst>
          </p:cNvPr>
          <p:cNvSpPr/>
          <p:nvPr/>
        </p:nvSpPr>
        <p:spPr>
          <a:xfrm>
            <a:off x="3635896" y="285293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70" name="Rechteck 69">
            <a:extLst>
              <a:ext uri="{FF2B5EF4-FFF2-40B4-BE49-F238E27FC236}">
                <a16:creationId xmlns:a16="http://schemas.microsoft.com/office/drawing/2014/main" id="{64B71A32-232E-4184-ADA7-1B3467041B1A}"/>
              </a:ext>
            </a:extLst>
          </p:cNvPr>
          <p:cNvSpPr/>
          <p:nvPr/>
        </p:nvSpPr>
        <p:spPr>
          <a:xfrm>
            <a:off x="3959932" y="3140968"/>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73" name="Rechteck 72">
            <a:extLst>
              <a:ext uri="{FF2B5EF4-FFF2-40B4-BE49-F238E27FC236}">
                <a16:creationId xmlns:a16="http://schemas.microsoft.com/office/drawing/2014/main" id="{7C4F5678-98A8-4884-8D35-224BD58ADDF8}"/>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4" name="Rechteck 73">
            <a:extLst>
              <a:ext uri="{FF2B5EF4-FFF2-40B4-BE49-F238E27FC236}">
                <a16:creationId xmlns:a16="http://schemas.microsoft.com/office/drawing/2014/main" id="{7A03834A-843B-44D4-AEA8-89C214B56CC5}"/>
              </a:ext>
            </a:extLst>
          </p:cNvPr>
          <p:cNvSpPr/>
          <p:nvPr/>
        </p:nvSpPr>
        <p:spPr>
          <a:xfrm>
            <a:off x="4680012" y="396906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5" name="Rechteck 74">
            <a:extLst>
              <a:ext uri="{FF2B5EF4-FFF2-40B4-BE49-F238E27FC236}">
                <a16:creationId xmlns:a16="http://schemas.microsoft.com/office/drawing/2014/main" id="{1E780BA0-9FE6-499C-951A-F0D20F66CC4F}"/>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 </a:t>
            </a:r>
          </a:p>
        </p:txBody>
      </p:sp>
      <p:cxnSp>
        <p:nvCxnSpPr>
          <p:cNvPr id="76" name="Gerader Verbinder 75">
            <a:extLst>
              <a:ext uri="{FF2B5EF4-FFF2-40B4-BE49-F238E27FC236}">
                <a16:creationId xmlns:a16="http://schemas.microsoft.com/office/drawing/2014/main" id="{9744FF7E-BC17-48B7-A6E6-AEA44F5FAC1C}"/>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03BF1F9B-2C55-4B19-AD51-4A400534776E}"/>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176370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3B5C5B38-243A-4138-A963-FFBFFEE7AB21}"/>
              </a:ext>
            </a:extLst>
          </p:cNvPr>
          <p:cNvSpPr/>
          <p:nvPr/>
        </p:nvSpPr>
        <p:spPr>
          <a:xfrm>
            <a:off x="2196488" y="693000"/>
            <a:ext cx="216000" cy="122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latin typeface="Calibri" panose="020F0502020204030204" pitchFamily="34" charset="0"/>
              <a:cs typeface="Calibri" panose="020F0502020204030204" pitchFamily="34" charset="0"/>
            </a:endParaRPr>
          </a:p>
        </p:txBody>
      </p:sp>
      <p:sp>
        <p:nvSpPr>
          <p:cNvPr id="2" name="Titel 1"/>
          <p:cNvSpPr>
            <a:spLocks noGrp="1"/>
          </p:cNvSpPr>
          <p:nvPr>
            <p:ph type="title"/>
          </p:nvPr>
        </p:nvSpPr>
        <p:spPr/>
        <p:txBody>
          <a:bodyPr/>
          <a:lstStyle/>
          <a:p>
            <a:r>
              <a:rPr lang="en-US" dirty="0"/>
              <a:t>Quantiles</a:t>
            </a:r>
          </a:p>
        </p:txBody>
      </p:sp>
      <p:sp>
        <p:nvSpPr>
          <p:cNvPr id="3" name="Textplatzhalter 2"/>
          <p:cNvSpPr>
            <a:spLocks noGrp="1"/>
          </p:cNvSpPr>
          <p:nvPr>
            <p:ph type="body" sz="quarter" idx="16"/>
          </p:nvPr>
        </p:nvSpPr>
        <p:spPr/>
        <p:txBody>
          <a:bodyPr/>
          <a:lstStyle/>
          <a:p>
            <a:endParaRPr lang="en-US"/>
          </a:p>
        </p:txBody>
      </p:sp>
      <p:sp>
        <p:nvSpPr>
          <p:cNvPr id="71" name="Rechteck 70">
            <a:extLst>
              <a:ext uri="{FF2B5EF4-FFF2-40B4-BE49-F238E27FC236}">
                <a16:creationId xmlns:a16="http://schemas.microsoft.com/office/drawing/2014/main" id="{DD8B0F09-952F-4876-ABEB-73FBAE86C6D2}"/>
              </a:ext>
            </a:extLst>
          </p:cNvPr>
          <p:cNvSpPr/>
          <p:nvPr/>
        </p:nvSpPr>
        <p:spPr>
          <a:xfrm>
            <a:off x="1620000" y="1052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rPr>
              <a:t>p</a:t>
            </a:r>
            <a:r>
              <a:rPr lang="en-US" sz="1200" dirty="0">
                <a:solidFill>
                  <a:schemeClr val="tx1"/>
                </a:solidFill>
                <a:latin typeface="Calibri" panose="020F0502020204030204" pitchFamily="34" charset="0"/>
                <a:cs typeface="Calibri" panose="020F0502020204030204" pitchFamily="34" charset="0"/>
              </a:rPr>
              <a:t> = </a:t>
            </a:r>
            <a:endParaRPr lang="en-US" sz="1200" b="1" dirty="0">
              <a:solidFill>
                <a:schemeClr val="tx1"/>
              </a:solidFill>
              <a:latin typeface="Calibri" panose="020F0502020204030204" pitchFamily="34" charset="0"/>
              <a:cs typeface="Calibri" panose="020F0502020204030204" pitchFamily="34" charset="0"/>
            </a:endParaRPr>
          </a:p>
        </p:txBody>
      </p:sp>
      <p:sp>
        <p:nvSpPr>
          <p:cNvPr id="72" name="Rechteck 71">
            <a:extLst>
              <a:ext uri="{FF2B5EF4-FFF2-40B4-BE49-F238E27FC236}">
                <a16:creationId xmlns:a16="http://schemas.microsoft.com/office/drawing/2014/main" id="{C652E1D3-6256-4E30-AD7C-6BD744C4185F}"/>
              </a:ext>
            </a:extLst>
          </p:cNvPr>
          <p:cNvSpPr/>
          <p:nvPr/>
        </p:nvSpPr>
        <p:spPr>
          <a:xfrm>
            <a:off x="2484488" y="1413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r>
              <a:rPr lang="en-US" sz="1200" baseline="-25000" dirty="0" err="1">
                <a:solidFill>
                  <a:schemeClr val="tx1"/>
                </a:solidFill>
                <a:latin typeface="Calibri" panose="020F0502020204030204" pitchFamily="34" charset="0"/>
                <a:cs typeface="Calibri" panose="020F0502020204030204" pitchFamily="34" charset="0"/>
              </a:rPr>
              <a:t>n·p</a:t>
            </a:r>
            <a:r>
              <a:rPr lang="en-US" sz="1200" baseline="-25000" dirty="0">
                <a:solidFill>
                  <a:schemeClr val="tx1"/>
                </a:solidFill>
                <a:latin typeface="Calibri" panose="020F0502020204030204" pitchFamily="34" charset="0"/>
                <a:cs typeface="Calibri" panose="020F0502020204030204" pitchFamily="34" charset="0"/>
              </a:rPr>
              <a:t>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endParaRPr lang="en-US" sz="1200" b="1" dirty="0">
              <a:solidFill>
                <a:schemeClr val="tx1"/>
              </a:solidFill>
              <a:latin typeface="Calibri" panose="020F0502020204030204" pitchFamily="34" charset="0"/>
              <a:cs typeface="Calibri" panose="020F0502020204030204" pitchFamily="34" charset="0"/>
            </a:endParaRPr>
          </a:p>
        </p:txBody>
      </p:sp>
      <p:sp>
        <p:nvSpPr>
          <p:cNvPr id="78" name="Rechteck 77">
            <a:extLst>
              <a:ext uri="{FF2B5EF4-FFF2-40B4-BE49-F238E27FC236}">
                <a16:creationId xmlns:a16="http://schemas.microsoft.com/office/drawing/2014/main" id="{9A7CB54A-9EE4-4ACC-9703-2F842D05AF42}"/>
              </a:ext>
            </a:extLst>
          </p:cNvPr>
          <p:cNvSpPr/>
          <p:nvPr/>
        </p:nvSpPr>
        <p:spPr>
          <a:xfrm>
            <a:off x="2484488" y="837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 x </a:t>
            </a:r>
            <a:r>
              <a:rPr lang="en-US" sz="1200" baseline="-25000" dirty="0" err="1">
                <a:solidFill>
                  <a:schemeClr val="tx1"/>
                </a:solidFill>
                <a:latin typeface="Calibri" panose="020F0502020204030204" pitchFamily="34" charset="0"/>
                <a:cs typeface="Calibri" panose="020F0502020204030204" pitchFamily="34" charset="0"/>
              </a:rPr>
              <a:t>n·p+1</a:t>
            </a:r>
            <a:r>
              <a:rPr lang="en-US" sz="1200" dirty="0">
                <a:solidFill>
                  <a:schemeClr val="tx1"/>
                </a:solidFill>
                <a:latin typeface="Calibri" panose="020F0502020204030204" pitchFamily="34" charset="0"/>
                <a:cs typeface="Calibri" panose="020F0502020204030204" pitchFamily="34" charset="0"/>
              </a:rPr>
              <a:t> </a:t>
            </a:r>
            <a:endParaRPr lang="en-US" sz="1200" b="1" dirty="0">
              <a:solidFill>
                <a:schemeClr val="tx1"/>
              </a:solidFill>
              <a:latin typeface="Calibri" panose="020F0502020204030204" pitchFamily="34" charset="0"/>
              <a:cs typeface="Calibri" panose="020F0502020204030204" pitchFamily="34" charset="0"/>
            </a:endParaRPr>
          </a:p>
        </p:txBody>
      </p:sp>
      <p:cxnSp>
        <p:nvCxnSpPr>
          <p:cNvPr id="20" name="Gerader Verbinder 19">
            <a:extLst>
              <a:ext uri="{FF2B5EF4-FFF2-40B4-BE49-F238E27FC236}">
                <a16:creationId xmlns:a16="http://schemas.microsoft.com/office/drawing/2014/main" id="{314B06D4-E9AD-496E-934A-C6D3F81394AF}"/>
              </a:ext>
            </a:extLst>
          </p:cNvPr>
          <p:cNvCxnSpPr>
            <a:cxnSpLocks/>
          </p:cNvCxnSpPr>
          <p:nvPr/>
        </p:nvCxnSpPr>
        <p:spPr>
          <a:xfrm>
            <a:off x="2532673" y="1125000"/>
            <a:ext cx="7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7CAE0772-23EC-414A-9229-0F7583324F3D}"/>
              </a:ext>
            </a:extLst>
          </p:cNvPr>
          <p:cNvSpPr/>
          <p:nvPr/>
        </p:nvSpPr>
        <p:spPr>
          <a:xfrm>
            <a:off x="2844488" y="112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2</a:t>
            </a:r>
            <a:endParaRPr lang="en-US" sz="1200" b="1" dirty="0">
              <a:solidFill>
                <a:schemeClr val="tx1"/>
              </a:solidFill>
              <a:latin typeface="Calibri" panose="020F0502020204030204" pitchFamily="34" charset="0"/>
              <a:cs typeface="Calibri" panose="020F0502020204030204" pitchFamily="34" charset="0"/>
            </a:endParaRPr>
          </a:p>
        </p:txBody>
      </p:sp>
      <p:sp>
        <p:nvSpPr>
          <p:cNvPr id="80" name="Rechteck 79">
            <a:extLst>
              <a:ext uri="{FF2B5EF4-FFF2-40B4-BE49-F238E27FC236}">
                <a16:creationId xmlns:a16="http://schemas.microsoft.com/office/drawing/2014/main" id="{ADE2C554-F8FC-42C7-9E76-25468897BACB}"/>
              </a:ext>
            </a:extLst>
          </p:cNvPr>
          <p:cNvSpPr/>
          <p:nvPr/>
        </p:nvSpPr>
        <p:spPr>
          <a:xfrm>
            <a:off x="3636488" y="837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if </a:t>
            </a:r>
            <a:r>
              <a:rPr lang="en-US" sz="12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is a whole number</a:t>
            </a:r>
            <a:endParaRPr lang="en-US" sz="1200" b="1" dirty="0">
              <a:solidFill>
                <a:schemeClr val="tx1"/>
              </a:solidFill>
              <a:latin typeface="Calibri" panose="020F0502020204030204" pitchFamily="34" charset="0"/>
              <a:cs typeface="Calibri" panose="020F0502020204030204" pitchFamily="34" charset="0"/>
            </a:endParaRPr>
          </a:p>
        </p:txBody>
      </p:sp>
      <p:sp>
        <p:nvSpPr>
          <p:cNvPr id="81" name="Rechteck 80">
            <a:extLst>
              <a:ext uri="{FF2B5EF4-FFF2-40B4-BE49-F238E27FC236}">
                <a16:creationId xmlns:a16="http://schemas.microsoft.com/office/drawing/2014/main" id="{24BEB614-6231-45B2-AA4C-7E861FE64E0F}"/>
              </a:ext>
            </a:extLst>
          </p:cNvPr>
          <p:cNvSpPr/>
          <p:nvPr/>
        </p:nvSpPr>
        <p:spPr>
          <a:xfrm>
            <a:off x="3636488" y="1341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otherwise</a:t>
            </a:r>
            <a:endParaRPr lang="en-US" sz="1200" b="1" dirty="0">
              <a:solidFill>
                <a:schemeClr val="tx1"/>
              </a:solidFill>
              <a:latin typeface="Calibri" panose="020F0502020204030204" pitchFamily="34" charset="0"/>
              <a:cs typeface="Calibri" panose="020F0502020204030204" pitchFamily="34" charset="0"/>
            </a:endParaRPr>
          </a:p>
        </p:txBody>
      </p:sp>
      <p:sp>
        <p:nvSpPr>
          <p:cNvPr id="23" name="Geschweifte Klammer links 22">
            <a:extLst>
              <a:ext uri="{FF2B5EF4-FFF2-40B4-BE49-F238E27FC236}">
                <a16:creationId xmlns:a16="http://schemas.microsoft.com/office/drawing/2014/main" id="{2DFA5E42-07F2-46A4-B8A9-FFA49CBC3572}"/>
              </a:ext>
            </a:extLst>
          </p:cNvPr>
          <p:cNvSpPr/>
          <p:nvPr/>
        </p:nvSpPr>
        <p:spPr>
          <a:xfrm>
            <a:off x="2124488" y="765000"/>
            <a:ext cx="216000" cy="108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latin typeface="Calibri" panose="020F0502020204030204" pitchFamily="34" charset="0"/>
              <a:cs typeface="Calibri" panose="020F0502020204030204" pitchFamily="34" charset="0"/>
            </a:endParaRPr>
          </a:p>
        </p:txBody>
      </p:sp>
      <p:sp>
        <p:nvSpPr>
          <p:cNvPr id="82" name="Rechteck 81">
            <a:extLst>
              <a:ext uri="{FF2B5EF4-FFF2-40B4-BE49-F238E27FC236}">
                <a16:creationId xmlns:a16="http://schemas.microsoft.com/office/drawing/2014/main" id="{25F30551-B4BC-4339-8665-C47561B1E2C7}"/>
              </a:ext>
            </a:extLst>
          </p:cNvPr>
          <p:cNvSpPr/>
          <p:nvPr/>
        </p:nvSpPr>
        <p:spPr>
          <a:xfrm>
            <a:off x="1620000" y="980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870281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E3E55-B806-FBD0-09BF-9E178F4B7A67}"/>
            </a:ext>
          </a:extLst>
        </p:cNvPr>
        <p:cNvGrpSpPr/>
        <p:nvPr/>
      </p:nvGrpSpPr>
      <p:grpSpPr>
        <a:xfrm>
          <a:off x="0" y="0"/>
          <a:ext cx="0" cy="0"/>
          <a:chOff x="0" y="0"/>
          <a:chExt cx="0" cy="0"/>
        </a:xfrm>
      </p:grpSpPr>
      <p:sp>
        <p:nvSpPr>
          <p:cNvPr id="66" name="Rechteck 65">
            <a:extLst>
              <a:ext uri="{FF2B5EF4-FFF2-40B4-BE49-F238E27FC236}">
                <a16:creationId xmlns:a16="http://schemas.microsoft.com/office/drawing/2014/main" id="{2BFC0C03-32B5-0C08-8B75-EA4D6363C2F1}"/>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04" name="Rechteck 103">
            <a:extLst>
              <a:ext uri="{FF2B5EF4-FFF2-40B4-BE49-F238E27FC236}">
                <a16:creationId xmlns:a16="http://schemas.microsoft.com/office/drawing/2014/main" id="{CAE4111B-5A19-D915-26FB-FB138BCE9645}"/>
              </a:ext>
            </a:extLst>
          </p:cNvPr>
          <p:cNvSpPr/>
          <p:nvPr/>
        </p:nvSpPr>
        <p:spPr>
          <a:xfrm>
            <a:off x="540000" y="52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08" name="Rechteck 107">
            <a:extLst>
              <a:ext uri="{FF2B5EF4-FFF2-40B4-BE49-F238E27FC236}">
                <a16:creationId xmlns:a16="http://schemas.microsoft.com/office/drawing/2014/main" id="{C3EDF7B9-5BD4-EB2F-2C69-0B045135C3A7}"/>
              </a:ext>
            </a:extLst>
          </p:cNvPr>
          <p:cNvSpPr/>
          <p:nvPr/>
        </p:nvSpPr>
        <p:spPr>
          <a:xfrm>
            <a:off x="540000" y="4725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Key Objects</a:t>
            </a:r>
          </a:p>
        </p:txBody>
      </p:sp>
      <p:sp>
        <p:nvSpPr>
          <p:cNvPr id="131" name="Rechteck 130">
            <a:extLst>
              <a:ext uri="{FF2B5EF4-FFF2-40B4-BE49-F238E27FC236}">
                <a16:creationId xmlns:a16="http://schemas.microsoft.com/office/drawing/2014/main" id="{D30DB4F1-3297-D967-2112-9270CE5933E6}"/>
              </a:ext>
            </a:extLst>
          </p:cNvPr>
          <p:cNvSpPr/>
          <p:nvPr/>
        </p:nvSpPr>
        <p:spPr>
          <a:xfrm>
            <a:off x="540000" y="4221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Function Calls</a:t>
            </a:r>
          </a:p>
        </p:txBody>
      </p:sp>
      <p:sp>
        <p:nvSpPr>
          <p:cNvPr id="126" name="Rechteck 125">
            <a:extLst>
              <a:ext uri="{FF2B5EF4-FFF2-40B4-BE49-F238E27FC236}">
                <a16:creationId xmlns:a16="http://schemas.microsoft.com/office/drawing/2014/main" id="{C4324E84-4EE5-99D4-9A04-8E537FCD2F51}"/>
              </a:ext>
            </a:extLst>
          </p:cNvPr>
          <p:cNvSpPr/>
          <p:nvPr/>
        </p:nvSpPr>
        <p:spPr>
          <a:xfrm>
            <a:off x="540000" y="371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lculations and Comparisons</a:t>
            </a:r>
          </a:p>
        </p:txBody>
      </p:sp>
      <p:sp>
        <p:nvSpPr>
          <p:cNvPr id="121" name="Rechteck 120">
            <a:extLst>
              <a:ext uri="{FF2B5EF4-FFF2-40B4-BE49-F238E27FC236}">
                <a16:creationId xmlns:a16="http://schemas.microsoft.com/office/drawing/2014/main" id="{3D192D5F-C466-6CA7-DCB9-5912311E4B98}"/>
              </a:ext>
            </a:extLst>
          </p:cNvPr>
          <p:cNvSpPr/>
          <p:nvPr/>
        </p:nvSpPr>
        <p:spPr>
          <a:xfrm>
            <a:off x="540000" y="3429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xpressions</a:t>
            </a:r>
          </a:p>
        </p:txBody>
      </p:sp>
      <p:sp>
        <p:nvSpPr>
          <p:cNvPr id="110" name="Rechteck 109">
            <a:extLst>
              <a:ext uri="{FF2B5EF4-FFF2-40B4-BE49-F238E27FC236}">
                <a16:creationId xmlns:a16="http://schemas.microsoft.com/office/drawing/2014/main" id="{D44A6329-6166-3705-D726-2C432C27E23C}"/>
              </a:ext>
            </a:extLst>
          </p:cNvPr>
          <p:cNvSpPr/>
          <p:nvPr/>
        </p:nvSpPr>
        <p:spPr>
          <a:xfrm>
            <a:off x="540000" y="2493000"/>
            <a:ext cx="8496000" cy="8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atements</a:t>
            </a:r>
          </a:p>
        </p:txBody>
      </p:sp>
      <p:sp>
        <p:nvSpPr>
          <p:cNvPr id="109" name="Rechteck 108">
            <a:extLst>
              <a:ext uri="{FF2B5EF4-FFF2-40B4-BE49-F238E27FC236}">
                <a16:creationId xmlns:a16="http://schemas.microsoft.com/office/drawing/2014/main" id="{DB3C8FDB-E3C6-FB58-91FB-D7DC3E7321B0}"/>
              </a:ext>
            </a:extLst>
          </p:cNvPr>
          <p:cNvSpPr/>
          <p:nvPr/>
        </p:nvSpPr>
        <p:spPr>
          <a:xfrm>
            <a:off x="540000" y="2205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Overall Language Structure</a:t>
            </a:r>
          </a:p>
        </p:txBody>
      </p:sp>
      <p:sp>
        <p:nvSpPr>
          <p:cNvPr id="67" name="Rechteck 66">
            <a:extLst>
              <a:ext uri="{FF2B5EF4-FFF2-40B4-BE49-F238E27FC236}">
                <a16:creationId xmlns:a16="http://schemas.microsoft.com/office/drawing/2014/main" id="{86CD42D8-A832-0F15-044B-94B1118AE1AD}"/>
              </a:ext>
            </a:extLst>
          </p:cNvPr>
          <p:cNvSpPr/>
          <p:nvPr/>
        </p:nvSpPr>
        <p:spPr>
          <a:xfrm>
            <a:off x="540000" y="1053000"/>
            <a:ext cx="8496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gram Files Top Level</a:t>
            </a:r>
          </a:p>
        </p:txBody>
      </p:sp>
      <p:sp>
        <p:nvSpPr>
          <p:cNvPr id="92" name="Freihandform: Form 91">
            <a:extLst>
              <a:ext uri="{FF2B5EF4-FFF2-40B4-BE49-F238E27FC236}">
                <a16:creationId xmlns:a16="http://schemas.microsoft.com/office/drawing/2014/main" id="{06608E30-9E97-A796-F463-7905AC8A6696}"/>
              </a:ext>
            </a:extLst>
          </p:cNvPr>
          <p:cNvSpPr/>
          <p:nvPr/>
        </p:nvSpPr>
        <p:spPr>
          <a:xfrm>
            <a:off x="4565739" y="1053000"/>
            <a:ext cx="1596522" cy="1080000"/>
          </a:xfrm>
          <a:custGeom>
            <a:avLst/>
            <a:gdLst>
              <a:gd name="connsiteX0" fmla="*/ 798261 w 1596522"/>
              <a:gd name="connsiteY0" fmla="*/ 0 h 1080000"/>
              <a:gd name="connsiteX1" fmla="*/ 1596522 w 1596522"/>
              <a:gd name="connsiteY1" fmla="*/ 1080000 h 1080000"/>
              <a:gd name="connsiteX2" fmla="*/ 0 w 1596522"/>
              <a:gd name="connsiteY2" fmla="*/ 1080000 h 1080000"/>
              <a:gd name="connsiteX3" fmla="*/ 798261 w 1596522"/>
              <a:gd name="connsiteY3" fmla="*/ 0 h 1080000"/>
            </a:gdLst>
            <a:ahLst/>
            <a:cxnLst>
              <a:cxn ang="0">
                <a:pos x="connsiteX0" y="connsiteY0"/>
              </a:cxn>
              <a:cxn ang="0">
                <a:pos x="connsiteX1" y="connsiteY1"/>
              </a:cxn>
              <a:cxn ang="0">
                <a:pos x="connsiteX2" y="connsiteY2"/>
              </a:cxn>
              <a:cxn ang="0">
                <a:pos x="connsiteX3" y="connsiteY3"/>
              </a:cxn>
            </a:cxnLst>
            <a:rect l="l" t="t" r="r" b="b"/>
            <a:pathLst>
              <a:path w="1596522" h="1080000">
                <a:moveTo>
                  <a:pt x="798261" y="0"/>
                </a:moveTo>
                <a:lnTo>
                  <a:pt x="1596522" y="1080000"/>
                </a:lnTo>
                <a:lnTo>
                  <a:pt x="0" y="1080000"/>
                </a:lnTo>
                <a:lnTo>
                  <a:pt x="798261" y="0"/>
                </a:lnTo>
                <a:close/>
              </a:path>
            </a:pathLst>
          </a:cu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3" name="Freihandform: Form 92">
            <a:extLst>
              <a:ext uri="{FF2B5EF4-FFF2-40B4-BE49-F238E27FC236}">
                <a16:creationId xmlns:a16="http://schemas.microsoft.com/office/drawing/2014/main" id="{45969B6C-B883-EEF5-5AE9-04E4F674B04B}"/>
              </a:ext>
            </a:extLst>
          </p:cNvPr>
          <p:cNvSpPr/>
          <p:nvPr/>
        </p:nvSpPr>
        <p:spPr>
          <a:xfrm>
            <a:off x="4352871" y="2205000"/>
            <a:ext cx="2022261" cy="216000"/>
          </a:xfrm>
          <a:custGeom>
            <a:avLst/>
            <a:gdLst>
              <a:gd name="connsiteX0" fmla="*/ 159652 w 2022261"/>
              <a:gd name="connsiteY0" fmla="*/ 0 h 216000"/>
              <a:gd name="connsiteX1" fmla="*/ 1862609 w 2022261"/>
              <a:gd name="connsiteY1" fmla="*/ 0 h 216000"/>
              <a:gd name="connsiteX2" fmla="*/ 2022261 w 2022261"/>
              <a:gd name="connsiteY2" fmla="*/ 216000 h 216000"/>
              <a:gd name="connsiteX3" fmla="*/ 0 w 2022261"/>
              <a:gd name="connsiteY3" fmla="*/ 216000 h 216000"/>
              <a:gd name="connsiteX4" fmla="*/ 159652 w 2022261"/>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261" h="216000">
                <a:moveTo>
                  <a:pt x="159652" y="0"/>
                </a:moveTo>
                <a:lnTo>
                  <a:pt x="1862609" y="0"/>
                </a:lnTo>
                <a:lnTo>
                  <a:pt x="2022261" y="216000"/>
                </a:lnTo>
                <a:lnTo>
                  <a:pt x="0" y="216000"/>
                </a:lnTo>
                <a:lnTo>
                  <a:pt x="159652" y="0"/>
                </a:lnTo>
                <a:close/>
              </a:path>
            </a:pathLst>
          </a:cu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4" name="Freihandform: Form 93">
            <a:extLst>
              <a:ext uri="{FF2B5EF4-FFF2-40B4-BE49-F238E27FC236}">
                <a16:creationId xmlns:a16="http://schemas.microsoft.com/office/drawing/2014/main" id="{905AEF43-53F4-41A7-E50B-97364AFB32E5}"/>
              </a:ext>
            </a:extLst>
          </p:cNvPr>
          <p:cNvSpPr/>
          <p:nvPr/>
        </p:nvSpPr>
        <p:spPr>
          <a:xfrm>
            <a:off x="3661045" y="2493000"/>
            <a:ext cx="3405913" cy="864000"/>
          </a:xfrm>
          <a:custGeom>
            <a:avLst/>
            <a:gdLst>
              <a:gd name="connsiteX0" fmla="*/ 638608 w 3405913"/>
              <a:gd name="connsiteY0" fmla="*/ 0 h 864000"/>
              <a:gd name="connsiteX1" fmla="*/ 2767304 w 3405913"/>
              <a:gd name="connsiteY1" fmla="*/ 0 h 864000"/>
              <a:gd name="connsiteX2" fmla="*/ 3405913 w 3405913"/>
              <a:gd name="connsiteY2" fmla="*/ 864000 h 864000"/>
              <a:gd name="connsiteX3" fmla="*/ 0 w 3405913"/>
              <a:gd name="connsiteY3" fmla="*/ 864000 h 864000"/>
              <a:gd name="connsiteX4" fmla="*/ 638608 w 3405913"/>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913" h="864000">
                <a:moveTo>
                  <a:pt x="638608" y="0"/>
                </a:moveTo>
                <a:lnTo>
                  <a:pt x="2767304" y="0"/>
                </a:lnTo>
                <a:lnTo>
                  <a:pt x="3405913" y="864000"/>
                </a:lnTo>
                <a:lnTo>
                  <a:pt x="0" y="864000"/>
                </a:lnTo>
                <a:lnTo>
                  <a:pt x="638608" y="0"/>
                </a:lnTo>
                <a:close/>
              </a:path>
            </a:pathLst>
          </a:cu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9" name="Freihandform: Form 98">
            <a:extLst>
              <a:ext uri="{FF2B5EF4-FFF2-40B4-BE49-F238E27FC236}">
                <a16:creationId xmlns:a16="http://schemas.microsoft.com/office/drawing/2014/main" id="{0277A99F-E234-858C-C106-9981BC1B9834}"/>
              </a:ext>
            </a:extLst>
          </p:cNvPr>
          <p:cNvSpPr/>
          <p:nvPr/>
        </p:nvSpPr>
        <p:spPr>
          <a:xfrm>
            <a:off x="3448174" y="3429000"/>
            <a:ext cx="3831652" cy="216000"/>
          </a:xfrm>
          <a:custGeom>
            <a:avLst/>
            <a:gdLst>
              <a:gd name="connsiteX0" fmla="*/ 159652 w 3831652"/>
              <a:gd name="connsiteY0" fmla="*/ 0 h 216000"/>
              <a:gd name="connsiteX1" fmla="*/ 3672000 w 3831652"/>
              <a:gd name="connsiteY1" fmla="*/ 0 h 216000"/>
              <a:gd name="connsiteX2" fmla="*/ 3831652 w 3831652"/>
              <a:gd name="connsiteY2" fmla="*/ 216000 h 216000"/>
              <a:gd name="connsiteX3" fmla="*/ 0 w 3831652"/>
              <a:gd name="connsiteY3" fmla="*/ 216000 h 216000"/>
              <a:gd name="connsiteX4" fmla="*/ 159652 w 3831652"/>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652" h="216000">
                <a:moveTo>
                  <a:pt x="159652" y="0"/>
                </a:moveTo>
                <a:lnTo>
                  <a:pt x="3672000" y="0"/>
                </a:lnTo>
                <a:lnTo>
                  <a:pt x="3831652" y="216000"/>
                </a:lnTo>
                <a:lnTo>
                  <a:pt x="0" y="216000"/>
                </a:lnTo>
                <a:lnTo>
                  <a:pt x="159652" y="0"/>
                </a:lnTo>
                <a:close/>
              </a:path>
            </a:pathLst>
          </a:cu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5" name="Freihandform: Form 104">
            <a:extLst>
              <a:ext uri="{FF2B5EF4-FFF2-40B4-BE49-F238E27FC236}">
                <a16:creationId xmlns:a16="http://schemas.microsoft.com/office/drawing/2014/main" id="{5FEDA82D-E059-2486-4A0A-1928FD255166}"/>
              </a:ext>
            </a:extLst>
          </p:cNvPr>
          <p:cNvSpPr/>
          <p:nvPr/>
        </p:nvSpPr>
        <p:spPr>
          <a:xfrm>
            <a:off x="3075652" y="3717000"/>
            <a:ext cx="4576696" cy="432000"/>
          </a:xfrm>
          <a:custGeom>
            <a:avLst/>
            <a:gdLst>
              <a:gd name="connsiteX0" fmla="*/ 319305 w 4576696"/>
              <a:gd name="connsiteY0" fmla="*/ 0 h 432000"/>
              <a:gd name="connsiteX1" fmla="*/ 4257392 w 4576696"/>
              <a:gd name="connsiteY1" fmla="*/ 0 h 432000"/>
              <a:gd name="connsiteX2" fmla="*/ 4576696 w 4576696"/>
              <a:gd name="connsiteY2" fmla="*/ 432000 h 432000"/>
              <a:gd name="connsiteX3" fmla="*/ 0 w 4576696"/>
              <a:gd name="connsiteY3" fmla="*/ 432000 h 432000"/>
              <a:gd name="connsiteX4" fmla="*/ 319305 w 457669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96" h="432000">
                <a:moveTo>
                  <a:pt x="319305" y="0"/>
                </a:moveTo>
                <a:lnTo>
                  <a:pt x="4257392" y="0"/>
                </a:lnTo>
                <a:lnTo>
                  <a:pt x="4576696" y="432000"/>
                </a:lnTo>
                <a:lnTo>
                  <a:pt x="0" y="432000"/>
                </a:lnTo>
                <a:lnTo>
                  <a:pt x="319305" y="0"/>
                </a:lnTo>
                <a:close/>
              </a:path>
            </a:pathLst>
          </a:custGeom>
          <a:solidFill>
            <a:srgbClr val="99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6" name="Freihandform: Form 105">
            <a:extLst>
              <a:ext uri="{FF2B5EF4-FFF2-40B4-BE49-F238E27FC236}">
                <a16:creationId xmlns:a16="http://schemas.microsoft.com/office/drawing/2014/main" id="{EB043E99-06BA-E495-CFA6-23979C18DD55}"/>
              </a:ext>
            </a:extLst>
          </p:cNvPr>
          <p:cNvSpPr/>
          <p:nvPr/>
        </p:nvSpPr>
        <p:spPr>
          <a:xfrm>
            <a:off x="2703132" y="4221000"/>
            <a:ext cx="5321739" cy="432000"/>
          </a:xfrm>
          <a:custGeom>
            <a:avLst/>
            <a:gdLst>
              <a:gd name="connsiteX0" fmla="*/ 319304 w 5321739"/>
              <a:gd name="connsiteY0" fmla="*/ 0 h 432000"/>
              <a:gd name="connsiteX1" fmla="*/ 5002434 w 5321739"/>
              <a:gd name="connsiteY1" fmla="*/ 0 h 432000"/>
              <a:gd name="connsiteX2" fmla="*/ 5321739 w 5321739"/>
              <a:gd name="connsiteY2" fmla="*/ 432000 h 432000"/>
              <a:gd name="connsiteX3" fmla="*/ 0 w 5321739"/>
              <a:gd name="connsiteY3" fmla="*/ 432000 h 432000"/>
              <a:gd name="connsiteX4" fmla="*/ 319304 w 5321739"/>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1739" h="432000">
                <a:moveTo>
                  <a:pt x="319304" y="0"/>
                </a:moveTo>
                <a:lnTo>
                  <a:pt x="5002434" y="0"/>
                </a:lnTo>
                <a:lnTo>
                  <a:pt x="5321739" y="432000"/>
                </a:lnTo>
                <a:lnTo>
                  <a:pt x="0" y="432000"/>
                </a:lnTo>
                <a:lnTo>
                  <a:pt x="319304" y="0"/>
                </a:lnTo>
                <a:close/>
              </a:path>
            </a:pathLst>
          </a:custGeom>
          <a:solidFill>
            <a:srgbClr val="69B4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3" name="Freihandform: Form 112">
            <a:extLst>
              <a:ext uri="{FF2B5EF4-FFF2-40B4-BE49-F238E27FC236}">
                <a16:creationId xmlns:a16="http://schemas.microsoft.com/office/drawing/2014/main" id="{8AB72EEF-CCB3-E25E-A329-62D6074CCAE6}"/>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4" name="Freihandform: Form 113">
            <a:extLst>
              <a:ext uri="{FF2B5EF4-FFF2-40B4-BE49-F238E27FC236}">
                <a16:creationId xmlns:a16="http://schemas.microsoft.com/office/drawing/2014/main" id="{1B56D25B-C46F-7C47-A798-2FED2B85BF9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BE7E07B-F764-EFAF-C804-43554DE474A4}"/>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a:extLst>
              <a:ext uri="{FF2B5EF4-FFF2-40B4-BE49-F238E27FC236}">
                <a16:creationId xmlns:a16="http://schemas.microsoft.com/office/drawing/2014/main" id="{3A867A6E-6C07-CD63-4364-C0FD1ADDD0EF}"/>
              </a:ext>
            </a:extLst>
          </p:cNvPr>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a:t>
            </a:r>
            <a:br>
              <a:rPr lang="en-US" dirty="0"/>
            </a:br>
            <a:endParaRPr lang="en-US" dirty="0"/>
          </a:p>
        </p:txBody>
      </p:sp>
      <p:sp>
        <p:nvSpPr>
          <p:cNvPr id="4" name="Rechteck 3">
            <a:extLst>
              <a:ext uri="{FF2B5EF4-FFF2-40B4-BE49-F238E27FC236}">
                <a16:creationId xmlns:a16="http://schemas.microsoft.com/office/drawing/2014/main" id="{5EEF2D36-20BD-5D97-A110-25463D27F2F8}"/>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Rechteck 62">
            <a:extLst>
              <a:ext uri="{FF2B5EF4-FFF2-40B4-BE49-F238E27FC236}">
                <a16:creationId xmlns:a16="http://schemas.microsoft.com/office/drawing/2014/main" id="{D524FC9F-61F7-4E8A-8AC7-3427BB553380}"/>
              </a:ext>
            </a:extLst>
          </p:cNvPr>
          <p:cNvSpPr/>
          <p:nvPr/>
        </p:nvSpPr>
        <p:spPr>
          <a:xfrm>
            <a:off x="1908000" y="242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Rechteck 63">
            <a:extLst>
              <a:ext uri="{FF2B5EF4-FFF2-40B4-BE49-F238E27FC236}">
                <a16:creationId xmlns:a16="http://schemas.microsoft.com/office/drawing/2014/main" id="{81B3A67B-59E4-BDE9-6271-344A6D6B510B}"/>
              </a:ext>
            </a:extLst>
          </p:cNvPr>
          <p:cNvSpPr/>
          <p:nvPr/>
        </p:nvSpPr>
        <p:spPr>
          <a:xfrm>
            <a:off x="1908000" y="213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53F6781A-3313-4C0D-50FC-9C807C60D69E}"/>
              </a:ext>
            </a:extLst>
          </p:cNvPr>
          <p:cNvSpPr/>
          <p:nvPr/>
        </p:nvSpPr>
        <p:spPr>
          <a:xfrm>
            <a:off x="4860000" y="13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4P</a:t>
            </a:r>
          </a:p>
          <a:p>
            <a:pPr algn="ctr">
              <a:lnSpc>
                <a:spcPct val="90000"/>
              </a:lnSpc>
            </a:pPr>
            <a:r>
              <a:rPr lang="en-US" sz="1200" dirty="0">
                <a:solidFill>
                  <a:schemeClr val="tx1"/>
                </a:solidFill>
              </a:rPr>
              <a:t>Programs</a:t>
            </a:r>
          </a:p>
        </p:txBody>
      </p:sp>
      <p:sp>
        <p:nvSpPr>
          <p:cNvPr id="69" name="Rechteck 68">
            <a:extLst>
              <a:ext uri="{FF2B5EF4-FFF2-40B4-BE49-F238E27FC236}">
                <a16:creationId xmlns:a16="http://schemas.microsoft.com/office/drawing/2014/main" id="{80793A8B-5766-47E8-FC4E-5CE3C890EA84}"/>
              </a:ext>
            </a:extLst>
          </p:cNvPr>
          <p:cNvSpPr/>
          <p:nvPr/>
        </p:nvSpPr>
        <p:spPr>
          <a:xfrm>
            <a:off x="4572000" y="1845000"/>
            <a:ext cx="15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Libraries</a:t>
            </a:r>
          </a:p>
        </p:txBody>
      </p:sp>
      <p:sp>
        <p:nvSpPr>
          <p:cNvPr id="70" name="Rechteck 69">
            <a:extLst>
              <a:ext uri="{FF2B5EF4-FFF2-40B4-BE49-F238E27FC236}">
                <a16:creationId xmlns:a16="http://schemas.microsoft.com/office/drawing/2014/main" id="{D2B38E35-E441-F1DC-7D98-1F042B93F28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944207A2-E470-B402-9B44-8AC3BF991AE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BFF8134-4DD1-8C09-5AF3-63478184B01E}"/>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1104DA3E-C9B1-B81D-8017-078B2F733D32}"/>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E22F9440-E5F4-C801-E9C4-9726400EE15E}"/>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75" name="Rechteck 74">
            <a:extLst>
              <a:ext uri="{FF2B5EF4-FFF2-40B4-BE49-F238E27FC236}">
                <a16:creationId xmlns:a16="http://schemas.microsoft.com/office/drawing/2014/main" id="{B0B6AFBF-25E3-AD28-B361-B282DD774D1C}"/>
              </a:ext>
            </a:extLst>
          </p:cNvPr>
          <p:cNvSpPr/>
          <p:nvPr/>
        </p:nvSpPr>
        <p:spPr>
          <a:xfrm>
            <a:off x="4212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locks</a:t>
            </a:r>
          </a:p>
        </p:txBody>
      </p:sp>
      <p:sp>
        <p:nvSpPr>
          <p:cNvPr id="76" name="Rechteck 75">
            <a:extLst>
              <a:ext uri="{FF2B5EF4-FFF2-40B4-BE49-F238E27FC236}">
                <a16:creationId xmlns:a16="http://schemas.microsoft.com/office/drawing/2014/main" id="{49895825-F4D4-2CDA-B58E-426412CF13D6}"/>
              </a:ext>
            </a:extLst>
          </p:cNvPr>
          <p:cNvSpPr/>
          <p:nvPr/>
        </p:nvSpPr>
        <p:spPr>
          <a:xfrm>
            <a:off x="5220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tements</a:t>
            </a:r>
          </a:p>
        </p:txBody>
      </p:sp>
      <p:sp>
        <p:nvSpPr>
          <p:cNvPr id="77" name="Rechteck 76">
            <a:extLst>
              <a:ext uri="{FF2B5EF4-FFF2-40B4-BE49-F238E27FC236}">
                <a16:creationId xmlns:a16="http://schemas.microsoft.com/office/drawing/2014/main" id="{02014774-F267-E364-63E5-FD2BBF5E78E2}"/>
              </a:ext>
            </a:extLst>
          </p:cNvPr>
          <p:cNvSpPr/>
          <p:nvPr/>
        </p:nvSpPr>
        <p:spPr>
          <a:xfrm>
            <a:off x="4068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rocedure Calls</a:t>
            </a:r>
          </a:p>
        </p:txBody>
      </p:sp>
      <p:sp>
        <p:nvSpPr>
          <p:cNvPr id="78" name="Rechteck 77">
            <a:extLst>
              <a:ext uri="{FF2B5EF4-FFF2-40B4-BE49-F238E27FC236}">
                <a16:creationId xmlns:a16="http://schemas.microsoft.com/office/drawing/2014/main" id="{5C4E8186-7556-C418-9816-CCF774209D2F}"/>
              </a:ext>
            </a:extLst>
          </p:cNvPr>
          <p:cNvSpPr/>
          <p:nvPr/>
        </p:nvSpPr>
        <p:spPr>
          <a:xfrm>
            <a:off x="3996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ntrol Flow</a:t>
            </a:r>
          </a:p>
        </p:txBody>
      </p:sp>
      <p:sp>
        <p:nvSpPr>
          <p:cNvPr id="79" name="Rechteck 78">
            <a:extLst>
              <a:ext uri="{FF2B5EF4-FFF2-40B4-BE49-F238E27FC236}">
                <a16:creationId xmlns:a16="http://schemas.microsoft.com/office/drawing/2014/main" id="{412FAA4A-3657-7FD0-C8F1-B6474E380313}"/>
              </a:ext>
            </a:extLst>
          </p:cNvPr>
          <p:cNvSpPr/>
          <p:nvPr/>
        </p:nvSpPr>
        <p:spPr>
          <a:xfrm>
            <a:off x="5364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ssignments</a:t>
            </a:r>
          </a:p>
        </p:txBody>
      </p:sp>
      <p:sp>
        <p:nvSpPr>
          <p:cNvPr id="81" name="Rechteck 80">
            <a:extLst>
              <a:ext uri="{FF2B5EF4-FFF2-40B4-BE49-F238E27FC236}">
                <a16:creationId xmlns:a16="http://schemas.microsoft.com/office/drawing/2014/main" id="{5854C3F2-B62E-C19D-0FC9-11EF47A1997D}"/>
              </a:ext>
            </a:extLst>
          </p:cNvPr>
          <p:cNvSpPr/>
          <p:nvPr/>
        </p:nvSpPr>
        <p:spPr>
          <a:xfrm>
            <a:off x="5724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ransactions</a:t>
            </a:r>
          </a:p>
        </p:txBody>
      </p:sp>
      <p:sp>
        <p:nvSpPr>
          <p:cNvPr id="87" name="Rechteck 86">
            <a:extLst>
              <a:ext uri="{FF2B5EF4-FFF2-40B4-BE49-F238E27FC236}">
                <a16:creationId xmlns:a16="http://schemas.microsoft.com/office/drawing/2014/main" id="{B912BC10-5EA7-4FB5-96D2-6F359AEDA794}"/>
              </a:ext>
            </a:extLst>
          </p:cNvPr>
          <p:cNvSpPr/>
          <p:nvPr/>
        </p:nvSpPr>
        <p:spPr>
          <a:xfrm>
            <a:off x="4644000" y="422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Calls</a:t>
            </a:r>
          </a:p>
        </p:txBody>
      </p:sp>
      <p:sp>
        <p:nvSpPr>
          <p:cNvPr id="88" name="Rechteck 87">
            <a:extLst>
              <a:ext uri="{FF2B5EF4-FFF2-40B4-BE49-F238E27FC236}">
                <a16:creationId xmlns:a16="http://schemas.microsoft.com/office/drawing/2014/main" id="{1E83DEEA-B996-B5CD-F3BB-261AF9FAD662}"/>
              </a:ext>
            </a:extLst>
          </p:cNvPr>
          <p:cNvSpPr/>
          <p:nvPr/>
        </p:nvSpPr>
        <p:spPr>
          <a:xfrm>
            <a:off x="3132000" y="4437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Parameters</a:t>
            </a:r>
          </a:p>
        </p:txBody>
      </p:sp>
      <p:sp>
        <p:nvSpPr>
          <p:cNvPr id="89" name="Rechteck 88">
            <a:extLst>
              <a:ext uri="{FF2B5EF4-FFF2-40B4-BE49-F238E27FC236}">
                <a16:creationId xmlns:a16="http://schemas.microsoft.com/office/drawing/2014/main" id="{64C3C9C6-1E50-C686-ED45-B82E1CA45BE7}"/>
              </a:ext>
            </a:extLst>
          </p:cNvPr>
          <p:cNvSpPr/>
          <p:nvPr/>
        </p:nvSpPr>
        <p:spPr>
          <a:xfrm>
            <a:off x="1908000" y="414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5117B30A-FB95-6071-B5EB-EFA4CA85FE70}"/>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91" name="Rechteck 90">
            <a:extLst>
              <a:ext uri="{FF2B5EF4-FFF2-40B4-BE49-F238E27FC236}">
                <a16:creationId xmlns:a16="http://schemas.microsoft.com/office/drawing/2014/main" id="{111DB993-21AD-ABF3-B3C8-5B98FD0C2140}"/>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95" name="Rechteck 94">
            <a:extLst>
              <a:ext uri="{FF2B5EF4-FFF2-40B4-BE49-F238E27FC236}">
                <a16:creationId xmlns:a16="http://schemas.microsoft.com/office/drawing/2014/main" id="{55986CD7-FD5D-C50B-A213-B9F14B7D3A88}"/>
              </a:ext>
            </a:extLst>
          </p:cNvPr>
          <p:cNvSpPr/>
          <p:nvPr/>
        </p:nvSpPr>
        <p:spPr>
          <a:xfrm>
            <a:off x="6156000" y="443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de Fragments</a:t>
            </a:r>
          </a:p>
        </p:txBody>
      </p:sp>
      <p:sp>
        <p:nvSpPr>
          <p:cNvPr id="96" name="Rechteck 95">
            <a:extLst>
              <a:ext uri="{FF2B5EF4-FFF2-40B4-BE49-F238E27FC236}">
                <a16:creationId xmlns:a16="http://schemas.microsoft.com/office/drawing/2014/main" id="{F64AF369-3AF5-FC42-7E09-0778A5276EA2}"/>
              </a:ext>
            </a:extLst>
          </p:cNvPr>
          <p:cNvSpPr/>
          <p:nvPr/>
        </p:nvSpPr>
        <p:spPr>
          <a:xfrm>
            <a:off x="1908000" y="51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0E0FB309-0663-0BE9-74E3-874706DC6375}"/>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98" name="Rechteck 97">
            <a:extLst>
              <a:ext uri="{FF2B5EF4-FFF2-40B4-BE49-F238E27FC236}">
                <a16:creationId xmlns:a16="http://schemas.microsoft.com/office/drawing/2014/main" id="{6E1D242A-0889-6DDB-90C1-5EC0685F48F8}"/>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00" name="Rechteck 99">
            <a:extLst>
              <a:ext uri="{FF2B5EF4-FFF2-40B4-BE49-F238E27FC236}">
                <a16:creationId xmlns:a16="http://schemas.microsoft.com/office/drawing/2014/main" id="{77EE13B6-9A64-F145-BFD3-E95E199B9DBF}"/>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01" name="Rechteck 100">
            <a:extLst>
              <a:ext uri="{FF2B5EF4-FFF2-40B4-BE49-F238E27FC236}">
                <a16:creationId xmlns:a16="http://schemas.microsoft.com/office/drawing/2014/main" id="{B4C39EDE-438E-566B-BE65-25FB184C82F0}"/>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02" name="Rechteck 101">
            <a:extLst>
              <a:ext uri="{FF2B5EF4-FFF2-40B4-BE49-F238E27FC236}">
                <a16:creationId xmlns:a16="http://schemas.microsoft.com/office/drawing/2014/main" id="{A3AC6C88-945E-105E-29D5-8074BB226B44}"/>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03" name="Rechteck 102">
            <a:extLst>
              <a:ext uri="{FF2B5EF4-FFF2-40B4-BE49-F238E27FC236}">
                <a16:creationId xmlns:a16="http://schemas.microsoft.com/office/drawing/2014/main" id="{5BA047A1-3B8C-F064-99E3-4CAD4F230431}"/>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12" name="Rechteck 111">
            <a:extLst>
              <a:ext uri="{FF2B5EF4-FFF2-40B4-BE49-F238E27FC236}">
                <a16:creationId xmlns:a16="http://schemas.microsoft.com/office/drawing/2014/main" id="{849C5EAB-91D5-CD43-DC60-6FDB3E07282A}"/>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115" name="Rechteck 114">
            <a:extLst>
              <a:ext uri="{FF2B5EF4-FFF2-40B4-BE49-F238E27FC236}">
                <a16:creationId xmlns:a16="http://schemas.microsoft.com/office/drawing/2014/main" id="{C63589F4-EAB6-6922-E181-9350A121CB0D}"/>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80" name="Rechteck 79">
            <a:extLst>
              <a:ext uri="{FF2B5EF4-FFF2-40B4-BE49-F238E27FC236}">
                <a16:creationId xmlns:a16="http://schemas.microsoft.com/office/drawing/2014/main" id="{0FEE42B4-C385-E22E-C800-7C71CECE4677}"/>
              </a:ext>
            </a:extLst>
          </p:cNvPr>
          <p:cNvSpPr/>
          <p:nvPr/>
        </p:nvSpPr>
        <p:spPr>
          <a:xfrm>
            <a:off x="4932000" y="2997000"/>
            <a:ext cx="86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ndalone</a:t>
            </a:r>
          </a:p>
          <a:p>
            <a:pPr algn="ctr">
              <a:lnSpc>
                <a:spcPct val="90000"/>
              </a:lnSpc>
            </a:pPr>
            <a:r>
              <a:rPr lang="en-US" sz="1200" dirty="0">
                <a:solidFill>
                  <a:schemeClr val="tx1"/>
                </a:solidFill>
              </a:rPr>
              <a:t>Ad-hoc Operations</a:t>
            </a:r>
          </a:p>
        </p:txBody>
      </p:sp>
      <p:sp>
        <p:nvSpPr>
          <p:cNvPr id="85" name="Rechteck 84">
            <a:extLst>
              <a:ext uri="{FF2B5EF4-FFF2-40B4-BE49-F238E27FC236}">
                <a16:creationId xmlns:a16="http://schemas.microsoft.com/office/drawing/2014/main" id="{6556F1EB-B6BB-FE3D-93AE-3977000FE53D}"/>
              </a:ext>
            </a:extLst>
          </p:cNvPr>
          <p:cNvSpPr/>
          <p:nvPr/>
        </p:nvSpPr>
        <p:spPr>
          <a:xfrm>
            <a:off x="3708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LHS Expressions *</a:t>
            </a:r>
          </a:p>
        </p:txBody>
      </p:sp>
      <p:sp>
        <p:nvSpPr>
          <p:cNvPr id="86" name="Rechteck 85">
            <a:extLst>
              <a:ext uri="{FF2B5EF4-FFF2-40B4-BE49-F238E27FC236}">
                <a16:creationId xmlns:a16="http://schemas.microsoft.com/office/drawing/2014/main" id="{0B502EF2-1C55-9FB9-F90C-993AE66C1F96}"/>
              </a:ext>
            </a:extLst>
          </p:cNvPr>
          <p:cNvSpPr/>
          <p:nvPr/>
        </p:nvSpPr>
        <p:spPr>
          <a:xfrm>
            <a:off x="5580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RHS Expressions *</a:t>
            </a:r>
          </a:p>
        </p:txBody>
      </p:sp>
      <p:sp>
        <p:nvSpPr>
          <p:cNvPr id="122" name="Rechteck 121">
            <a:extLst>
              <a:ext uri="{FF2B5EF4-FFF2-40B4-BE49-F238E27FC236}">
                <a16:creationId xmlns:a16="http://schemas.microsoft.com/office/drawing/2014/main" id="{3AC8082D-31C7-51AC-B6BB-5F848C96814C}"/>
              </a:ext>
            </a:extLst>
          </p:cNvPr>
          <p:cNvSpPr/>
          <p:nvPr/>
        </p:nvSpPr>
        <p:spPr>
          <a:xfrm>
            <a:off x="1908000" y="33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033512BD-1F92-5440-5D86-13360552EC1D}"/>
              </a:ext>
            </a:extLst>
          </p:cNvPr>
          <p:cNvSpPr/>
          <p:nvPr/>
        </p:nvSpPr>
        <p:spPr>
          <a:xfrm>
            <a:off x="1908000" y="36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601D508D-5A4C-415C-FAD3-79BD62EFE932}"/>
              </a:ext>
            </a:extLst>
          </p:cNvPr>
          <p:cNvSpPr/>
          <p:nvPr/>
        </p:nvSpPr>
        <p:spPr>
          <a:xfrm>
            <a:off x="1980000" y="465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Rechteck 57">
            <a:extLst>
              <a:ext uri="{FF2B5EF4-FFF2-40B4-BE49-F238E27FC236}">
                <a16:creationId xmlns:a16="http://schemas.microsoft.com/office/drawing/2014/main" id="{98EBB909-9A8E-6BA2-FCA8-8FB71F773BF8}"/>
              </a:ext>
            </a:extLst>
          </p:cNvPr>
          <p:cNvSpPr/>
          <p:nvPr/>
        </p:nvSpPr>
        <p:spPr>
          <a:xfrm>
            <a:off x="6372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entheses</a:t>
            </a:r>
          </a:p>
        </p:txBody>
      </p:sp>
      <p:sp>
        <p:nvSpPr>
          <p:cNvPr id="59" name="Rechteck 58">
            <a:extLst>
              <a:ext uri="{FF2B5EF4-FFF2-40B4-BE49-F238E27FC236}">
                <a16:creationId xmlns:a16="http://schemas.microsoft.com/office/drawing/2014/main" id="{7C83E635-E09E-DDA2-BC05-F8AEFF9CF012}"/>
              </a:ext>
            </a:extLst>
          </p:cNvPr>
          <p:cNvSpPr/>
          <p:nvPr/>
        </p:nvSpPr>
        <p:spPr>
          <a:xfrm>
            <a:off x="3348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parisons</a:t>
            </a:r>
          </a:p>
        </p:txBody>
      </p:sp>
      <p:sp>
        <p:nvSpPr>
          <p:cNvPr id="60" name="Rechteck 59">
            <a:extLst>
              <a:ext uri="{FF2B5EF4-FFF2-40B4-BE49-F238E27FC236}">
                <a16:creationId xmlns:a16="http://schemas.microsoft.com/office/drawing/2014/main" id="{48734424-46A2-D8D6-D939-988208BC2B1D}"/>
              </a:ext>
            </a:extLst>
          </p:cNvPr>
          <p:cNvSpPr/>
          <p:nvPr/>
        </p:nvSpPr>
        <p:spPr>
          <a:xfrm>
            <a:off x="4860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Operations</a:t>
            </a:r>
          </a:p>
        </p:txBody>
      </p:sp>
      <p:sp>
        <p:nvSpPr>
          <p:cNvPr id="61" name="Rechteck 60">
            <a:extLst>
              <a:ext uri="{FF2B5EF4-FFF2-40B4-BE49-F238E27FC236}">
                <a16:creationId xmlns:a16="http://schemas.microsoft.com/office/drawing/2014/main" id="{1BDD4ADB-706E-CF73-A5EA-0C8B58FA650A}"/>
              </a:ext>
            </a:extLst>
          </p:cNvPr>
          <p:cNvSpPr/>
          <p:nvPr/>
        </p:nvSpPr>
        <p:spPr>
          <a:xfrm>
            <a:off x="4068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Unary</a:t>
            </a:r>
          </a:p>
        </p:txBody>
      </p:sp>
      <p:sp>
        <p:nvSpPr>
          <p:cNvPr id="62" name="Rechteck 61">
            <a:extLst>
              <a:ext uri="{FF2B5EF4-FFF2-40B4-BE49-F238E27FC236}">
                <a16:creationId xmlns:a16="http://schemas.microsoft.com/office/drawing/2014/main" id="{E5F6B530-8C85-3660-7EEE-8C0EE2AB7846}"/>
              </a:ext>
            </a:extLst>
          </p:cNvPr>
          <p:cNvSpPr/>
          <p:nvPr/>
        </p:nvSpPr>
        <p:spPr>
          <a:xfrm>
            <a:off x="486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inary</a:t>
            </a:r>
          </a:p>
        </p:txBody>
      </p:sp>
      <p:sp>
        <p:nvSpPr>
          <p:cNvPr id="82" name="Rechteck 81">
            <a:extLst>
              <a:ext uri="{FF2B5EF4-FFF2-40B4-BE49-F238E27FC236}">
                <a16:creationId xmlns:a16="http://schemas.microsoft.com/office/drawing/2014/main" id="{8B695095-5A26-85F4-3E65-B1526E0D4F5A}"/>
              </a:ext>
            </a:extLst>
          </p:cNvPr>
          <p:cNvSpPr/>
          <p:nvPr/>
        </p:nvSpPr>
        <p:spPr>
          <a:xfrm>
            <a:off x="558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d-hoc</a:t>
            </a:r>
          </a:p>
        </p:txBody>
      </p:sp>
      <p:cxnSp>
        <p:nvCxnSpPr>
          <p:cNvPr id="83" name="Gerader Verbinder 82">
            <a:extLst>
              <a:ext uri="{FF2B5EF4-FFF2-40B4-BE49-F238E27FC236}">
                <a16:creationId xmlns:a16="http://schemas.microsoft.com/office/drawing/2014/main" id="{B4181930-AF90-7055-D2D6-81B8C40C6D18}"/>
              </a:ext>
            </a:extLst>
          </p:cNvPr>
          <p:cNvCxnSpPr/>
          <p:nvPr/>
        </p:nvCxnSpPr>
        <p:spPr>
          <a:xfrm>
            <a:off x="4356000" y="3933000"/>
            <a:ext cx="201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FF38249E-0218-76FD-3426-DD47C17FF3F6}"/>
              </a:ext>
            </a:extLst>
          </p:cNvPr>
          <p:cNvCxnSpPr>
            <a:cxnSpLocks/>
          </p:cNvCxnSpPr>
          <p:nvPr/>
        </p:nvCxnSpPr>
        <p:spPr>
          <a:xfrm>
            <a:off x="5436000" y="4941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hteck 116">
            <a:extLst>
              <a:ext uri="{FF2B5EF4-FFF2-40B4-BE49-F238E27FC236}">
                <a16:creationId xmlns:a16="http://schemas.microsoft.com/office/drawing/2014/main" id="{1D695CE2-5B93-364F-F04F-E3811FD4BED5}"/>
              </a:ext>
            </a:extLst>
          </p:cNvPr>
          <p:cNvSpPr/>
          <p:nvPr/>
        </p:nvSpPr>
        <p:spPr>
          <a:xfrm>
            <a:off x="540000" y="6093000"/>
            <a:ext cx="44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200" dirty="0">
                <a:solidFill>
                  <a:schemeClr val="tx1"/>
                </a:solidFill>
              </a:rPr>
              <a:t>*  </a:t>
            </a:r>
            <a:r>
              <a:rPr lang="en-US" sz="1200" b="1" dirty="0">
                <a:solidFill>
                  <a:schemeClr val="tx1"/>
                </a:solidFill>
              </a:rPr>
              <a:t>LHS</a:t>
            </a:r>
            <a:r>
              <a:rPr lang="en-US" sz="1200" dirty="0">
                <a:solidFill>
                  <a:schemeClr val="tx1"/>
                </a:solidFill>
              </a:rPr>
              <a:t> = Left-Hand Side, </a:t>
            </a:r>
            <a:r>
              <a:rPr lang="en-US" sz="1200" b="1" dirty="0">
                <a:solidFill>
                  <a:schemeClr val="tx1"/>
                </a:solidFill>
              </a:rPr>
              <a:t>RHS</a:t>
            </a:r>
            <a:r>
              <a:rPr lang="en-US" sz="1200" dirty="0">
                <a:solidFill>
                  <a:schemeClr val="tx1"/>
                </a:solidFill>
              </a:rPr>
              <a:t> = Right-Hand Side (both in relation to assignment </a:t>
            </a:r>
            <a:r>
              <a:rPr lang="en-US" sz="1200">
                <a:solidFill>
                  <a:schemeClr val="tx1"/>
                </a:solidFill>
              </a:rPr>
              <a:t>symbols such as </a:t>
            </a:r>
            <a:r>
              <a:rPr lang="en-US" sz="1200" dirty="0">
                <a:solidFill>
                  <a:schemeClr val="tx1"/>
                </a:solidFill>
              </a:rPr>
              <a:t>‘</a:t>
            </a:r>
            <a:r>
              <a:rPr lang="en-US" sz="1200" b="1" dirty="0">
                <a:solidFill>
                  <a:srgbClr val="0000FF"/>
                </a:solidFill>
              </a:rPr>
              <a:t>=</a:t>
            </a:r>
            <a:r>
              <a:rPr lang="en-US" sz="1200" dirty="0">
                <a:solidFill>
                  <a:schemeClr val="tx1"/>
                </a:solidFill>
              </a:rPr>
              <a:t>‘</a:t>
            </a:r>
          </a:p>
        </p:txBody>
      </p:sp>
    </p:spTree>
    <p:extLst>
      <p:ext uri="{BB962C8B-B14F-4D97-AF65-F5344CB8AC3E}">
        <p14:creationId xmlns:p14="http://schemas.microsoft.com/office/powerpoint/2010/main" val="26716525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mnJ.u6_7UWDtaYNqA0T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heme/theme1.xml><?xml version="1.0" encoding="utf-8"?>
<a:theme xmlns:a="http://schemas.openxmlformats.org/drawingml/2006/main" name="Neutrale Formatvorlage">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wrap="none" lIns="36000" tIns="36000" rIns="36000" bIns="36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utrale Formatvorlage</Template>
  <TotalTime>72</TotalTime>
  <Words>15406</Words>
  <Application>Microsoft Macintosh PowerPoint</Application>
  <PresentationFormat>On-screen Show (4:3)</PresentationFormat>
  <Paragraphs>3854</Paragraphs>
  <Slides>86</Slides>
  <Notes>5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6</vt:i4>
      </vt:variant>
    </vt:vector>
  </HeadingPairs>
  <TitlesOfParts>
    <vt:vector size="93" baseType="lpstr">
      <vt:lpstr>Arial</vt:lpstr>
      <vt:lpstr>Arial Black</vt:lpstr>
      <vt:lpstr>Calibri</vt:lpstr>
      <vt:lpstr>Courier New</vt:lpstr>
      <vt:lpstr>Wingdings</vt:lpstr>
      <vt:lpstr>Neutrale Formatvorlage</vt:lpstr>
      <vt:lpstr>think-cell Slide</vt:lpstr>
      <vt:lpstr>Introduction Overview</vt:lpstr>
      <vt:lpstr>Introduction Problem Statement</vt:lpstr>
      <vt:lpstr>Introduction Problem Statement</vt:lpstr>
      <vt:lpstr>Introduction Problem Statement</vt:lpstr>
      <vt:lpstr>Introduction Workflow Overview</vt:lpstr>
      <vt:lpstr>Start-up Behavior Introduction</vt:lpstr>
      <vt:lpstr>Variable Model Introduction</vt:lpstr>
      <vt:lpstr>Functions Overview LAN_Pyramid_Basics.png </vt:lpstr>
      <vt:lpstr>Functions Overview LAN_Pyramid_Basics.png </vt:lpstr>
      <vt:lpstr>Functions Overview LAN_Pyramid_Basics.png, LAN_Pyramid_Basic_Types.png </vt:lpstr>
      <vt:lpstr>Functions Overview LAN_Top_Level.png </vt:lpstr>
      <vt:lpstr>Functions Overview LAN_Statements.png  </vt:lpstr>
      <vt:lpstr>Functions Overview LAN_Assignments.png </vt:lpstr>
      <vt:lpstr>Tables LAN_Tables.png </vt:lpstr>
      <vt:lpstr>Tables LAN_Variables.png </vt:lpstr>
      <vt:lpstr>Functions Overview </vt:lpstr>
      <vt:lpstr>Variable Model Introduction</vt:lpstr>
      <vt:lpstr>Transactions Without Assignment Operator</vt:lpstr>
      <vt:lpstr>Transactions AND Assignment Operator</vt:lpstr>
      <vt:lpstr>Transactions OR Assignment Operator</vt:lpstr>
      <vt:lpstr>Transactions ADD Assignment Operator</vt:lpstr>
      <vt:lpstr>References to Variables Example 1 and 2</vt:lpstr>
      <vt:lpstr>References to Variables Redirecting and Releasing References</vt:lpstr>
      <vt:lpstr>References to Variables</vt:lpstr>
      <vt:lpstr>References to Variables Members in Structures</vt:lpstr>
      <vt:lpstr>References to Variables Members in Arrays</vt:lpstr>
      <vt:lpstr>Transaction - Basics</vt:lpstr>
      <vt:lpstr>Transaction - &amp; Operator</vt:lpstr>
      <vt:lpstr>Transaction Model</vt:lpstr>
      <vt:lpstr>Transaction Model</vt:lpstr>
      <vt:lpstr>Transaction Model</vt:lpstr>
      <vt:lpstr>Exception Model</vt:lpstr>
      <vt:lpstr>Accessing Tables Access Modes</vt:lpstr>
      <vt:lpstr>Accessing Tables Simple Access – Full Table Specification</vt:lpstr>
      <vt:lpstr>Accessing Tables Simple Access – Partial Table Specification</vt:lpstr>
      <vt:lpstr>Accessing Tables Horizontal Access – Full Table Specification – Parameter Sets</vt:lpstr>
      <vt:lpstr>Accessing Tables Horizontal Access – Full Table Specification – Wildcards</vt:lpstr>
      <vt:lpstr>Accessing Tables Horizontal Access – Full Table Specification – Ranges</vt:lpstr>
      <vt:lpstr>Accessing Tables Vertical Access – Full Table Specification – Parameter Sets</vt:lpstr>
      <vt:lpstr>Accessing Tables Vertical Access – Full Table Specification – Wildcards</vt:lpstr>
      <vt:lpstr>Accessing Tables Vertical Access – Full Table Specification – Ranges</vt:lpstr>
      <vt:lpstr>Accessing Tables Matrix Access – Full Table Specification – Parameter Sets</vt:lpstr>
      <vt:lpstr>Accessing Tables Nested Partial Table Specifications</vt:lpstr>
      <vt:lpstr>Storage Model</vt:lpstr>
      <vt:lpstr>Deep Operators for Matrix Operations</vt:lpstr>
      <vt:lpstr>Functions Overview </vt:lpstr>
      <vt:lpstr>Functions Overview </vt:lpstr>
      <vt:lpstr>Table Comparison – Output Models</vt:lpstr>
      <vt:lpstr>Table Validation – Output Models</vt:lpstr>
      <vt:lpstr>Table Validation – Output Models</vt:lpstr>
      <vt:lpstr>Table Validation – Output Models</vt:lpstr>
      <vt:lpstr>Table Validation – Output Models</vt:lpstr>
      <vt:lpstr>Table Validation – Output Models</vt:lpstr>
      <vt:lpstr>Table Consolidate</vt:lpstr>
      <vt:lpstr>25 ways to combine two tables into one</vt:lpstr>
      <vt:lpstr>Table Merge – Output Models</vt:lpstr>
      <vt:lpstr>Table Overlay – Output Models</vt:lpstr>
      <vt:lpstr>Table Intersect – Output Models</vt:lpstr>
      <vt:lpstr>Table Exclude – Output Models</vt:lpstr>
      <vt:lpstr>Table Subtract – Output Models</vt:lpstr>
      <vt:lpstr>table multiply</vt:lpstr>
      <vt:lpstr>table divide</vt:lpstr>
      <vt:lpstr>Table Copy Columns</vt:lpstr>
      <vt:lpstr>Table Lookup</vt:lpstr>
      <vt:lpstr>Table Lookup Fast</vt:lpstr>
      <vt:lpstr>Table Integrate</vt:lpstr>
      <vt:lpstr>Table Integrate Fast</vt:lpstr>
      <vt:lpstr>Table Digest</vt:lpstr>
      <vt:lpstr>Table Expand</vt:lpstr>
      <vt:lpstr>Table Expand Fast</vt:lpstr>
      <vt:lpstr>Table Serialize</vt:lpstr>
      <vt:lpstr>Table Fit</vt:lpstr>
      <vt:lpstr>Table Arrange – Output Models</vt:lpstr>
      <vt:lpstr>table explore, table filter, table extract</vt:lpstr>
      <vt:lpstr>table filter</vt:lpstr>
      <vt:lpstr>table extract</vt:lpstr>
      <vt:lpstr>table spread</vt:lpstr>
      <vt:lpstr>table spread given headers</vt:lpstr>
      <vt:lpstr>File Copy Multiple / Directorie</vt:lpstr>
      <vt:lpstr>Function Calling Hierarchy to access variables (Internal)</vt:lpstr>
      <vt:lpstr>Vertical Operations</vt:lpstr>
      <vt:lpstr>Table Process – Output Models</vt:lpstr>
      <vt:lpstr>Interpolation Function – Nearest Neighbor</vt:lpstr>
      <vt:lpstr>Interpolation Function - Linear</vt:lpstr>
      <vt:lpstr>Interpolation Function – Cubic Spline</vt:lpstr>
      <vt:lpstr>Quantiles</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Überschrift</dc:title>
  <dc:creator>Georg zur Bonsen</dc:creator>
  <cp:lastModifiedBy>Rafael Richards</cp:lastModifiedBy>
  <cp:revision>629</cp:revision>
  <cp:lastPrinted>2014-03-14T08:12:43Z</cp:lastPrinted>
  <dcterms:created xsi:type="dcterms:W3CDTF">2013-11-22T07:35:27Z</dcterms:created>
  <dcterms:modified xsi:type="dcterms:W3CDTF">2024-02-11T22:11:37Z</dcterms:modified>
</cp:coreProperties>
</file>